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44"/>
  </p:notesMasterIdLst>
  <p:sldIdLst>
    <p:sldId id="308" r:id="rId5"/>
    <p:sldId id="2147138091" r:id="rId6"/>
    <p:sldId id="2147138223" r:id="rId7"/>
    <p:sldId id="274" r:id="rId8"/>
    <p:sldId id="2147138195" r:id="rId9"/>
    <p:sldId id="344" r:id="rId10"/>
    <p:sldId id="461" r:id="rId11"/>
    <p:sldId id="2147138226" r:id="rId12"/>
    <p:sldId id="2147138229" r:id="rId13"/>
    <p:sldId id="2147138246" r:id="rId14"/>
    <p:sldId id="2147138248" r:id="rId15"/>
    <p:sldId id="2147138230" r:id="rId16"/>
    <p:sldId id="2147138250" r:id="rId17"/>
    <p:sldId id="2147138251" r:id="rId18"/>
    <p:sldId id="2147138255" r:id="rId19"/>
    <p:sldId id="2147138231" r:id="rId20"/>
    <p:sldId id="2147138256" r:id="rId21"/>
    <p:sldId id="2147138252" r:id="rId22"/>
    <p:sldId id="2147138253" r:id="rId23"/>
    <p:sldId id="2147138257" r:id="rId24"/>
    <p:sldId id="2147138254" r:id="rId25"/>
    <p:sldId id="2147138241" r:id="rId26"/>
    <p:sldId id="2147138240" r:id="rId27"/>
    <p:sldId id="2147138233" r:id="rId28"/>
    <p:sldId id="2147138234" r:id="rId29"/>
    <p:sldId id="2147138242" r:id="rId30"/>
    <p:sldId id="2147138235" r:id="rId31"/>
    <p:sldId id="2147138236" r:id="rId32"/>
    <p:sldId id="2147138243" r:id="rId33"/>
    <p:sldId id="2147138237" r:id="rId34"/>
    <p:sldId id="2147138238" r:id="rId35"/>
    <p:sldId id="2147138239" r:id="rId36"/>
    <p:sldId id="2147138228" r:id="rId37"/>
    <p:sldId id="2147138244" r:id="rId38"/>
    <p:sldId id="2147138245" r:id="rId39"/>
    <p:sldId id="2147138249" r:id="rId40"/>
    <p:sldId id="268" r:id="rId41"/>
    <p:sldId id="2147138224" r:id="rId42"/>
    <p:sldId id="2147138225"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59D8547F-B3C6-41B7-AC15-B21357C26C2E}">
          <p14:sldIdLst>
            <p14:sldId id="308"/>
            <p14:sldId id="2147138091"/>
            <p14:sldId id="2147138223"/>
            <p14:sldId id="274"/>
            <p14:sldId id="2147138195"/>
            <p14:sldId id="344"/>
            <p14:sldId id="461"/>
            <p14:sldId id="2147138226"/>
            <p14:sldId id="2147138229"/>
            <p14:sldId id="2147138246"/>
            <p14:sldId id="2147138248"/>
            <p14:sldId id="2147138230"/>
            <p14:sldId id="2147138250"/>
            <p14:sldId id="2147138251"/>
            <p14:sldId id="2147138255"/>
            <p14:sldId id="2147138231"/>
            <p14:sldId id="2147138256"/>
            <p14:sldId id="2147138252"/>
            <p14:sldId id="2147138253"/>
            <p14:sldId id="2147138257"/>
            <p14:sldId id="2147138254"/>
            <p14:sldId id="2147138241"/>
            <p14:sldId id="2147138240"/>
            <p14:sldId id="2147138233"/>
            <p14:sldId id="2147138234"/>
            <p14:sldId id="2147138242"/>
            <p14:sldId id="2147138235"/>
            <p14:sldId id="2147138236"/>
            <p14:sldId id="2147138243"/>
            <p14:sldId id="2147138237"/>
            <p14:sldId id="2147138238"/>
            <p14:sldId id="2147138239"/>
            <p14:sldId id="2147138228"/>
            <p14:sldId id="2147138244"/>
            <p14:sldId id="2147138245"/>
            <p14:sldId id="2147138249"/>
          </p14:sldIdLst>
        </p14:section>
        <p14:section name="Introduction" id="{AB3B9C8E-C28E-704F-B282-D73C1591F4B2}">
          <p14:sldIdLst/>
        </p14:section>
        <p14:section name="Closing slide" id="{11C5BCDD-05AC-405B-8582-D9D1C38F3D19}">
          <p14:sldIdLst>
            <p14:sldId id="268"/>
            <p14:sldId id="2147138224"/>
            <p14:sldId id="214713822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EB81"/>
    <a:srgbClr val="E6DCFF"/>
    <a:srgbClr val="0041F0"/>
    <a:srgbClr val="DCAFFF"/>
    <a:srgbClr val="FF50A0"/>
    <a:srgbClr val="FF3246"/>
    <a:srgbClr val="00FFFF"/>
    <a:srgbClr val="D4D4D4"/>
    <a:srgbClr val="BE82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1A8B41A-6079-43D2-B54F-50518D136075}" v="92" dt="2024-10-16T13:07:44.984"/>
  </p1510:revLst>
</p1510:revInfo>
</file>

<file path=ppt/tableStyles.xml><?xml version="1.0" encoding="utf-8"?>
<a:tblStyleLst xmlns:a="http://schemas.openxmlformats.org/drawingml/2006/main" def="{A0BC3CC4-8867-4C89-9D3F-A6A6B9ED4035}">
  <a:tblStyle styleId="{A0BC3CC4-8867-4C89-9D3F-A6A6B9ED4035}" styleName="Acc_Table_1">
    <a:wholeTbl>
      <a:tcTxStyle>
        <a:fontRef idx="minor">
          <a:prstClr val="black"/>
        </a:fontRef>
        <a:schemeClr val="dk1"/>
      </a:tcTxStyle>
      <a:tcStyle>
        <a:tcBdr>
          <a:left>
            <a:ln w="0" cmpd="sng">
              <a:solidFill>
                <a:srgbClr val="FFFFFF"/>
              </a:solidFill>
            </a:ln>
          </a:left>
          <a:right>
            <a:ln w="0" cmpd="sng">
              <a:solidFill>
                <a:srgbClr val="FFFFFF"/>
              </a:solidFill>
            </a:ln>
          </a:right>
          <a:top>
            <a:ln w="0" cmpd="sng">
              <a:solidFill>
                <a:srgbClr val="FFFFFF"/>
              </a:solidFill>
            </a:ln>
          </a:top>
          <a:bottom>
            <a:ln w="12700" cmpd="sng">
              <a:solidFill>
                <a:schemeClr val="dk1"/>
              </a:solidFill>
            </a:ln>
          </a:bottom>
          <a:insideH>
            <a:ln w="6350" cmpd="sng">
              <a:solidFill>
                <a:srgbClr val="D9D9D9"/>
              </a:solidFill>
            </a:ln>
          </a:insideH>
          <a:insideV>
            <a:ln w="6350" cmpd="sng">
              <a:solidFill>
                <a:srgbClr val="D9D9D9"/>
              </a:solidFill>
            </a:ln>
          </a:insideV>
        </a:tcBdr>
        <a:fill>
          <a:noFill/>
        </a:fill>
      </a:tcStyle>
    </a:wholeTbl>
    <a:band1H>
      <a:tcTxStyle>
        <a:fontRef idx="minor">
          <a:prstClr val="black"/>
        </a:fontRef>
        <a:schemeClr val="dk1"/>
      </a:tcTxStyle>
      <a:tcStyle>
        <a:tcBdr/>
        <a:fill>
          <a:solidFill>
            <a:srgbClr val="F2F2F2"/>
          </a:solidFill>
        </a:fill>
      </a:tcStyle>
    </a:band1H>
    <a:band1V>
      <a:tcTxStyle>
        <a:fontRef idx="minor">
          <a:prstClr val="black"/>
        </a:fontRef>
        <a:schemeClr val="dk1"/>
      </a:tcTxStyle>
      <a:tcStyle>
        <a:tcBdr/>
        <a:fill>
          <a:solidFill>
            <a:srgbClr val="F2F2F2"/>
          </a:solidFill>
        </a:fill>
      </a:tcStyle>
    </a:band1V>
    <a:lastCol>
      <a:tcTxStyle b="on">
        <a:fontRef idx="minor">
          <a:prstClr val="black"/>
        </a:fontRef>
        <a:schemeClr val="dk1"/>
      </a:tcTxStyle>
      <a:tcStyle>
        <a:tcBdr/>
      </a:tcStyle>
    </a:lastCol>
    <a:firstCol>
      <a:tcTxStyle b="on">
        <a:fontRef idx="minor">
          <a:prstClr val="black"/>
        </a:fontRef>
        <a:schemeClr val="dk1"/>
      </a:tcTxStyle>
      <a:tcStyle>
        <a:tcBdr/>
      </a:tcStyle>
    </a:firstCol>
    <a:lastRow>
      <a:tcTxStyle b="on">
        <a:fontRef idx="minor">
          <a:prstClr val="black"/>
        </a:fontRef>
        <a:schemeClr val="dk1"/>
      </a:tcTxStyle>
      <a:tcStyle>
        <a:tcBdr/>
      </a:tcStyle>
    </a:lastRow>
    <a:firstRow>
      <a:tcTxStyle b="on">
        <a:fontRef idx="minor">
          <a:prstClr val="black"/>
        </a:fontRef>
        <a:schemeClr val="lt1"/>
      </a:tcTxStyle>
      <a:tcStyle>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193" autoAdjust="0"/>
    <p:restoredTop sz="92877" autoAdjust="0"/>
  </p:normalViewPr>
  <p:slideViewPr>
    <p:cSldViewPr snapToGrid="0" showGuides="1">
      <p:cViewPr>
        <p:scale>
          <a:sx n="75" d="100"/>
          <a:sy n="75" d="100"/>
        </p:scale>
        <p:origin x="54" y="984"/>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81" d="100"/>
          <a:sy n="81" d="100"/>
        </p:scale>
        <p:origin x="3516" y="57"/>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ehrli, Stefan" userId="3f36891e-f853-43e7-bcbc-2879a2513833" providerId="ADAL" clId="{262C7BF4-86F5-CD49-A8E8-3A77A5D2BB22}"/>
    <pc:docChg chg="undo custSel addSld delSld modSld sldOrd addSection delSection modSection">
      <pc:chgData name="Oehrli, Stefan" userId="3f36891e-f853-43e7-bcbc-2879a2513833" providerId="ADAL" clId="{262C7BF4-86F5-CD49-A8E8-3A77A5D2BB22}" dt="2024-06-17T13:24:04.954" v="3901"/>
      <pc:docMkLst>
        <pc:docMk/>
      </pc:docMkLst>
      <pc:sldChg chg="modSp mod">
        <pc:chgData name="Oehrli, Stefan" userId="3f36891e-f853-43e7-bcbc-2879a2513833" providerId="ADAL" clId="{262C7BF4-86F5-CD49-A8E8-3A77A5D2BB22}" dt="2024-06-16T22:19:55.466" v="39" actId="20577"/>
        <pc:sldMkLst>
          <pc:docMk/>
          <pc:sldMk cId="217193527" sldId="308"/>
        </pc:sldMkLst>
        <pc:spChg chg="mod">
          <ac:chgData name="Oehrli, Stefan" userId="3f36891e-f853-43e7-bcbc-2879a2513833" providerId="ADAL" clId="{262C7BF4-86F5-CD49-A8E8-3A77A5D2BB22}" dt="2024-06-16T17:27:10.043" v="4" actId="20577"/>
          <ac:spMkLst>
            <pc:docMk/>
            <pc:sldMk cId="217193527" sldId="308"/>
            <ac:spMk id="3" creationId="{EDFB5035-7C72-43BF-A8DB-A7280ED54461}"/>
          </ac:spMkLst>
        </pc:spChg>
        <pc:spChg chg="mod">
          <ac:chgData name="Oehrli, Stefan" userId="3f36891e-f853-43e7-bcbc-2879a2513833" providerId="ADAL" clId="{262C7BF4-86F5-CD49-A8E8-3A77A5D2BB22}" dt="2024-06-16T22:19:55.466" v="39" actId="20577"/>
          <ac:spMkLst>
            <pc:docMk/>
            <pc:sldMk cId="217193527" sldId="308"/>
            <ac:spMk id="6" creationId="{61244AFF-6411-4B84-BA88-9244C012597F}"/>
          </ac:spMkLst>
        </pc:spChg>
      </pc:sldChg>
      <pc:sldChg chg="modSp mod">
        <pc:chgData name="Oehrli, Stefan" userId="3f36891e-f853-43e7-bcbc-2879a2513833" providerId="ADAL" clId="{262C7BF4-86F5-CD49-A8E8-3A77A5D2BB22}" dt="2024-06-17T08:42:21.549" v="1142"/>
        <pc:sldMkLst>
          <pc:docMk/>
          <pc:sldMk cId="988469291" sldId="332"/>
        </pc:sldMkLst>
        <pc:spChg chg="mod">
          <ac:chgData name="Oehrli, Stefan" userId="3f36891e-f853-43e7-bcbc-2879a2513833" providerId="ADAL" clId="{262C7BF4-86F5-CD49-A8E8-3A77A5D2BB22}" dt="2024-06-17T08:42:21.549" v="1142"/>
          <ac:spMkLst>
            <pc:docMk/>
            <pc:sldMk cId="988469291" sldId="332"/>
            <ac:spMk id="2" creationId="{6B7D050A-F3DB-4B0A-8C3E-8F4D3EE9CC12}"/>
          </ac:spMkLst>
        </pc:spChg>
      </pc:sldChg>
      <pc:sldChg chg="modSp mod">
        <pc:chgData name="Oehrli, Stefan" userId="3f36891e-f853-43e7-bcbc-2879a2513833" providerId="ADAL" clId="{262C7BF4-86F5-CD49-A8E8-3A77A5D2BB22}" dt="2024-06-17T05:23:42" v="360" actId="20577"/>
        <pc:sldMkLst>
          <pc:docMk/>
          <pc:sldMk cId="3447450657" sldId="344"/>
        </pc:sldMkLst>
        <pc:spChg chg="mod">
          <ac:chgData name="Oehrli, Stefan" userId="3f36891e-f853-43e7-bcbc-2879a2513833" providerId="ADAL" clId="{262C7BF4-86F5-CD49-A8E8-3A77A5D2BB22}" dt="2024-06-17T04:54:15.091" v="138"/>
          <ac:spMkLst>
            <pc:docMk/>
            <pc:sldMk cId="3447450657" sldId="344"/>
            <ac:spMk id="2" creationId="{1F9E552B-AE32-4808-0A30-526769E9FED8}"/>
          </ac:spMkLst>
        </pc:spChg>
        <pc:spChg chg="mod">
          <ac:chgData name="Oehrli, Stefan" userId="3f36891e-f853-43e7-bcbc-2879a2513833" providerId="ADAL" clId="{262C7BF4-86F5-CD49-A8E8-3A77A5D2BB22}" dt="2024-06-17T04:54:24.893" v="152" actId="20577"/>
          <ac:spMkLst>
            <pc:docMk/>
            <pc:sldMk cId="3447450657" sldId="344"/>
            <ac:spMk id="3" creationId="{71629877-83F9-C3AD-1532-9D122387E409}"/>
          </ac:spMkLst>
        </pc:spChg>
        <pc:spChg chg="mod">
          <ac:chgData name="Oehrli, Stefan" userId="3f36891e-f853-43e7-bcbc-2879a2513833" providerId="ADAL" clId="{262C7BF4-86F5-CD49-A8E8-3A77A5D2BB22}" dt="2024-06-17T05:23:42" v="360" actId="20577"/>
          <ac:spMkLst>
            <pc:docMk/>
            <pc:sldMk cId="3447450657" sldId="344"/>
            <ac:spMk id="6" creationId="{FB352734-A1FB-38C6-2A1D-F73070E0CD10}"/>
          </ac:spMkLst>
        </pc:spChg>
        <pc:spChg chg="mod">
          <ac:chgData name="Oehrli, Stefan" userId="3f36891e-f853-43e7-bcbc-2879a2513833" providerId="ADAL" clId="{262C7BF4-86F5-CD49-A8E8-3A77A5D2BB22}" dt="2024-06-17T05:23:31.353" v="351" actId="20577"/>
          <ac:spMkLst>
            <pc:docMk/>
            <pc:sldMk cId="3447450657" sldId="344"/>
            <ac:spMk id="7" creationId="{D9F6E433-F286-B428-87FF-D12488F81E35}"/>
          </ac:spMkLst>
        </pc:spChg>
        <pc:spChg chg="mod">
          <ac:chgData name="Oehrli, Stefan" userId="3f36891e-f853-43e7-bcbc-2879a2513833" providerId="ADAL" clId="{262C7BF4-86F5-CD49-A8E8-3A77A5D2BB22}" dt="2024-06-17T04:57:48.475" v="205"/>
          <ac:spMkLst>
            <pc:docMk/>
            <pc:sldMk cId="3447450657" sldId="344"/>
            <ac:spMk id="8" creationId="{3B72ACB7-875F-88E1-8FF9-E339AB5CEA90}"/>
          </ac:spMkLst>
        </pc:spChg>
        <pc:spChg chg="mod">
          <ac:chgData name="Oehrli, Stefan" userId="3f36891e-f853-43e7-bcbc-2879a2513833" providerId="ADAL" clId="{262C7BF4-86F5-CD49-A8E8-3A77A5D2BB22}" dt="2024-06-17T05:00:13.778" v="229"/>
          <ac:spMkLst>
            <pc:docMk/>
            <pc:sldMk cId="3447450657" sldId="344"/>
            <ac:spMk id="9" creationId="{4722DDC2-84AC-744A-549D-84D37EC6E174}"/>
          </ac:spMkLst>
        </pc:spChg>
        <pc:spChg chg="mod">
          <ac:chgData name="Oehrli, Stefan" userId="3f36891e-f853-43e7-bcbc-2879a2513833" providerId="ADAL" clId="{262C7BF4-86F5-CD49-A8E8-3A77A5D2BB22}" dt="2024-06-17T05:00:12.722" v="228" actId="21"/>
          <ac:spMkLst>
            <pc:docMk/>
            <pc:sldMk cId="3447450657" sldId="344"/>
            <ac:spMk id="10" creationId="{2510B16E-5797-8D5D-1A8B-7AEBFCCACEC2}"/>
          </ac:spMkLst>
        </pc:spChg>
        <pc:spChg chg="mod">
          <ac:chgData name="Oehrli, Stefan" userId="3f36891e-f853-43e7-bcbc-2879a2513833" providerId="ADAL" clId="{262C7BF4-86F5-CD49-A8E8-3A77A5D2BB22}" dt="2024-06-17T04:57:54.087" v="208" actId="20577"/>
          <ac:spMkLst>
            <pc:docMk/>
            <pc:sldMk cId="3447450657" sldId="344"/>
            <ac:spMk id="11" creationId="{5E22572D-86FE-3D93-8F31-CF570714B8BB}"/>
          </ac:spMkLst>
        </pc:spChg>
      </pc:sldChg>
      <pc:sldChg chg="modSp mod">
        <pc:chgData name="Oehrli, Stefan" userId="3f36891e-f853-43e7-bcbc-2879a2513833" providerId="ADAL" clId="{262C7BF4-86F5-CD49-A8E8-3A77A5D2BB22}" dt="2024-06-17T04:53:04.416" v="134" actId="20577"/>
        <pc:sldMkLst>
          <pc:docMk/>
          <pc:sldMk cId="809413988" sldId="461"/>
        </pc:sldMkLst>
        <pc:spChg chg="mod">
          <ac:chgData name="Oehrli, Stefan" userId="3f36891e-f853-43e7-bcbc-2879a2513833" providerId="ADAL" clId="{262C7BF4-86F5-CD49-A8E8-3A77A5D2BB22}" dt="2024-06-17T04:53:04.416" v="134" actId="20577"/>
          <ac:spMkLst>
            <pc:docMk/>
            <pc:sldMk cId="809413988" sldId="461"/>
            <ac:spMk id="40" creationId="{F812FB05-C283-CDA9-B557-B5415BD2668A}"/>
          </ac:spMkLst>
        </pc:spChg>
      </pc:sldChg>
      <pc:sldChg chg="modSp mod modAnim">
        <pc:chgData name="Oehrli, Stefan" userId="3f36891e-f853-43e7-bcbc-2879a2513833" providerId="ADAL" clId="{262C7BF4-86F5-CD49-A8E8-3A77A5D2BB22}" dt="2024-06-17T09:31:27.240" v="2043"/>
        <pc:sldMkLst>
          <pc:docMk/>
          <pc:sldMk cId="1153880397" sldId="470"/>
        </pc:sldMkLst>
        <pc:spChg chg="mod">
          <ac:chgData name="Oehrli, Stefan" userId="3f36891e-f853-43e7-bcbc-2879a2513833" providerId="ADAL" clId="{262C7BF4-86F5-CD49-A8E8-3A77A5D2BB22}" dt="2024-06-17T09:30:42.910" v="2035" actId="108"/>
          <ac:spMkLst>
            <pc:docMk/>
            <pc:sldMk cId="1153880397" sldId="470"/>
            <ac:spMk id="2" creationId="{C0801084-F41C-99CB-6C15-5F3EDECF1FC3}"/>
          </ac:spMkLst>
        </pc:spChg>
        <pc:spChg chg="mod">
          <ac:chgData name="Oehrli, Stefan" userId="3f36891e-f853-43e7-bcbc-2879a2513833" providerId="ADAL" clId="{262C7BF4-86F5-CD49-A8E8-3A77A5D2BB22}" dt="2024-06-17T09:22:56.720" v="1700" actId="20577"/>
          <ac:spMkLst>
            <pc:docMk/>
            <pc:sldMk cId="1153880397" sldId="470"/>
            <ac:spMk id="13" creationId="{9EEEFBE2-D58B-0304-1EEF-C6A93EAE2FDB}"/>
          </ac:spMkLst>
        </pc:spChg>
      </pc:sldChg>
      <pc:sldChg chg="addSp modSp mod ord">
        <pc:chgData name="Oehrli, Stefan" userId="3f36891e-f853-43e7-bcbc-2879a2513833" providerId="ADAL" clId="{262C7BF4-86F5-CD49-A8E8-3A77A5D2BB22}" dt="2024-06-17T13:20:06.141" v="3855" actId="20578"/>
        <pc:sldMkLst>
          <pc:docMk/>
          <pc:sldMk cId="2241462360" sldId="2147138091"/>
        </pc:sldMkLst>
        <pc:picChg chg="add mod">
          <ac:chgData name="Oehrli, Stefan" userId="3f36891e-f853-43e7-bcbc-2879a2513833" providerId="ADAL" clId="{262C7BF4-86F5-CD49-A8E8-3A77A5D2BB22}" dt="2024-06-16T17:30:29.617" v="27" actId="1076"/>
          <ac:picMkLst>
            <pc:docMk/>
            <pc:sldMk cId="2241462360" sldId="2147138091"/>
            <ac:picMk id="5" creationId="{0AB5F226-A75D-71B2-6785-E08CD312BE65}"/>
          </ac:picMkLst>
        </pc:picChg>
      </pc:sldChg>
      <pc:sldChg chg="del">
        <pc:chgData name="Oehrli, Stefan" userId="3f36891e-f853-43e7-bcbc-2879a2513833" providerId="ADAL" clId="{262C7BF4-86F5-CD49-A8E8-3A77A5D2BB22}" dt="2024-06-16T22:20:45.160" v="66" actId="2696"/>
        <pc:sldMkLst>
          <pc:docMk/>
          <pc:sldMk cId="1940722524" sldId="2147138093"/>
        </pc:sldMkLst>
      </pc:sldChg>
      <pc:sldChg chg="del">
        <pc:chgData name="Oehrli, Stefan" userId="3f36891e-f853-43e7-bcbc-2879a2513833" providerId="ADAL" clId="{262C7BF4-86F5-CD49-A8E8-3A77A5D2BB22}" dt="2024-06-16T22:20:28.424" v="48" actId="2696"/>
        <pc:sldMkLst>
          <pc:docMk/>
          <pc:sldMk cId="2229416787" sldId="2147138095"/>
        </pc:sldMkLst>
      </pc:sldChg>
      <pc:sldChg chg="del">
        <pc:chgData name="Oehrli, Stefan" userId="3f36891e-f853-43e7-bcbc-2879a2513833" providerId="ADAL" clId="{262C7BF4-86F5-CD49-A8E8-3A77A5D2BB22}" dt="2024-06-16T22:20:32.593" v="51" actId="2696"/>
        <pc:sldMkLst>
          <pc:docMk/>
          <pc:sldMk cId="3058612435" sldId="2147138096"/>
        </pc:sldMkLst>
      </pc:sldChg>
      <pc:sldChg chg="del">
        <pc:chgData name="Oehrli, Stefan" userId="3f36891e-f853-43e7-bcbc-2879a2513833" providerId="ADAL" clId="{262C7BF4-86F5-CD49-A8E8-3A77A5D2BB22}" dt="2024-06-16T22:20:38.132" v="60" actId="2696"/>
        <pc:sldMkLst>
          <pc:docMk/>
          <pc:sldMk cId="379875072" sldId="2147138097"/>
        </pc:sldMkLst>
      </pc:sldChg>
      <pc:sldChg chg="del">
        <pc:chgData name="Oehrli, Stefan" userId="3f36891e-f853-43e7-bcbc-2879a2513833" providerId="ADAL" clId="{262C7BF4-86F5-CD49-A8E8-3A77A5D2BB22}" dt="2024-06-16T22:20:41.012" v="62" actId="2696"/>
        <pc:sldMkLst>
          <pc:docMk/>
          <pc:sldMk cId="3474791128" sldId="2147138098"/>
        </pc:sldMkLst>
      </pc:sldChg>
      <pc:sldChg chg="del mod ord modShow">
        <pc:chgData name="Oehrli, Stefan" userId="3f36891e-f853-43e7-bcbc-2879a2513833" providerId="ADAL" clId="{262C7BF4-86F5-CD49-A8E8-3A77A5D2BB22}" dt="2024-06-17T05:28:53.678" v="370" actId="2696"/>
        <pc:sldMkLst>
          <pc:docMk/>
          <pc:sldMk cId="3843352936" sldId="2147138100"/>
        </pc:sldMkLst>
      </pc:sldChg>
      <pc:sldChg chg="modSp mod ord modAnim">
        <pc:chgData name="Oehrli, Stefan" userId="3f36891e-f853-43e7-bcbc-2879a2513833" providerId="ADAL" clId="{262C7BF4-86F5-CD49-A8E8-3A77A5D2BB22}" dt="2024-06-17T13:19:55.214" v="3854"/>
        <pc:sldMkLst>
          <pc:docMk/>
          <pc:sldMk cId="288964143" sldId="2147138101"/>
        </pc:sldMkLst>
        <pc:spChg chg="mod">
          <ac:chgData name="Oehrli, Stefan" userId="3f36891e-f853-43e7-bcbc-2879a2513833" providerId="ADAL" clId="{262C7BF4-86F5-CD49-A8E8-3A77A5D2BB22}" dt="2024-06-17T13:15:27.194" v="3521"/>
          <ac:spMkLst>
            <pc:docMk/>
            <pc:sldMk cId="288964143" sldId="2147138101"/>
            <ac:spMk id="7" creationId="{28248BDE-A26B-54FA-B253-9CF5A732A84D}"/>
          </ac:spMkLst>
        </pc:spChg>
        <pc:spChg chg="mod">
          <ac:chgData name="Oehrli, Stefan" userId="3f36891e-f853-43e7-bcbc-2879a2513833" providerId="ADAL" clId="{262C7BF4-86F5-CD49-A8E8-3A77A5D2BB22}" dt="2024-06-17T13:19:34.601" v="3851" actId="20577"/>
          <ac:spMkLst>
            <pc:docMk/>
            <pc:sldMk cId="288964143" sldId="2147138101"/>
            <ac:spMk id="8" creationId="{5EE79F3A-A0A9-701D-5D8B-7F8B130B5732}"/>
          </ac:spMkLst>
        </pc:spChg>
        <pc:spChg chg="mod">
          <ac:chgData name="Oehrli, Stefan" userId="3f36891e-f853-43e7-bcbc-2879a2513833" providerId="ADAL" clId="{262C7BF4-86F5-CD49-A8E8-3A77A5D2BB22}" dt="2024-06-17T13:17:20.694" v="3693"/>
          <ac:spMkLst>
            <pc:docMk/>
            <pc:sldMk cId="288964143" sldId="2147138101"/>
            <ac:spMk id="9" creationId="{8E05A5F2-330F-6A6B-804D-BBD24C560B2E}"/>
          </ac:spMkLst>
        </pc:spChg>
      </pc:sldChg>
      <pc:sldChg chg="del">
        <pc:chgData name="Oehrli, Stefan" userId="3f36891e-f853-43e7-bcbc-2879a2513833" providerId="ADAL" clId="{262C7BF4-86F5-CD49-A8E8-3A77A5D2BB22}" dt="2024-06-16T22:20:38.112" v="58" actId="2696"/>
        <pc:sldMkLst>
          <pc:docMk/>
          <pc:sldMk cId="3530393607" sldId="2147138102"/>
        </pc:sldMkLst>
      </pc:sldChg>
      <pc:sldChg chg="addSp delSp modSp mod modClrScheme modAnim chgLayout">
        <pc:chgData name="Oehrli, Stefan" userId="3f36891e-f853-43e7-bcbc-2879a2513833" providerId="ADAL" clId="{262C7BF4-86F5-CD49-A8E8-3A77A5D2BB22}" dt="2024-06-17T08:49:41.320" v="1181"/>
        <pc:sldMkLst>
          <pc:docMk/>
          <pc:sldMk cId="2475241319" sldId="2147138105"/>
        </pc:sldMkLst>
        <pc:spChg chg="add del mod ord">
          <ac:chgData name="Oehrli, Stefan" userId="3f36891e-f853-43e7-bcbc-2879a2513833" providerId="ADAL" clId="{262C7BF4-86F5-CD49-A8E8-3A77A5D2BB22}" dt="2024-06-17T08:46:40.672" v="1147"/>
          <ac:spMkLst>
            <pc:docMk/>
            <pc:sldMk cId="2475241319" sldId="2147138105"/>
            <ac:spMk id="2" creationId="{07E06C93-D4FC-770F-0C79-F6EE66CEE3D4}"/>
          </ac:spMkLst>
        </pc:spChg>
        <pc:spChg chg="mod ord">
          <ac:chgData name="Oehrli, Stefan" userId="3f36891e-f853-43e7-bcbc-2879a2513833" providerId="ADAL" clId="{262C7BF4-86F5-CD49-A8E8-3A77A5D2BB22}" dt="2024-06-17T08:46:36.079" v="1145" actId="700"/>
          <ac:spMkLst>
            <pc:docMk/>
            <pc:sldMk cId="2475241319" sldId="2147138105"/>
            <ac:spMk id="5" creationId="{3D7F45EE-BA73-A422-CE1F-D4DC06209B58}"/>
          </ac:spMkLst>
        </pc:spChg>
        <pc:spChg chg="mod ord">
          <ac:chgData name="Oehrli, Stefan" userId="3f36891e-f853-43e7-bcbc-2879a2513833" providerId="ADAL" clId="{262C7BF4-86F5-CD49-A8E8-3A77A5D2BB22}" dt="2024-06-17T08:46:36.079" v="1145" actId="700"/>
          <ac:spMkLst>
            <pc:docMk/>
            <pc:sldMk cId="2475241319" sldId="2147138105"/>
            <ac:spMk id="7" creationId="{89044E24-A45A-7A0B-F3B8-C24968E77FD6}"/>
          </ac:spMkLst>
        </pc:spChg>
        <pc:spChg chg="mod ord">
          <ac:chgData name="Oehrli, Stefan" userId="3f36891e-f853-43e7-bcbc-2879a2513833" providerId="ADAL" clId="{262C7BF4-86F5-CD49-A8E8-3A77A5D2BB22}" dt="2024-06-17T08:46:36.079" v="1145" actId="700"/>
          <ac:spMkLst>
            <pc:docMk/>
            <pc:sldMk cId="2475241319" sldId="2147138105"/>
            <ac:spMk id="8" creationId="{11095482-1C48-477A-8085-00A480960AB0}"/>
          </ac:spMkLst>
        </pc:spChg>
        <pc:spChg chg="mod ord">
          <ac:chgData name="Oehrli, Stefan" userId="3f36891e-f853-43e7-bcbc-2879a2513833" providerId="ADAL" clId="{262C7BF4-86F5-CD49-A8E8-3A77A5D2BB22}" dt="2024-06-17T08:49:19.893" v="1178" actId="20577"/>
          <ac:spMkLst>
            <pc:docMk/>
            <pc:sldMk cId="2475241319" sldId="2147138105"/>
            <ac:spMk id="9" creationId="{C7347C64-0348-3831-8B5A-25F65080DF73}"/>
          </ac:spMkLst>
        </pc:spChg>
        <pc:spChg chg="mod ord">
          <ac:chgData name="Oehrli, Stefan" userId="3f36891e-f853-43e7-bcbc-2879a2513833" providerId="ADAL" clId="{262C7BF4-86F5-CD49-A8E8-3A77A5D2BB22}" dt="2024-06-17T08:46:36.079" v="1145" actId="700"/>
          <ac:spMkLst>
            <pc:docMk/>
            <pc:sldMk cId="2475241319" sldId="2147138105"/>
            <ac:spMk id="10" creationId="{A1F0767F-EF95-3D78-8C45-26ADDE420EBC}"/>
          </ac:spMkLst>
        </pc:spChg>
        <pc:picChg chg="add mod">
          <ac:chgData name="Oehrli, Stefan" userId="3f36891e-f853-43e7-bcbc-2879a2513833" providerId="ADAL" clId="{262C7BF4-86F5-CD49-A8E8-3A77A5D2BB22}" dt="2024-06-17T08:49:16.032" v="1176" actId="1076"/>
          <ac:picMkLst>
            <pc:docMk/>
            <pc:sldMk cId="2475241319" sldId="2147138105"/>
            <ac:picMk id="3" creationId="{8F92BD9B-9E13-9B1F-7771-A97BDC1249B5}"/>
          </ac:picMkLst>
        </pc:picChg>
        <pc:picChg chg="del">
          <ac:chgData name="Oehrli, Stefan" userId="3f36891e-f853-43e7-bcbc-2879a2513833" providerId="ADAL" clId="{262C7BF4-86F5-CD49-A8E8-3A77A5D2BB22}" dt="2024-06-17T08:46:38.274" v="1146" actId="21"/>
          <ac:picMkLst>
            <pc:docMk/>
            <pc:sldMk cId="2475241319" sldId="2147138105"/>
            <ac:picMk id="11" creationId="{9D7918C6-DADD-7B4B-F03A-3B51E790D399}"/>
          </ac:picMkLst>
        </pc:picChg>
      </pc:sldChg>
      <pc:sldChg chg="del">
        <pc:chgData name="Oehrli, Stefan" userId="3f36891e-f853-43e7-bcbc-2879a2513833" providerId="ADAL" clId="{262C7BF4-86F5-CD49-A8E8-3A77A5D2BB22}" dt="2024-06-16T22:20:45.172" v="67" actId="2696"/>
        <pc:sldMkLst>
          <pc:docMk/>
          <pc:sldMk cId="4159375980" sldId="2147138110"/>
        </pc:sldMkLst>
      </pc:sldChg>
      <pc:sldChg chg="modSp mod">
        <pc:chgData name="Oehrli, Stefan" userId="3f36891e-f853-43e7-bcbc-2879a2513833" providerId="ADAL" clId="{262C7BF4-86F5-CD49-A8E8-3A77A5D2BB22}" dt="2024-06-17T05:26:52.611" v="369"/>
        <pc:sldMkLst>
          <pc:docMk/>
          <pc:sldMk cId="2774964817" sldId="2147138111"/>
        </pc:sldMkLst>
        <pc:spChg chg="mod">
          <ac:chgData name="Oehrli, Stefan" userId="3f36891e-f853-43e7-bcbc-2879a2513833" providerId="ADAL" clId="{262C7BF4-86F5-CD49-A8E8-3A77A5D2BB22}" dt="2024-06-17T05:26:52.611" v="369"/>
          <ac:spMkLst>
            <pc:docMk/>
            <pc:sldMk cId="2774964817" sldId="2147138111"/>
            <ac:spMk id="10" creationId="{E71E492B-E171-42B1-2E24-469DFA041F48}"/>
          </ac:spMkLst>
        </pc:spChg>
      </pc:sldChg>
      <pc:sldChg chg="del">
        <pc:chgData name="Oehrli, Stefan" userId="3f36891e-f853-43e7-bcbc-2879a2513833" providerId="ADAL" clId="{262C7BF4-86F5-CD49-A8E8-3A77A5D2BB22}" dt="2024-06-16T22:20:28.410" v="45" actId="2696"/>
        <pc:sldMkLst>
          <pc:docMk/>
          <pc:sldMk cId="424518403" sldId="2147138112"/>
        </pc:sldMkLst>
      </pc:sldChg>
      <pc:sldChg chg="del">
        <pc:chgData name="Oehrli, Stefan" userId="3f36891e-f853-43e7-bcbc-2879a2513833" providerId="ADAL" clId="{262C7BF4-86F5-CD49-A8E8-3A77A5D2BB22}" dt="2024-06-16T22:20:32.586" v="49" actId="2696"/>
        <pc:sldMkLst>
          <pc:docMk/>
          <pc:sldMk cId="1136284001" sldId="2147138113"/>
        </pc:sldMkLst>
      </pc:sldChg>
      <pc:sldChg chg="del">
        <pc:chgData name="Oehrli, Stefan" userId="3f36891e-f853-43e7-bcbc-2879a2513833" providerId="ADAL" clId="{262C7BF4-86F5-CD49-A8E8-3A77A5D2BB22}" dt="2024-06-16T22:20:38.110" v="57" actId="2696"/>
        <pc:sldMkLst>
          <pc:docMk/>
          <pc:sldMk cId="2191559807" sldId="2147138114"/>
        </pc:sldMkLst>
      </pc:sldChg>
      <pc:sldChg chg="del">
        <pc:chgData name="Oehrli, Stefan" userId="3f36891e-f853-43e7-bcbc-2879a2513833" providerId="ADAL" clId="{262C7BF4-86F5-CD49-A8E8-3A77A5D2BB22}" dt="2024-06-16T22:20:38.081" v="55" actId="2696"/>
        <pc:sldMkLst>
          <pc:docMk/>
          <pc:sldMk cId="934375759" sldId="2147138115"/>
        </pc:sldMkLst>
      </pc:sldChg>
      <pc:sldChg chg="del">
        <pc:chgData name="Oehrli, Stefan" userId="3f36891e-f853-43e7-bcbc-2879a2513833" providerId="ADAL" clId="{262C7BF4-86F5-CD49-A8E8-3A77A5D2BB22}" dt="2024-06-16T22:20:41.010" v="61" actId="2696"/>
        <pc:sldMkLst>
          <pc:docMk/>
          <pc:sldMk cId="1484047602" sldId="2147138116"/>
        </pc:sldMkLst>
      </pc:sldChg>
      <pc:sldChg chg="del">
        <pc:chgData name="Oehrli, Stefan" userId="3f36891e-f853-43e7-bcbc-2879a2513833" providerId="ADAL" clId="{262C7BF4-86F5-CD49-A8E8-3A77A5D2BB22}" dt="2024-06-16T22:20:45.140" v="65" actId="2696"/>
        <pc:sldMkLst>
          <pc:docMk/>
          <pc:sldMk cId="1497942445" sldId="2147138117"/>
        </pc:sldMkLst>
      </pc:sldChg>
      <pc:sldChg chg="ord">
        <pc:chgData name="Oehrli, Stefan" userId="3f36891e-f853-43e7-bcbc-2879a2513833" providerId="ADAL" clId="{262C7BF4-86F5-CD49-A8E8-3A77A5D2BB22}" dt="2024-06-17T04:52:11.920" v="123" actId="20578"/>
        <pc:sldMkLst>
          <pc:docMk/>
          <pc:sldMk cId="2826333923" sldId="2147138119"/>
        </pc:sldMkLst>
      </pc:sldChg>
      <pc:sldChg chg="addSp modSp mod ord modAnim">
        <pc:chgData name="Oehrli, Stefan" userId="3f36891e-f853-43e7-bcbc-2879a2513833" providerId="ADAL" clId="{262C7BF4-86F5-CD49-A8E8-3A77A5D2BB22}" dt="2024-06-17T04:55:25.377" v="200"/>
        <pc:sldMkLst>
          <pc:docMk/>
          <pc:sldMk cId="3662948178" sldId="2147138120"/>
        </pc:sldMkLst>
        <pc:spChg chg="add mod">
          <ac:chgData name="Oehrli, Stefan" userId="3f36891e-f853-43e7-bcbc-2879a2513833" providerId="ADAL" clId="{262C7BF4-86F5-CD49-A8E8-3A77A5D2BB22}" dt="2024-06-17T04:55:13.840" v="199" actId="207"/>
          <ac:spMkLst>
            <pc:docMk/>
            <pc:sldMk cId="3662948178" sldId="2147138120"/>
            <ac:spMk id="7" creationId="{74628A42-C32E-745C-502E-07FF9383DEF1}"/>
          </ac:spMkLst>
        </pc:spChg>
      </pc:sldChg>
      <pc:sldChg chg="delSp modSp mod ord delAnim modAnim">
        <pc:chgData name="Oehrli, Stefan" userId="3f36891e-f853-43e7-bcbc-2879a2513833" providerId="ADAL" clId="{262C7BF4-86F5-CD49-A8E8-3A77A5D2BB22}" dt="2024-06-17T05:58:12.342" v="1046" actId="113"/>
        <pc:sldMkLst>
          <pc:docMk/>
          <pc:sldMk cId="666160610" sldId="2147138121"/>
        </pc:sldMkLst>
        <pc:spChg chg="mod">
          <ac:chgData name="Oehrli, Stefan" userId="3f36891e-f853-43e7-bcbc-2879a2513833" providerId="ADAL" clId="{262C7BF4-86F5-CD49-A8E8-3A77A5D2BB22}" dt="2024-06-17T05:58:12.342" v="1046" actId="113"/>
          <ac:spMkLst>
            <pc:docMk/>
            <pc:sldMk cId="666160610" sldId="2147138121"/>
            <ac:spMk id="9" creationId="{92860932-76E1-E164-1A33-41CEDE602802}"/>
          </ac:spMkLst>
        </pc:spChg>
        <pc:picChg chg="del">
          <ac:chgData name="Oehrli, Stefan" userId="3f36891e-f853-43e7-bcbc-2879a2513833" providerId="ADAL" clId="{262C7BF4-86F5-CD49-A8E8-3A77A5D2BB22}" dt="2024-06-17T05:36:06.681" v="394" actId="478"/>
          <ac:picMkLst>
            <pc:docMk/>
            <pc:sldMk cId="666160610" sldId="2147138121"/>
            <ac:picMk id="17" creationId="{4D5342C5-1B70-C8E2-457B-621F5981C0DF}"/>
          </ac:picMkLst>
        </pc:picChg>
      </pc:sldChg>
      <pc:sldChg chg="modSp mod">
        <pc:chgData name="Oehrli, Stefan" userId="3f36891e-f853-43e7-bcbc-2879a2513833" providerId="ADAL" clId="{262C7BF4-86F5-CD49-A8E8-3A77A5D2BB22}" dt="2024-06-17T08:50:12.366" v="1186" actId="20577"/>
        <pc:sldMkLst>
          <pc:docMk/>
          <pc:sldMk cId="3069574028" sldId="2147138122"/>
        </pc:sldMkLst>
        <pc:spChg chg="mod">
          <ac:chgData name="Oehrli, Stefan" userId="3f36891e-f853-43e7-bcbc-2879a2513833" providerId="ADAL" clId="{262C7BF4-86F5-CD49-A8E8-3A77A5D2BB22}" dt="2024-06-17T08:50:12.366" v="1186" actId="20577"/>
          <ac:spMkLst>
            <pc:docMk/>
            <pc:sldMk cId="3069574028" sldId="2147138122"/>
            <ac:spMk id="2" creationId="{62E73163-1B94-708C-37BC-35D761D25724}"/>
          </ac:spMkLst>
        </pc:spChg>
      </pc:sldChg>
      <pc:sldChg chg="modSp mod">
        <pc:chgData name="Oehrli, Stefan" userId="3f36891e-f853-43e7-bcbc-2879a2513833" providerId="ADAL" clId="{262C7BF4-86F5-CD49-A8E8-3A77A5D2BB22}" dt="2024-06-17T08:50:28.053" v="1193" actId="20577"/>
        <pc:sldMkLst>
          <pc:docMk/>
          <pc:sldMk cId="764597068" sldId="2147138123"/>
        </pc:sldMkLst>
        <pc:spChg chg="mod">
          <ac:chgData name="Oehrli, Stefan" userId="3f36891e-f853-43e7-bcbc-2879a2513833" providerId="ADAL" clId="{262C7BF4-86F5-CD49-A8E8-3A77A5D2BB22}" dt="2024-06-17T08:50:28.053" v="1193" actId="20577"/>
          <ac:spMkLst>
            <pc:docMk/>
            <pc:sldMk cId="764597068" sldId="2147138123"/>
            <ac:spMk id="2" creationId="{93173BB2-FF72-F38D-B305-3AAB3F55CE4F}"/>
          </ac:spMkLst>
        </pc:spChg>
      </pc:sldChg>
      <pc:sldChg chg="ord">
        <pc:chgData name="Oehrli, Stefan" userId="3f36891e-f853-43e7-bcbc-2879a2513833" providerId="ADAL" clId="{262C7BF4-86F5-CD49-A8E8-3A77A5D2BB22}" dt="2024-06-17T05:31:00.348" v="388" actId="20578"/>
        <pc:sldMkLst>
          <pc:docMk/>
          <pc:sldMk cId="2147595729" sldId="2147138181"/>
        </pc:sldMkLst>
      </pc:sldChg>
      <pc:sldChg chg="ord">
        <pc:chgData name="Oehrli, Stefan" userId="3f36891e-f853-43e7-bcbc-2879a2513833" providerId="ADAL" clId="{262C7BF4-86F5-CD49-A8E8-3A77A5D2BB22}" dt="2024-06-17T05:31:00.348" v="388" actId="20578"/>
        <pc:sldMkLst>
          <pc:docMk/>
          <pc:sldMk cId="2709564194" sldId="2147138182"/>
        </pc:sldMkLst>
      </pc:sldChg>
      <pc:sldChg chg="ord">
        <pc:chgData name="Oehrli, Stefan" userId="3f36891e-f853-43e7-bcbc-2879a2513833" providerId="ADAL" clId="{262C7BF4-86F5-CD49-A8E8-3A77A5D2BB22}" dt="2024-06-17T05:31:00.348" v="388" actId="20578"/>
        <pc:sldMkLst>
          <pc:docMk/>
          <pc:sldMk cId="608967408" sldId="2147138183"/>
        </pc:sldMkLst>
      </pc:sldChg>
      <pc:sldChg chg="ord">
        <pc:chgData name="Oehrli, Stefan" userId="3f36891e-f853-43e7-bcbc-2879a2513833" providerId="ADAL" clId="{262C7BF4-86F5-CD49-A8E8-3A77A5D2BB22}" dt="2024-06-17T05:31:00.348" v="388" actId="20578"/>
        <pc:sldMkLst>
          <pc:docMk/>
          <pc:sldMk cId="1555260919" sldId="2147138184"/>
        </pc:sldMkLst>
      </pc:sldChg>
      <pc:sldChg chg="ord">
        <pc:chgData name="Oehrli, Stefan" userId="3f36891e-f853-43e7-bcbc-2879a2513833" providerId="ADAL" clId="{262C7BF4-86F5-CD49-A8E8-3A77A5D2BB22}" dt="2024-06-17T05:31:00.348" v="388" actId="20578"/>
        <pc:sldMkLst>
          <pc:docMk/>
          <pc:sldMk cId="359752795" sldId="2147138185"/>
        </pc:sldMkLst>
      </pc:sldChg>
      <pc:sldChg chg="del">
        <pc:chgData name="Oehrli, Stefan" userId="3f36891e-f853-43e7-bcbc-2879a2513833" providerId="ADAL" clId="{262C7BF4-86F5-CD49-A8E8-3A77A5D2BB22}" dt="2024-06-16T22:20:38.084" v="56" actId="2696"/>
        <pc:sldMkLst>
          <pc:docMk/>
          <pc:sldMk cId="47853685" sldId="2147138186"/>
        </pc:sldMkLst>
      </pc:sldChg>
      <pc:sldChg chg="del">
        <pc:chgData name="Oehrli, Stefan" userId="3f36891e-f853-43e7-bcbc-2879a2513833" providerId="ADAL" clId="{262C7BF4-86F5-CD49-A8E8-3A77A5D2BB22}" dt="2024-06-16T22:20:28.414" v="47" actId="2696"/>
        <pc:sldMkLst>
          <pc:docMk/>
          <pc:sldMk cId="3736502658" sldId="2147138187"/>
        </pc:sldMkLst>
      </pc:sldChg>
      <pc:sldChg chg="del">
        <pc:chgData name="Oehrli, Stefan" userId="3f36891e-f853-43e7-bcbc-2879a2513833" providerId="ADAL" clId="{262C7BF4-86F5-CD49-A8E8-3A77A5D2BB22}" dt="2024-06-16T22:20:28.413" v="46" actId="2696"/>
        <pc:sldMkLst>
          <pc:docMk/>
          <pc:sldMk cId="529553536" sldId="2147138188"/>
        </pc:sldMkLst>
      </pc:sldChg>
      <pc:sldChg chg="del">
        <pc:chgData name="Oehrli, Stefan" userId="3f36891e-f853-43e7-bcbc-2879a2513833" providerId="ADAL" clId="{262C7BF4-86F5-CD49-A8E8-3A77A5D2BB22}" dt="2024-06-16T22:20:41.014" v="63" actId="2696"/>
        <pc:sldMkLst>
          <pc:docMk/>
          <pc:sldMk cId="3307806032" sldId="2147138189"/>
        </pc:sldMkLst>
      </pc:sldChg>
      <pc:sldChg chg="del">
        <pc:chgData name="Oehrli, Stefan" userId="3f36891e-f853-43e7-bcbc-2879a2513833" providerId="ADAL" clId="{262C7BF4-86F5-CD49-A8E8-3A77A5D2BB22}" dt="2024-06-16T22:20:41.026" v="64" actId="2696"/>
        <pc:sldMkLst>
          <pc:docMk/>
          <pc:sldMk cId="2582172254" sldId="2147138190"/>
        </pc:sldMkLst>
      </pc:sldChg>
      <pc:sldChg chg="del">
        <pc:chgData name="Oehrli, Stefan" userId="3f36891e-f853-43e7-bcbc-2879a2513833" providerId="ADAL" clId="{262C7BF4-86F5-CD49-A8E8-3A77A5D2BB22}" dt="2024-06-16T22:20:32.611" v="53" actId="2696"/>
        <pc:sldMkLst>
          <pc:docMk/>
          <pc:sldMk cId="2312882381" sldId="2147138191"/>
        </pc:sldMkLst>
      </pc:sldChg>
      <pc:sldChg chg="del">
        <pc:chgData name="Oehrli, Stefan" userId="3f36891e-f853-43e7-bcbc-2879a2513833" providerId="ADAL" clId="{262C7BF4-86F5-CD49-A8E8-3A77A5D2BB22}" dt="2024-06-16T22:20:32.595" v="52" actId="2696"/>
        <pc:sldMkLst>
          <pc:docMk/>
          <pc:sldMk cId="3816320732" sldId="2147138192"/>
        </pc:sldMkLst>
      </pc:sldChg>
      <pc:sldChg chg="del">
        <pc:chgData name="Oehrli, Stefan" userId="3f36891e-f853-43e7-bcbc-2879a2513833" providerId="ADAL" clId="{262C7BF4-86F5-CD49-A8E8-3A77A5D2BB22}" dt="2024-06-17T13:10:59.091" v="3520" actId="2696"/>
        <pc:sldMkLst>
          <pc:docMk/>
          <pc:sldMk cId="1007215444" sldId="2147138194"/>
        </pc:sldMkLst>
      </pc:sldChg>
      <pc:sldChg chg="del">
        <pc:chgData name="Oehrli, Stefan" userId="3f36891e-f853-43e7-bcbc-2879a2513833" providerId="ADAL" clId="{262C7BF4-86F5-CD49-A8E8-3A77A5D2BB22}" dt="2024-06-17T13:10:57.692" v="3519" actId="2696"/>
        <pc:sldMkLst>
          <pc:docMk/>
          <pc:sldMk cId="1520814761" sldId="2147138196"/>
        </pc:sldMkLst>
      </pc:sldChg>
      <pc:sldChg chg="del">
        <pc:chgData name="Oehrli, Stefan" userId="3f36891e-f853-43e7-bcbc-2879a2513833" providerId="ADAL" clId="{262C7BF4-86F5-CD49-A8E8-3A77A5D2BB22}" dt="2024-06-17T05:28:58.314" v="371" actId="2696"/>
        <pc:sldMkLst>
          <pc:docMk/>
          <pc:sldMk cId="2500466773" sldId="2147138197"/>
        </pc:sldMkLst>
      </pc:sldChg>
      <pc:sldChg chg="addSp modSp mod ord modAnim">
        <pc:chgData name="Oehrli, Stefan" userId="3f36891e-f853-43e7-bcbc-2879a2513833" providerId="ADAL" clId="{262C7BF4-86F5-CD49-A8E8-3A77A5D2BB22}" dt="2024-06-17T13:23:15.899" v="3898"/>
        <pc:sldMkLst>
          <pc:docMk/>
          <pc:sldMk cId="2326204635" sldId="2147138198"/>
        </pc:sldMkLst>
        <pc:spChg chg="add mod">
          <ac:chgData name="Oehrli, Stefan" userId="3f36891e-f853-43e7-bcbc-2879a2513833" providerId="ADAL" clId="{262C7BF4-86F5-CD49-A8E8-3A77A5D2BB22}" dt="2024-06-17T13:21:40.018" v="3858" actId="14100"/>
          <ac:spMkLst>
            <pc:docMk/>
            <pc:sldMk cId="2326204635" sldId="2147138198"/>
            <ac:spMk id="2" creationId="{6525370A-E3E7-2F8D-04C1-669850FB9888}"/>
          </ac:spMkLst>
        </pc:spChg>
        <pc:spChg chg="add mod">
          <ac:chgData name="Oehrli, Stefan" userId="3f36891e-f853-43e7-bcbc-2879a2513833" providerId="ADAL" clId="{262C7BF4-86F5-CD49-A8E8-3A77A5D2BB22}" dt="2024-06-17T13:21:51.060" v="3863" actId="1076"/>
          <ac:spMkLst>
            <pc:docMk/>
            <pc:sldMk cId="2326204635" sldId="2147138198"/>
            <ac:spMk id="3" creationId="{80EDC28E-68F8-D968-183F-06E49B3C2F45}"/>
          </ac:spMkLst>
        </pc:spChg>
        <pc:spChg chg="add mod">
          <ac:chgData name="Oehrli, Stefan" userId="3f36891e-f853-43e7-bcbc-2879a2513833" providerId="ADAL" clId="{262C7BF4-86F5-CD49-A8E8-3A77A5D2BB22}" dt="2024-06-17T13:21:57.740" v="3866" actId="14100"/>
          <ac:spMkLst>
            <pc:docMk/>
            <pc:sldMk cId="2326204635" sldId="2147138198"/>
            <ac:spMk id="4" creationId="{8227C184-847D-C2B7-0EBF-EB8B5A1A057B}"/>
          </ac:spMkLst>
        </pc:spChg>
        <pc:spChg chg="add mod">
          <ac:chgData name="Oehrli, Stefan" userId="3f36891e-f853-43e7-bcbc-2879a2513833" providerId="ADAL" clId="{262C7BF4-86F5-CD49-A8E8-3A77A5D2BB22}" dt="2024-06-17T13:22:14.192" v="3869" actId="14100"/>
          <ac:spMkLst>
            <pc:docMk/>
            <pc:sldMk cId="2326204635" sldId="2147138198"/>
            <ac:spMk id="8" creationId="{7FFEF1C1-A49A-C089-51E8-A6E7DDF99002}"/>
          </ac:spMkLst>
        </pc:spChg>
        <pc:spChg chg="mod">
          <ac:chgData name="Oehrli, Stefan" userId="3f36891e-f853-43e7-bcbc-2879a2513833" providerId="ADAL" clId="{262C7BF4-86F5-CD49-A8E8-3A77A5D2BB22}" dt="2024-06-17T05:36:44.845" v="438" actId="20577"/>
          <ac:spMkLst>
            <pc:docMk/>
            <pc:sldMk cId="2326204635" sldId="2147138198"/>
            <ac:spMk id="9" creationId="{6865BB4D-871D-6C55-5CA1-11DC3FDC1291}"/>
          </ac:spMkLst>
        </pc:spChg>
        <pc:spChg chg="add mod">
          <ac:chgData name="Oehrli, Stefan" userId="3f36891e-f853-43e7-bcbc-2879a2513833" providerId="ADAL" clId="{262C7BF4-86F5-CD49-A8E8-3A77A5D2BB22}" dt="2024-06-17T13:22:23.555" v="3874" actId="14100"/>
          <ac:spMkLst>
            <pc:docMk/>
            <pc:sldMk cId="2326204635" sldId="2147138198"/>
            <ac:spMk id="10" creationId="{AB761E59-E4CC-9C51-6067-185DDA63BFE8}"/>
          </ac:spMkLst>
        </pc:spChg>
      </pc:sldChg>
      <pc:sldChg chg="addSp delSp modSp new del mod modClrScheme chgLayout">
        <pc:chgData name="Oehrli, Stefan" userId="3f36891e-f853-43e7-bcbc-2879a2513833" providerId="ADAL" clId="{262C7BF4-86F5-CD49-A8E8-3A77A5D2BB22}" dt="2024-06-17T04:59:07.536" v="213" actId="2696"/>
        <pc:sldMkLst>
          <pc:docMk/>
          <pc:sldMk cId="1000675578" sldId="2147138199"/>
        </pc:sldMkLst>
        <pc:spChg chg="del mod ord">
          <ac:chgData name="Oehrli, Stefan" userId="3f36891e-f853-43e7-bcbc-2879a2513833" providerId="ADAL" clId="{262C7BF4-86F5-CD49-A8E8-3A77A5D2BB22}" dt="2024-06-17T04:58:56.998" v="211" actId="700"/>
          <ac:spMkLst>
            <pc:docMk/>
            <pc:sldMk cId="1000675578" sldId="2147138199"/>
            <ac:spMk id="2" creationId="{EE3764D4-2653-2758-0925-3F616A816F58}"/>
          </ac:spMkLst>
        </pc:spChg>
        <pc:spChg chg="add mod ord">
          <ac:chgData name="Oehrli, Stefan" userId="3f36891e-f853-43e7-bcbc-2879a2513833" providerId="ADAL" clId="{262C7BF4-86F5-CD49-A8E8-3A77A5D2BB22}" dt="2024-06-17T04:58:56.998" v="211" actId="700"/>
          <ac:spMkLst>
            <pc:docMk/>
            <pc:sldMk cId="1000675578" sldId="2147138199"/>
            <ac:spMk id="3" creationId="{3776B969-16DD-BB88-F599-7FF913F44AF8}"/>
          </ac:spMkLst>
        </pc:spChg>
        <pc:spChg chg="add mod ord">
          <ac:chgData name="Oehrli, Stefan" userId="3f36891e-f853-43e7-bcbc-2879a2513833" providerId="ADAL" clId="{262C7BF4-86F5-CD49-A8E8-3A77A5D2BB22}" dt="2024-06-17T04:58:56.998" v="211" actId="700"/>
          <ac:spMkLst>
            <pc:docMk/>
            <pc:sldMk cId="1000675578" sldId="2147138199"/>
            <ac:spMk id="4" creationId="{72769DC0-8812-63AF-8FAC-CA3A17A81348}"/>
          </ac:spMkLst>
        </pc:spChg>
        <pc:spChg chg="add mod ord">
          <ac:chgData name="Oehrli, Stefan" userId="3f36891e-f853-43e7-bcbc-2879a2513833" providerId="ADAL" clId="{262C7BF4-86F5-CD49-A8E8-3A77A5D2BB22}" dt="2024-06-17T04:58:56.998" v="211" actId="700"/>
          <ac:spMkLst>
            <pc:docMk/>
            <pc:sldMk cId="1000675578" sldId="2147138199"/>
            <ac:spMk id="5" creationId="{8FCEB29B-66BD-7500-06F0-D0DFEF869E1B}"/>
          </ac:spMkLst>
        </pc:spChg>
      </pc:sldChg>
      <pc:sldChg chg="del">
        <pc:chgData name="Oehrli, Stefan" userId="3f36891e-f853-43e7-bcbc-2879a2513833" providerId="ADAL" clId="{262C7BF4-86F5-CD49-A8E8-3A77A5D2BB22}" dt="2024-06-16T22:20:32.620" v="54" actId="2696"/>
        <pc:sldMkLst>
          <pc:docMk/>
          <pc:sldMk cId="2101678055" sldId="2147138199"/>
        </pc:sldMkLst>
      </pc:sldChg>
      <pc:sldChg chg="del">
        <pc:chgData name="Oehrli, Stefan" userId="3f36891e-f853-43e7-bcbc-2879a2513833" providerId="ADAL" clId="{262C7BF4-86F5-CD49-A8E8-3A77A5D2BB22}" dt="2024-06-16T22:20:38.125" v="59" actId="2696"/>
        <pc:sldMkLst>
          <pc:docMk/>
          <pc:sldMk cId="1125153236" sldId="2147138200"/>
        </pc:sldMkLst>
      </pc:sldChg>
      <pc:sldChg chg="modSp add mod ord">
        <pc:chgData name="Oehrli, Stefan" userId="3f36891e-f853-43e7-bcbc-2879a2513833" providerId="ADAL" clId="{262C7BF4-86F5-CD49-A8E8-3A77A5D2BB22}" dt="2024-06-17T05:11:14.279" v="322"/>
        <pc:sldMkLst>
          <pc:docMk/>
          <pc:sldMk cId="2007375921" sldId="2147138200"/>
        </pc:sldMkLst>
        <pc:spChg chg="mod">
          <ac:chgData name="Oehrli, Stefan" userId="3f36891e-f853-43e7-bcbc-2879a2513833" providerId="ADAL" clId="{262C7BF4-86F5-CD49-A8E8-3A77A5D2BB22}" dt="2024-06-17T05:09:51.356" v="317"/>
          <ac:spMkLst>
            <pc:docMk/>
            <pc:sldMk cId="2007375921" sldId="2147138200"/>
            <ac:spMk id="38" creationId="{81C32163-2FCE-1D0A-32E6-87C45FE8B73F}"/>
          </ac:spMkLst>
        </pc:spChg>
        <pc:spChg chg="mod">
          <ac:chgData name="Oehrli, Stefan" userId="3f36891e-f853-43e7-bcbc-2879a2513833" providerId="ADAL" clId="{262C7BF4-86F5-CD49-A8E8-3A77A5D2BB22}" dt="2024-06-17T05:04:26.637" v="311" actId="20577"/>
          <ac:spMkLst>
            <pc:docMk/>
            <pc:sldMk cId="2007375921" sldId="2147138200"/>
            <ac:spMk id="39" creationId="{A6E29AF1-44F3-982F-705B-C75E1D360B58}"/>
          </ac:spMkLst>
        </pc:spChg>
        <pc:spChg chg="mod">
          <ac:chgData name="Oehrli, Stefan" userId="3f36891e-f853-43e7-bcbc-2879a2513833" providerId="ADAL" clId="{262C7BF4-86F5-CD49-A8E8-3A77A5D2BB22}" dt="2024-06-17T05:11:14.279" v="322"/>
          <ac:spMkLst>
            <pc:docMk/>
            <pc:sldMk cId="2007375921" sldId="2147138200"/>
            <ac:spMk id="40" creationId="{F812FB05-C283-CDA9-B557-B5415BD2668A}"/>
          </ac:spMkLst>
        </pc:spChg>
      </pc:sldChg>
      <pc:sldChg chg="del">
        <pc:chgData name="Oehrli, Stefan" userId="3f36891e-f853-43e7-bcbc-2879a2513833" providerId="ADAL" clId="{262C7BF4-86F5-CD49-A8E8-3A77A5D2BB22}" dt="2024-06-16T22:20:32.589" v="50" actId="2696"/>
        <pc:sldMkLst>
          <pc:docMk/>
          <pc:sldMk cId="2363004670" sldId="2147138201"/>
        </pc:sldMkLst>
      </pc:sldChg>
      <pc:sldChg chg="modSp add mod ord">
        <pc:chgData name="Oehrli, Stefan" userId="3f36891e-f853-43e7-bcbc-2879a2513833" providerId="ADAL" clId="{262C7BF4-86F5-CD49-A8E8-3A77A5D2BB22}" dt="2024-06-17T05:30:09.918" v="385" actId="20578"/>
        <pc:sldMkLst>
          <pc:docMk/>
          <pc:sldMk cId="2659448521" sldId="2147138201"/>
        </pc:sldMkLst>
        <pc:spChg chg="mod">
          <ac:chgData name="Oehrli, Stefan" userId="3f36891e-f853-43e7-bcbc-2879a2513833" providerId="ADAL" clId="{262C7BF4-86F5-CD49-A8E8-3A77A5D2BB22}" dt="2024-06-17T05:04:42" v="312"/>
          <ac:spMkLst>
            <pc:docMk/>
            <pc:sldMk cId="2659448521" sldId="2147138201"/>
            <ac:spMk id="38" creationId="{81C32163-2FCE-1D0A-32E6-87C45FE8B73F}"/>
          </ac:spMkLst>
        </pc:spChg>
        <pc:spChg chg="mod">
          <ac:chgData name="Oehrli, Stefan" userId="3f36891e-f853-43e7-bcbc-2879a2513833" providerId="ADAL" clId="{262C7BF4-86F5-CD49-A8E8-3A77A5D2BB22}" dt="2024-06-17T05:04:22.682" v="310" actId="20577"/>
          <ac:spMkLst>
            <pc:docMk/>
            <pc:sldMk cId="2659448521" sldId="2147138201"/>
            <ac:spMk id="39" creationId="{A6E29AF1-44F3-982F-705B-C75E1D360B58}"/>
          </ac:spMkLst>
        </pc:spChg>
        <pc:spChg chg="mod">
          <ac:chgData name="Oehrli, Stefan" userId="3f36891e-f853-43e7-bcbc-2879a2513833" providerId="ADAL" clId="{262C7BF4-86F5-CD49-A8E8-3A77A5D2BB22}" dt="2024-06-17T05:09:25.185" v="314"/>
          <ac:spMkLst>
            <pc:docMk/>
            <pc:sldMk cId="2659448521" sldId="2147138201"/>
            <ac:spMk id="40" creationId="{F812FB05-C283-CDA9-B557-B5415BD2668A}"/>
          </ac:spMkLst>
        </pc:spChg>
      </pc:sldChg>
      <pc:sldChg chg="modSp add mod">
        <pc:chgData name="Oehrli, Stefan" userId="3f36891e-f853-43e7-bcbc-2879a2513833" providerId="ADAL" clId="{262C7BF4-86F5-CD49-A8E8-3A77A5D2BB22}" dt="2024-06-17T05:24:05.049" v="365"/>
        <pc:sldMkLst>
          <pc:docMk/>
          <pc:sldMk cId="1337759943" sldId="2147138202"/>
        </pc:sldMkLst>
        <pc:spChg chg="mod">
          <ac:chgData name="Oehrli, Stefan" userId="3f36891e-f853-43e7-bcbc-2879a2513833" providerId="ADAL" clId="{262C7BF4-86F5-CD49-A8E8-3A77A5D2BB22}" dt="2024-06-17T05:24:05.049" v="365"/>
          <ac:spMkLst>
            <pc:docMk/>
            <pc:sldMk cId="1337759943" sldId="2147138202"/>
            <ac:spMk id="38" creationId="{81C32163-2FCE-1D0A-32E6-87C45FE8B73F}"/>
          </ac:spMkLst>
        </pc:spChg>
        <pc:spChg chg="mod">
          <ac:chgData name="Oehrli, Stefan" userId="3f36891e-f853-43e7-bcbc-2879a2513833" providerId="ADAL" clId="{262C7BF4-86F5-CD49-A8E8-3A77A5D2BB22}" dt="2024-06-17T05:03:33.536" v="243" actId="20577"/>
          <ac:spMkLst>
            <pc:docMk/>
            <pc:sldMk cId="1337759943" sldId="2147138202"/>
            <ac:spMk id="39" creationId="{A6E29AF1-44F3-982F-705B-C75E1D360B58}"/>
          </ac:spMkLst>
        </pc:spChg>
        <pc:spChg chg="mod">
          <ac:chgData name="Oehrli, Stefan" userId="3f36891e-f853-43e7-bcbc-2879a2513833" providerId="ADAL" clId="{262C7BF4-86F5-CD49-A8E8-3A77A5D2BB22}" dt="2024-06-17T05:20:06.910" v="332"/>
          <ac:spMkLst>
            <pc:docMk/>
            <pc:sldMk cId="1337759943" sldId="2147138202"/>
            <ac:spMk id="40" creationId="{F812FB05-C283-CDA9-B557-B5415BD2668A}"/>
          </ac:spMkLst>
        </pc:spChg>
      </pc:sldChg>
      <pc:sldChg chg="add del">
        <pc:chgData name="Oehrli, Stefan" userId="3f36891e-f853-43e7-bcbc-2879a2513833" providerId="ADAL" clId="{262C7BF4-86F5-CD49-A8E8-3A77A5D2BB22}" dt="2024-06-17T04:59:21.517" v="218" actId="2696"/>
        <pc:sldMkLst>
          <pc:docMk/>
          <pc:sldMk cId="1485534821" sldId="2147138203"/>
        </pc:sldMkLst>
      </pc:sldChg>
      <pc:sldChg chg="modSp add mod ord">
        <pc:chgData name="Oehrli, Stefan" userId="3f36891e-f853-43e7-bcbc-2879a2513833" providerId="ADAL" clId="{262C7BF4-86F5-CD49-A8E8-3A77A5D2BB22}" dt="2024-06-17T05:31:05.994" v="391" actId="20578"/>
        <pc:sldMkLst>
          <pc:docMk/>
          <pc:sldMk cId="4144844284" sldId="2147138204"/>
        </pc:sldMkLst>
        <pc:spChg chg="mod">
          <ac:chgData name="Oehrli, Stefan" userId="3f36891e-f853-43e7-bcbc-2879a2513833" providerId="ADAL" clId="{262C7BF4-86F5-CD49-A8E8-3A77A5D2BB22}" dt="2024-06-17T05:24:01.534" v="364" actId="20577"/>
          <ac:spMkLst>
            <pc:docMk/>
            <pc:sldMk cId="4144844284" sldId="2147138204"/>
            <ac:spMk id="38" creationId="{81C32163-2FCE-1D0A-32E6-87C45FE8B73F}"/>
          </ac:spMkLst>
        </pc:spChg>
        <pc:spChg chg="mod">
          <ac:chgData name="Oehrli, Stefan" userId="3f36891e-f853-43e7-bcbc-2879a2513833" providerId="ADAL" clId="{262C7BF4-86F5-CD49-A8E8-3A77A5D2BB22}" dt="2024-06-17T05:02:17.526" v="236" actId="20577"/>
          <ac:spMkLst>
            <pc:docMk/>
            <pc:sldMk cId="4144844284" sldId="2147138204"/>
            <ac:spMk id="39" creationId="{A6E29AF1-44F3-982F-705B-C75E1D360B58}"/>
          </ac:spMkLst>
        </pc:spChg>
        <pc:spChg chg="mod">
          <ac:chgData name="Oehrli, Stefan" userId="3f36891e-f853-43e7-bcbc-2879a2513833" providerId="ADAL" clId="{262C7BF4-86F5-CD49-A8E8-3A77A5D2BB22}" dt="2024-06-17T05:19:27.373" v="330" actId="114"/>
          <ac:spMkLst>
            <pc:docMk/>
            <pc:sldMk cId="4144844284" sldId="2147138204"/>
            <ac:spMk id="40" creationId="{F812FB05-C283-CDA9-B557-B5415BD2668A}"/>
          </ac:spMkLst>
        </pc:spChg>
      </pc:sldChg>
      <pc:sldChg chg="modSp add mod ord">
        <pc:chgData name="Oehrli, Stefan" userId="3f36891e-f853-43e7-bcbc-2879a2513833" providerId="ADAL" clId="{262C7BF4-86F5-CD49-A8E8-3A77A5D2BB22}" dt="2024-06-17T05:35:20.452" v="392" actId="20578"/>
        <pc:sldMkLst>
          <pc:docMk/>
          <pc:sldMk cId="1476726504" sldId="2147138205"/>
        </pc:sldMkLst>
        <pc:spChg chg="mod">
          <ac:chgData name="Oehrli, Stefan" userId="3f36891e-f853-43e7-bcbc-2879a2513833" providerId="ADAL" clId="{262C7BF4-86F5-CD49-A8E8-3A77A5D2BB22}" dt="2024-06-17T05:00:24.180" v="232"/>
          <ac:spMkLst>
            <pc:docMk/>
            <pc:sldMk cId="1476726504" sldId="2147138205"/>
            <ac:spMk id="38" creationId="{81C32163-2FCE-1D0A-32E6-87C45FE8B73F}"/>
          </ac:spMkLst>
        </pc:spChg>
        <pc:spChg chg="mod">
          <ac:chgData name="Oehrli, Stefan" userId="3f36891e-f853-43e7-bcbc-2879a2513833" providerId="ADAL" clId="{262C7BF4-86F5-CD49-A8E8-3A77A5D2BB22}" dt="2024-06-17T05:00:22.766" v="231" actId="20577"/>
          <ac:spMkLst>
            <pc:docMk/>
            <pc:sldMk cId="1476726504" sldId="2147138205"/>
            <ac:spMk id="39" creationId="{A6E29AF1-44F3-982F-705B-C75E1D360B58}"/>
          </ac:spMkLst>
        </pc:spChg>
        <pc:spChg chg="mod">
          <ac:chgData name="Oehrli, Stefan" userId="3f36891e-f853-43e7-bcbc-2879a2513833" providerId="ADAL" clId="{262C7BF4-86F5-CD49-A8E8-3A77A5D2BB22}" dt="2024-06-17T05:13:28.851" v="323"/>
          <ac:spMkLst>
            <pc:docMk/>
            <pc:sldMk cId="1476726504" sldId="2147138205"/>
            <ac:spMk id="40" creationId="{F812FB05-C283-CDA9-B557-B5415BD2668A}"/>
          </ac:spMkLst>
        </pc:spChg>
      </pc:sldChg>
      <pc:sldChg chg="addSp delSp modSp new mod ord modClrScheme chgLayout">
        <pc:chgData name="Oehrli, Stefan" userId="3f36891e-f853-43e7-bcbc-2879a2513833" providerId="ADAL" clId="{262C7BF4-86F5-CD49-A8E8-3A77A5D2BB22}" dt="2024-06-17T13:00:48.115" v="3518" actId="20577"/>
        <pc:sldMkLst>
          <pc:docMk/>
          <pc:sldMk cId="3919350327" sldId="2147138206"/>
        </pc:sldMkLst>
        <pc:spChg chg="del mod ord">
          <ac:chgData name="Oehrli, Stefan" userId="3f36891e-f853-43e7-bcbc-2879a2513833" providerId="ADAL" clId="{262C7BF4-86F5-CD49-A8E8-3A77A5D2BB22}" dt="2024-06-17T05:29:52.391" v="379" actId="700"/>
          <ac:spMkLst>
            <pc:docMk/>
            <pc:sldMk cId="3919350327" sldId="2147138206"/>
            <ac:spMk id="2" creationId="{6C9C662E-4C23-DAA6-664E-C8CBEB09E42E}"/>
          </ac:spMkLst>
        </pc:spChg>
        <pc:spChg chg="del mod ord">
          <ac:chgData name="Oehrli, Stefan" userId="3f36891e-f853-43e7-bcbc-2879a2513833" providerId="ADAL" clId="{262C7BF4-86F5-CD49-A8E8-3A77A5D2BB22}" dt="2024-06-17T05:29:52.391" v="379" actId="700"/>
          <ac:spMkLst>
            <pc:docMk/>
            <pc:sldMk cId="3919350327" sldId="2147138206"/>
            <ac:spMk id="3" creationId="{3E16BB55-6CCC-8CBF-F68B-4766604FA147}"/>
          </ac:spMkLst>
        </pc:spChg>
        <pc:spChg chg="del mod ord">
          <ac:chgData name="Oehrli, Stefan" userId="3f36891e-f853-43e7-bcbc-2879a2513833" providerId="ADAL" clId="{262C7BF4-86F5-CD49-A8E8-3A77A5D2BB22}" dt="2024-06-17T05:29:52.391" v="379" actId="700"/>
          <ac:spMkLst>
            <pc:docMk/>
            <pc:sldMk cId="3919350327" sldId="2147138206"/>
            <ac:spMk id="4" creationId="{75029A32-EB45-51F5-E2D6-1E67A0863542}"/>
          </ac:spMkLst>
        </pc:spChg>
        <pc:spChg chg="mod ord">
          <ac:chgData name="Oehrli, Stefan" userId="3f36891e-f853-43e7-bcbc-2879a2513833" providerId="ADAL" clId="{262C7BF4-86F5-CD49-A8E8-3A77A5D2BB22}" dt="2024-06-17T12:46:41.173" v="3125" actId="700"/>
          <ac:spMkLst>
            <pc:docMk/>
            <pc:sldMk cId="3919350327" sldId="2147138206"/>
            <ac:spMk id="5" creationId="{4136C58D-15E0-EE3F-3DF2-DE72E8F87D46}"/>
          </ac:spMkLst>
        </pc:spChg>
        <pc:spChg chg="mod ord">
          <ac:chgData name="Oehrli, Stefan" userId="3f36891e-f853-43e7-bcbc-2879a2513833" providerId="ADAL" clId="{262C7BF4-86F5-CD49-A8E8-3A77A5D2BB22}" dt="2024-06-17T12:46:41.173" v="3125" actId="700"/>
          <ac:spMkLst>
            <pc:docMk/>
            <pc:sldMk cId="3919350327" sldId="2147138206"/>
            <ac:spMk id="6" creationId="{6DD1DA18-A6AB-AE46-257F-A63FFA900D03}"/>
          </ac:spMkLst>
        </pc:spChg>
        <pc:spChg chg="add del mod ord">
          <ac:chgData name="Oehrli, Stefan" userId="3f36891e-f853-43e7-bcbc-2879a2513833" providerId="ADAL" clId="{262C7BF4-86F5-CD49-A8E8-3A77A5D2BB22}" dt="2024-06-17T12:46:37.378" v="3124" actId="700"/>
          <ac:spMkLst>
            <pc:docMk/>
            <pc:sldMk cId="3919350327" sldId="2147138206"/>
            <ac:spMk id="7" creationId="{05AFBEC8-CF15-BA1E-092F-8395F3BB9DBA}"/>
          </ac:spMkLst>
        </pc:spChg>
        <pc:spChg chg="add del mod ord">
          <ac:chgData name="Oehrli, Stefan" userId="3f36891e-f853-43e7-bcbc-2879a2513833" providerId="ADAL" clId="{262C7BF4-86F5-CD49-A8E8-3A77A5D2BB22}" dt="2024-06-17T12:46:37.378" v="3124" actId="700"/>
          <ac:spMkLst>
            <pc:docMk/>
            <pc:sldMk cId="3919350327" sldId="2147138206"/>
            <ac:spMk id="8" creationId="{F95CEE0A-AF5A-BE20-773B-D401310D122A}"/>
          </ac:spMkLst>
        </pc:spChg>
        <pc:spChg chg="add del mod ord">
          <ac:chgData name="Oehrli, Stefan" userId="3f36891e-f853-43e7-bcbc-2879a2513833" providerId="ADAL" clId="{262C7BF4-86F5-CD49-A8E8-3A77A5D2BB22}" dt="2024-06-17T12:46:37.378" v="3124" actId="700"/>
          <ac:spMkLst>
            <pc:docMk/>
            <pc:sldMk cId="3919350327" sldId="2147138206"/>
            <ac:spMk id="9" creationId="{3279521D-4FFA-BAE6-3070-246C90D6FF79}"/>
          </ac:spMkLst>
        </pc:spChg>
        <pc:spChg chg="add del mod ord">
          <ac:chgData name="Oehrli, Stefan" userId="3f36891e-f853-43e7-bcbc-2879a2513833" providerId="ADAL" clId="{262C7BF4-86F5-CD49-A8E8-3A77A5D2BB22}" dt="2024-06-17T12:46:41.173" v="3125" actId="700"/>
          <ac:spMkLst>
            <pc:docMk/>
            <pc:sldMk cId="3919350327" sldId="2147138206"/>
            <ac:spMk id="10" creationId="{CF9D4168-B5F5-2032-2F5E-996E54635671}"/>
          </ac:spMkLst>
        </pc:spChg>
        <pc:spChg chg="add del mod ord">
          <ac:chgData name="Oehrli, Stefan" userId="3f36891e-f853-43e7-bcbc-2879a2513833" providerId="ADAL" clId="{262C7BF4-86F5-CD49-A8E8-3A77A5D2BB22}" dt="2024-06-17T12:46:41.173" v="3125" actId="700"/>
          <ac:spMkLst>
            <pc:docMk/>
            <pc:sldMk cId="3919350327" sldId="2147138206"/>
            <ac:spMk id="11" creationId="{7AAD82F2-CBB4-933F-FCED-904C77A7A0A6}"/>
          </ac:spMkLst>
        </pc:spChg>
        <pc:spChg chg="add del mod ord">
          <ac:chgData name="Oehrli, Stefan" userId="3f36891e-f853-43e7-bcbc-2879a2513833" providerId="ADAL" clId="{262C7BF4-86F5-CD49-A8E8-3A77A5D2BB22}" dt="2024-06-17T12:46:41.173" v="3125" actId="700"/>
          <ac:spMkLst>
            <pc:docMk/>
            <pc:sldMk cId="3919350327" sldId="2147138206"/>
            <ac:spMk id="12" creationId="{276408CF-7DE9-7B4E-BD40-84BF3A408875}"/>
          </ac:spMkLst>
        </pc:spChg>
        <pc:spChg chg="add del mod ord">
          <ac:chgData name="Oehrli, Stefan" userId="3f36891e-f853-43e7-bcbc-2879a2513833" providerId="ADAL" clId="{262C7BF4-86F5-CD49-A8E8-3A77A5D2BB22}" dt="2024-06-17T12:46:41.173" v="3125" actId="700"/>
          <ac:spMkLst>
            <pc:docMk/>
            <pc:sldMk cId="3919350327" sldId="2147138206"/>
            <ac:spMk id="13" creationId="{6AAB5FE3-C856-3CAF-D32C-11DA16F58129}"/>
          </ac:spMkLst>
        </pc:spChg>
        <pc:spChg chg="add del mod ord">
          <ac:chgData name="Oehrli, Stefan" userId="3f36891e-f853-43e7-bcbc-2879a2513833" providerId="ADAL" clId="{262C7BF4-86F5-CD49-A8E8-3A77A5D2BB22}" dt="2024-06-17T12:46:41.173" v="3125" actId="700"/>
          <ac:spMkLst>
            <pc:docMk/>
            <pc:sldMk cId="3919350327" sldId="2147138206"/>
            <ac:spMk id="14" creationId="{89BD2E23-D7BD-AC4C-678F-95DAE98254E5}"/>
          </ac:spMkLst>
        </pc:spChg>
        <pc:spChg chg="add del mod ord">
          <ac:chgData name="Oehrli, Stefan" userId="3f36891e-f853-43e7-bcbc-2879a2513833" providerId="ADAL" clId="{262C7BF4-86F5-CD49-A8E8-3A77A5D2BB22}" dt="2024-06-17T12:46:41.173" v="3125" actId="700"/>
          <ac:spMkLst>
            <pc:docMk/>
            <pc:sldMk cId="3919350327" sldId="2147138206"/>
            <ac:spMk id="15" creationId="{E3642794-6F29-358A-8B68-66F727BC251A}"/>
          </ac:spMkLst>
        </pc:spChg>
        <pc:spChg chg="add mod ord">
          <ac:chgData name="Oehrli, Stefan" userId="3f36891e-f853-43e7-bcbc-2879a2513833" providerId="ADAL" clId="{262C7BF4-86F5-CD49-A8E8-3A77A5D2BB22}" dt="2024-06-17T12:56:14.854" v="3311"/>
          <ac:spMkLst>
            <pc:docMk/>
            <pc:sldMk cId="3919350327" sldId="2147138206"/>
            <ac:spMk id="16" creationId="{CE950502-B7E8-7791-B218-DAAFBE22A012}"/>
          </ac:spMkLst>
        </pc:spChg>
        <pc:spChg chg="add mod ord">
          <ac:chgData name="Oehrli, Stefan" userId="3f36891e-f853-43e7-bcbc-2879a2513833" providerId="ADAL" clId="{262C7BF4-86F5-CD49-A8E8-3A77A5D2BB22}" dt="2024-06-17T13:00:48.115" v="3518" actId="20577"/>
          <ac:spMkLst>
            <pc:docMk/>
            <pc:sldMk cId="3919350327" sldId="2147138206"/>
            <ac:spMk id="17" creationId="{3D2E9805-E45D-4CD5-B19C-0B9DCFB22375}"/>
          </ac:spMkLst>
        </pc:spChg>
        <pc:spChg chg="add mod ord">
          <ac:chgData name="Oehrli, Stefan" userId="3f36891e-f853-43e7-bcbc-2879a2513833" providerId="ADAL" clId="{262C7BF4-86F5-CD49-A8E8-3A77A5D2BB22}" dt="2024-06-17T12:56:43.901" v="3324"/>
          <ac:spMkLst>
            <pc:docMk/>
            <pc:sldMk cId="3919350327" sldId="2147138206"/>
            <ac:spMk id="18" creationId="{FB531463-B9B9-C63A-1702-0DD229803848}"/>
          </ac:spMkLst>
        </pc:spChg>
        <pc:spChg chg="add del mod ord">
          <ac:chgData name="Oehrli, Stefan" userId="3f36891e-f853-43e7-bcbc-2879a2513833" providerId="ADAL" clId="{262C7BF4-86F5-CD49-A8E8-3A77A5D2BB22}" dt="2024-06-17T12:55:47.838" v="3306"/>
          <ac:spMkLst>
            <pc:docMk/>
            <pc:sldMk cId="3919350327" sldId="2147138206"/>
            <ac:spMk id="19" creationId="{00BA811F-9C33-20E2-330D-5DB755C13087}"/>
          </ac:spMkLst>
        </pc:spChg>
        <pc:spChg chg="add mod">
          <ac:chgData name="Oehrli, Stefan" userId="3f36891e-f853-43e7-bcbc-2879a2513833" providerId="ADAL" clId="{262C7BF4-86F5-CD49-A8E8-3A77A5D2BB22}" dt="2024-06-17T12:57:21.796" v="3392" actId="767"/>
          <ac:spMkLst>
            <pc:docMk/>
            <pc:sldMk cId="3919350327" sldId="2147138206"/>
            <ac:spMk id="21" creationId="{0D2AFEEE-5F90-0AB7-EE90-7FEB4D1A5345}"/>
          </ac:spMkLst>
        </pc:spChg>
        <pc:spChg chg="add del mod">
          <ac:chgData name="Oehrli, Stefan" userId="3f36891e-f853-43e7-bcbc-2879a2513833" providerId="ADAL" clId="{262C7BF4-86F5-CD49-A8E8-3A77A5D2BB22}" dt="2024-06-17T12:58:50.373" v="3398"/>
          <ac:spMkLst>
            <pc:docMk/>
            <pc:sldMk cId="3919350327" sldId="2147138206"/>
            <ac:spMk id="23" creationId="{5A70E15E-447E-8CCF-DE72-2695D888E77C}"/>
          </ac:spMkLst>
        </pc:spChg>
        <pc:picChg chg="add del mod">
          <ac:chgData name="Oehrli, Stefan" userId="3f36891e-f853-43e7-bcbc-2879a2513833" providerId="ADAL" clId="{262C7BF4-86F5-CD49-A8E8-3A77A5D2BB22}" dt="2024-06-17T12:58:49.344" v="3397" actId="478"/>
          <ac:picMkLst>
            <pc:docMk/>
            <pc:sldMk cId="3919350327" sldId="2147138206"/>
            <ac:picMk id="20" creationId="{8859F016-107F-C231-5766-926950A614C9}"/>
          </ac:picMkLst>
        </pc:picChg>
        <pc:picChg chg="add mod">
          <ac:chgData name="Oehrli, Stefan" userId="3f36891e-f853-43e7-bcbc-2879a2513833" providerId="ADAL" clId="{262C7BF4-86F5-CD49-A8E8-3A77A5D2BB22}" dt="2024-06-17T12:58:56.566" v="3404" actId="1076"/>
          <ac:picMkLst>
            <pc:docMk/>
            <pc:sldMk cId="3919350327" sldId="2147138206"/>
            <ac:picMk id="24" creationId="{0D754E0D-7D50-ED25-9460-A50719D195B3}"/>
          </ac:picMkLst>
        </pc:picChg>
      </pc:sldChg>
      <pc:sldChg chg="addSp delSp modSp add mod">
        <pc:chgData name="Oehrli, Stefan" userId="3f36891e-f853-43e7-bcbc-2879a2513833" providerId="ADAL" clId="{262C7BF4-86F5-CD49-A8E8-3A77A5D2BB22}" dt="2024-06-17T09:01:58.823" v="1217" actId="1076"/>
        <pc:sldMkLst>
          <pc:docMk/>
          <pc:sldMk cId="2842768397" sldId="2147138207"/>
        </pc:sldMkLst>
        <pc:spChg chg="add mod">
          <ac:chgData name="Oehrli, Stefan" userId="3f36891e-f853-43e7-bcbc-2879a2513833" providerId="ADAL" clId="{262C7BF4-86F5-CD49-A8E8-3A77A5D2BB22}" dt="2024-06-17T09:01:58.823" v="1217" actId="1076"/>
          <ac:spMkLst>
            <pc:docMk/>
            <pc:sldMk cId="2842768397" sldId="2147138207"/>
            <ac:spMk id="3" creationId="{DC8303DC-0904-C614-4E46-DD627B804599}"/>
          </ac:spMkLst>
        </pc:spChg>
        <pc:spChg chg="mod">
          <ac:chgData name="Oehrli, Stefan" userId="3f36891e-f853-43e7-bcbc-2879a2513833" providerId="ADAL" clId="{262C7BF4-86F5-CD49-A8E8-3A77A5D2BB22}" dt="2024-06-17T08:56:04.448" v="1196"/>
          <ac:spMkLst>
            <pc:docMk/>
            <pc:sldMk cId="2842768397" sldId="2147138207"/>
            <ac:spMk id="7" creationId="{05AFBEC8-CF15-BA1E-092F-8395F3BB9DBA}"/>
          </ac:spMkLst>
        </pc:spChg>
        <pc:spChg chg="del mod">
          <ac:chgData name="Oehrli, Stefan" userId="3f36891e-f853-43e7-bcbc-2879a2513833" providerId="ADAL" clId="{262C7BF4-86F5-CD49-A8E8-3A77A5D2BB22}" dt="2024-06-17T09:01:05.523" v="1198"/>
          <ac:spMkLst>
            <pc:docMk/>
            <pc:sldMk cId="2842768397" sldId="2147138207"/>
            <ac:spMk id="8" creationId="{F95CEE0A-AF5A-BE20-773B-D401310D122A}"/>
          </ac:spMkLst>
        </pc:spChg>
        <pc:spChg chg="mod">
          <ac:chgData name="Oehrli, Stefan" userId="3f36891e-f853-43e7-bcbc-2879a2513833" providerId="ADAL" clId="{262C7BF4-86F5-CD49-A8E8-3A77A5D2BB22}" dt="2024-06-17T08:55:59.359" v="1195" actId="20577"/>
          <ac:spMkLst>
            <pc:docMk/>
            <pc:sldMk cId="2842768397" sldId="2147138207"/>
            <ac:spMk id="9" creationId="{3279521D-4FFA-BAE6-3070-246C90D6FF79}"/>
          </ac:spMkLst>
        </pc:spChg>
        <pc:picChg chg="add mod">
          <ac:chgData name="Oehrli, Stefan" userId="3f36891e-f853-43e7-bcbc-2879a2513833" providerId="ADAL" clId="{262C7BF4-86F5-CD49-A8E8-3A77A5D2BB22}" dt="2024-06-17T09:01:16.026" v="1200" actId="1076"/>
          <ac:picMkLst>
            <pc:docMk/>
            <pc:sldMk cId="2842768397" sldId="2147138207"/>
            <ac:picMk id="2" creationId="{26A9FEC2-6FC7-0DE9-AAAB-8E7353D2AB7B}"/>
          </ac:picMkLst>
        </pc:picChg>
      </pc:sldChg>
      <pc:sldChg chg="addSp delSp modSp add mod ord modClrScheme chgLayout">
        <pc:chgData name="Oehrli, Stefan" userId="3f36891e-f853-43e7-bcbc-2879a2513833" providerId="ADAL" clId="{262C7BF4-86F5-CD49-A8E8-3A77A5D2BB22}" dt="2024-06-17T12:51:43.822" v="3276" actId="14100"/>
        <pc:sldMkLst>
          <pc:docMk/>
          <pc:sldMk cId="1826387027" sldId="2147138208"/>
        </pc:sldMkLst>
        <pc:spChg chg="add mod ord">
          <ac:chgData name="Oehrli, Stefan" userId="3f36891e-f853-43e7-bcbc-2879a2513833" providerId="ADAL" clId="{262C7BF4-86F5-CD49-A8E8-3A77A5D2BB22}" dt="2024-06-17T12:49:34.177" v="3207" actId="700"/>
          <ac:spMkLst>
            <pc:docMk/>
            <pc:sldMk cId="1826387027" sldId="2147138208"/>
            <ac:spMk id="2" creationId="{C01E0DD3-9545-9315-F9C7-C62682DC6EAB}"/>
          </ac:spMkLst>
        </pc:spChg>
        <pc:spChg chg="add del mod ord">
          <ac:chgData name="Oehrli, Stefan" userId="3f36891e-f853-43e7-bcbc-2879a2513833" providerId="ADAL" clId="{262C7BF4-86F5-CD49-A8E8-3A77A5D2BB22}" dt="2024-06-17T12:49:34.177" v="3207" actId="700"/>
          <ac:spMkLst>
            <pc:docMk/>
            <pc:sldMk cId="1826387027" sldId="2147138208"/>
            <ac:spMk id="3" creationId="{E8B8BC52-9286-42E6-8D21-C3814DADD2B9}"/>
          </ac:spMkLst>
        </pc:spChg>
        <pc:spChg chg="add mod ord">
          <ac:chgData name="Oehrli, Stefan" userId="3f36891e-f853-43e7-bcbc-2879a2513833" providerId="ADAL" clId="{262C7BF4-86F5-CD49-A8E8-3A77A5D2BB22}" dt="2024-06-17T12:49:34.177" v="3207" actId="700"/>
          <ac:spMkLst>
            <pc:docMk/>
            <pc:sldMk cId="1826387027" sldId="2147138208"/>
            <ac:spMk id="4" creationId="{5D88C90C-F13E-E913-3334-BC1F538C5495}"/>
          </ac:spMkLst>
        </pc:spChg>
        <pc:spChg chg="mod ord">
          <ac:chgData name="Oehrli, Stefan" userId="3f36891e-f853-43e7-bcbc-2879a2513833" providerId="ADAL" clId="{262C7BF4-86F5-CD49-A8E8-3A77A5D2BB22}" dt="2024-06-17T12:49:34.177" v="3207" actId="700"/>
          <ac:spMkLst>
            <pc:docMk/>
            <pc:sldMk cId="1826387027" sldId="2147138208"/>
            <ac:spMk id="5" creationId="{4136C58D-15E0-EE3F-3DF2-DE72E8F87D46}"/>
          </ac:spMkLst>
        </pc:spChg>
        <pc:spChg chg="mod ord">
          <ac:chgData name="Oehrli, Stefan" userId="3f36891e-f853-43e7-bcbc-2879a2513833" providerId="ADAL" clId="{262C7BF4-86F5-CD49-A8E8-3A77A5D2BB22}" dt="2024-06-17T12:49:34.177" v="3207" actId="700"/>
          <ac:spMkLst>
            <pc:docMk/>
            <pc:sldMk cId="1826387027" sldId="2147138208"/>
            <ac:spMk id="6" creationId="{6DD1DA18-A6AB-AE46-257F-A63FFA900D03}"/>
          </ac:spMkLst>
        </pc:spChg>
        <pc:spChg chg="del mod ord">
          <ac:chgData name="Oehrli, Stefan" userId="3f36891e-f853-43e7-bcbc-2879a2513833" providerId="ADAL" clId="{262C7BF4-86F5-CD49-A8E8-3A77A5D2BB22}" dt="2024-06-17T12:29:01.517" v="2779" actId="700"/>
          <ac:spMkLst>
            <pc:docMk/>
            <pc:sldMk cId="1826387027" sldId="2147138208"/>
            <ac:spMk id="7" creationId="{05AFBEC8-CF15-BA1E-092F-8395F3BB9DBA}"/>
          </ac:spMkLst>
        </pc:spChg>
        <pc:spChg chg="del mod ord">
          <ac:chgData name="Oehrli, Stefan" userId="3f36891e-f853-43e7-bcbc-2879a2513833" providerId="ADAL" clId="{262C7BF4-86F5-CD49-A8E8-3A77A5D2BB22}" dt="2024-06-17T12:29:01.517" v="2779" actId="700"/>
          <ac:spMkLst>
            <pc:docMk/>
            <pc:sldMk cId="1826387027" sldId="2147138208"/>
            <ac:spMk id="8" creationId="{F95CEE0A-AF5A-BE20-773B-D401310D122A}"/>
          </ac:spMkLst>
        </pc:spChg>
        <pc:spChg chg="del mod ord">
          <ac:chgData name="Oehrli, Stefan" userId="3f36891e-f853-43e7-bcbc-2879a2513833" providerId="ADAL" clId="{262C7BF4-86F5-CD49-A8E8-3A77A5D2BB22}" dt="2024-06-17T12:29:01.517" v="2779" actId="700"/>
          <ac:spMkLst>
            <pc:docMk/>
            <pc:sldMk cId="1826387027" sldId="2147138208"/>
            <ac:spMk id="9" creationId="{3279521D-4FFA-BAE6-3070-246C90D6FF79}"/>
          </ac:spMkLst>
        </pc:spChg>
        <pc:spChg chg="add mod ord">
          <ac:chgData name="Oehrli, Stefan" userId="3f36891e-f853-43e7-bcbc-2879a2513833" providerId="ADAL" clId="{262C7BF4-86F5-CD49-A8E8-3A77A5D2BB22}" dt="2024-06-17T12:51:41.023" v="3275" actId="1076"/>
          <ac:spMkLst>
            <pc:docMk/>
            <pc:sldMk cId="1826387027" sldId="2147138208"/>
            <ac:spMk id="10" creationId="{BC83AAD8-4162-6508-AF2C-89CF10E331B6}"/>
          </ac:spMkLst>
        </pc:spChg>
        <pc:spChg chg="add mod ord">
          <ac:chgData name="Oehrli, Stefan" userId="3f36891e-f853-43e7-bcbc-2879a2513833" providerId="ADAL" clId="{262C7BF4-86F5-CD49-A8E8-3A77A5D2BB22}" dt="2024-06-17T12:50:37.039" v="3237" actId="14100"/>
          <ac:spMkLst>
            <pc:docMk/>
            <pc:sldMk cId="1826387027" sldId="2147138208"/>
            <ac:spMk id="11" creationId="{985BF40E-437F-2325-EA70-48DE6B5633E5}"/>
          </ac:spMkLst>
        </pc:spChg>
        <pc:spChg chg="add mod ord">
          <ac:chgData name="Oehrli, Stefan" userId="3f36891e-f853-43e7-bcbc-2879a2513833" providerId="ADAL" clId="{262C7BF4-86F5-CD49-A8E8-3A77A5D2BB22}" dt="2024-06-17T12:51:43.822" v="3276" actId="14100"/>
          <ac:spMkLst>
            <pc:docMk/>
            <pc:sldMk cId="1826387027" sldId="2147138208"/>
            <ac:spMk id="12" creationId="{A821F9FE-742F-7D85-2EFC-41A1B2352B7B}"/>
          </ac:spMkLst>
        </pc:spChg>
        <pc:spChg chg="add mod ord">
          <ac:chgData name="Oehrli, Stefan" userId="3f36891e-f853-43e7-bcbc-2879a2513833" providerId="ADAL" clId="{262C7BF4-86F5-CD49-A8E8-3A77A5D2BB22}" dt="2024-06-17T12:51:07.651" v="3245" actId="20577"/>
          <ac:spMkLst>
            <pc:docMk/>
            <pc:sldMk cId="1826387027" sldId="2147138208"/>
            <ac:spMk id="13" creationId="{416717D2-C129-C4BA-E326-312196736047}"/>
          </ac:spMkLst>
        </pc:spChg>
      </pc:sldChg>
      <pc:sldChg chg="addSp delSp modSp new mod chgLayout">
        <pc:chgData name="Oehrli, Stefan" userId="3f36891e-f853-43e7-bcbc-2879a2513833" providerId="ADAL" clId="{262C7BF4-86F5-CD49-A8E8-3A77A5D2BB22}" dt="2024-06-17T11:41:35.815" v="2778" actId="5793"/>
        <pc:sldMkLst>
          <pc:docMk/>
          <pc:sldMk cId="2070604102" sldId="2147138209"/>
        </pc:sldMkLst>
        <pc:spChg chg="del mod ord">
          <ac:chgData name="Oehrli, Stefan" userId="3f36891e-f853-43e7-bcbc-2879a2513833" providerId="ADAL" clId="{262C7BF4-86F5-CD49-A8E8-3A77A5D2BB22}" dt="2024-06-17T05:30:14.912" v="387" actId="700"/>
          <ac:spMkLst>
            <pc:docMk/>
            <pc:sldMk cId="2070604102" sldId="2147138209"/>
            <ac:spMk id="2" creationId="{F8CFDA45-EDE5-B712-732F-5F42E0A4E38E}"/>
          </ac:spMkLst>
        </pc:spChg>
        <pc:spChg chg="del mod ord">
          <ac:chgData name="Oehrli, Stefan" userId="3f36891e-f853-43e7-bcbc-2879a2513833" providerId="ADAL" clId="{262C7BF4-86F5-CD49-A8E8-3A77A5D2BB22}" dt="2024-06-17T05:30:14.912" v="387" actId="700"/>
          <ac:spMkLst>
            <pc:docMk/>
            <pc:sldMk cId="2070604102" sldId="2147138209"/>
            <ac:spMk id="3" creationId="{0B31D8AB-EF7B-809B-1857-CE32EBE7C92C}"/>
          </ac:spMkLst>
        </pc:spChg>
        <pc:spChg chg="del mod ord">
          <ac:chgData name="Oehrli, Stefan" userId="3f36891e-f853-43e7-bcbc-2879a2513833" providerId="ADAL" clId="{262C7BF4-86F5-CD49-A8E8-3A77A5D2BB22}" dt="2024-06-17T05:30:14.912" v="387" actId="700"/>
          <ac:spMkLst>
            <pc:docMk/>
            <pc:sldMk cId="2070604102" sldId="2147138209"/>
            <ac:spMk id="4" creationId="{FA513180-2FCE-57F8-27DD-B155738ADA3C}"/>
          </ac:spMkLst>
        </pc:spChg>
        <pc:spChg chg="mod ord">
          <ac:chgData name="Oehrli, Stefan" userId="3f36891e-f853-43e7-bcbc-2879a2513833" providerId="ADAL" clId="{262C7BF4-86F5-CD49-A8E8-3A77A5D2BB22}" dt="2024-06-17T05:30:14.912" v="387" actId="700"/>
          <ac:spMkLst>
            <pc:docMk/>
            <pc:sldMk cId="2070604102" sldId="2147138209"/>
            <ac:spMk id="5" creationId="{B08AC496-66BE-601C-9E61-A5FB43899202}"/>
          </ac:spMkLst>
        </pc:spChg>
        <pc:spChg chg="mod ord">
          <ac:chgData name="Oehrli, Stefan" userId="3f36891e-f853-43e7-bcbc-2879a2513833" providerId="ADAL" clId="{262C7BF4-86F5-CD49-A8E8-3A77A5D2BB22}" dt="2024-06-17T05:30:14.912" v="387" actId="700"/>
          <ac:spMkLst>
            <pc:docMk/>
            <pc:sldMk cId="2070604102" sldId="2147138209"/>
            <ac:spMk id="6" creationId="{EB1EC2E4-3962-6505-749D-FDA9D9670184}"/>
          </ac:spMkLst>
        </pc:spChg>
        <pc:spChg chg="add mod ord">
          <ac:chgData name="Oehrli, Stefan" userId="3f36891e-f853-43e7-bcbc-2879a2513833" providerId="ADAL" clId="{262C7BF4-86F5-CD49-A8E8-3A77A5D2BB22}" dt="2024-06-17T11:33:57.952" v="2428"/>
          <ac:spMkLst>
            <pc:docMk/>
            <pc:sldMk cId="2070604102" sldId="2147138209"/>
            <ac:spMk id="7" creationId="{776D7566-C180-61E1-2FCA-FC3766DF6DE4}"/>
          </ac:spMkLst>
        </pc:spChg>
        <pc:spChg chg="add mod ord">
          <ac:chgData name="Oehrli, Stefan" userId="3f36891e-f853-43e7-bcbc-2879a2513833" providerId="ADAL" clId="{262C7BF4-86F5-CD49-A8E8-3A77A5D2BB22}" dt="2024-06-17T11:41:35.815" v="2778" actId="5793"/>
          <ac:spMkLst>
            <pc:docMk/>
            <pc:sldMk cId="2070604102" sldId="2147138209"/>
            <ac:spMk id="8" creationId="{8EA27A76-69F8-D510-A846-C44CF22CE67A}"/>
          </ac:spMkLst>
        </pc:spChg>
        <pc:spChg chg="add mod ord">
          <ac:chgData name="Oehrli, Stefan" userId="3f36891e-f853-43e7-bcbc-2879a2513833" providerId="ADAL" clId="{262C7BF4-86F5-CD49-A8E8-3A77A5D2BB22}" dt="2024-06-17T11:34:28.659" v="2433" actId="20577"/>
          <ac:spMkLst>
            <pc:docMk/>
            <pc:sldMk cId="2070604102" sldId="2147138209"/>
            <ac:spMk id="9" creationId="{CD6AEFC0-C316-B855-602B-BF09C6FB7327}"/>
          </ac:spMkLst>
        </pc:spChg>
        <pc:picChg chg="add mod">
          <ac:chgData name="Oehrli, Stefan" userId="3f36891e-f853-43e7-bcbc-2879a2513833" providerId="ADAL" clId="{262C7BF4-86F5-CD49-A8E8-3A77A5D2BB22}" dt="2024-06-17T11:40:50.699" v="2683" actId="1440"/>
          <ac:picMkLst>
            <pc:docMk/>
            <pc:sldMk cId="2070604102" sldId="2147138209"/>
            <ac:picMk id="10" creationId="{DA0FC02F-87E3-37C4-FBAE-6925F530DB32}"/>
          </ac:picMkLst>
        </pc:picChg>
      </pc:sldChg>
      <pc:sldChg chg="addSp delSp modSp add mod addAnim delAnim modAnim">
        <pc:chgData name="Oehrli, Stefan" userId="3f36891e-f853-43e7-bcbc-2879a2513833" providerId="ADAL" clId="{262C7BF4-86F5-CD49-A8E8-3A77A5D2BB22}" dt="2024-06-17T13:24:04.954" v="3901"/>
        <pc:sldMkLst>
          <pc:docMk/>
          <pc:sldMk cId="4029458114" sldId="2147138210"/>
        </pc:sldMkLst>
        <pc:spChg chg="mod">
          <ac:chgData name="Oehrli, Stefan" userId="3f36891e-f853-43e7-bcbc-2879a2513833" providerId="ADAL" clId="{262C7BF4-86F5-CD49-A8E8-3A77A5D2BB22}" dt="2024-06-17T05:38:06.005" v="447"/>
          <ac:spMkLst>
            <pc:docMk/>
            <pc:sldMk cId="4029458114" sldId="2147138210"/>
            <ac:spMk id="7" creationId="{370701DC-A45B-E549-24ED-868B1C20E7F9}"/>
          </ac:spMkLst>
        </pc:spChg>
        <pc:spChg chg="mod">
          <ac:chgData name="Oehrli, Stefan" userId="3f36891e-f853-43e7-bcbc-2879a2513833" providerId="ADAL" clId="{262C7BF4-86F5-CD49-A8E8-3A77A5D2BB22}" dt="2024-06-17T05:39:34.860" v="491"/>
          <ac:spMkLst>
            <pc:docMk/>
            <pc:sldMk cId="4029458114" sldId="2147138210"/>
            <ac:spMk id="8" creationId="{7B7C21A9-BA8E-8035-8AF7-8D125C866046}"/>
          </ac:spMkLst>
        </pc:spChg>
        <pc:spChg chg="mod">
          <ac:chgData name="Oehrli, Stefan" userId="3f36891e-f853-43e7-bcbc-2879a2513833" providerId="ADAL" clId="{262C7BF4-86F5-CD49-A8E8-3A77A5D2BB22}" dt="2024-06-17T05:58:26.578" v="1049" actId="114"/>
          <ac:spMkLst>
            <pc:docMk/>
            <pc:sldMk cId="4029458114" sldId="2147138210"/>
            <ac:spMk id="9" creationId="{92860932-76E1-E164-1A33-41CEDE602802}"/>
          </ac:spMkLst>
        </pc:spChg>
        <pc:picChg chg="add del mod">
          <ac:chgData name="Oehrli, Stefan" userId="3f36891e-f853-43e7-bcbc-2879a2513833" providerId="ADAL" clId="{262C7BF4-86F5-CD49-A8E8-3A77A5D2BB22}" dt="2024-06-17T05:38:12.904" v="451" actId="478"/>
          <ac:picMkLst>
            <pc:docMk/>
            <pc:sldMk cId="4029458114" sldId="2147138210"/>
            <ac:picMk id="3" creationId="{F9E8B32B-B8C3-59EF-245D-9176DA9519A5}"/>
          </ac:picMkLst>
        </pc:picChg>
        <pc:picChg chg="add mod">
          <ac:chgData name="Oehrli, Stefan" userId="3f36891e-f853-43e7-bcbc-2879a2513833" providerId="ADAL" clId="{262C7BF4-86F5-CD49-A8E8-3A77A5D2BB22}" dt="2024-06-17T05:37:49.019" v="443"/>
          <ac:picMkLst>
            <pc:docMk/>
            <pc:sldMk cId="4029458114" sldId="2147138210"/>
            <ac:picMk id="4" creationId="{F61775C2-3042-8D6C-4C2E-43BC06B55185}"/>
          </ac:picMkLst>
        </pc:picChg>
        <pc:picChg chg="del">
          <ac:chgData name="Oehrli, Stefan" userId="3f36891e-f853-43e7-bcbc-2879a2513833" providerId="ADAL" clId="{262C7BF4-86F5-CD49-A8E8-3A77A5D2BB22}" dt="2024-06-17T05:37:43.523" v="440" actId="21"/>
          <ac:picMkLst>
            <pc:docMk/>
            <pc:sldMk cId="4029458114" sldId="2147138210"/>
            <ac:picMk id="17" creationId="{4D5342C5-1B70-C8E2-457B-621F5981C0DF}"/>
          </ac:picMkLst>
        </pc:picChg>
        <pc:picChg chg="add del mod">
          <ac:chgData name="Oehrli, Stefan" userId="3f36891e-f853-43e7-bcbc-2879a2513833" providerId="ADAL" clId="{262C7BF4-86F5-CD49-A8E8-3A77A5D2BB22}" dt="2024-06-17T05:38:28.692" v="457" actId="1076"/>
          <ac:picMkLst>
            <pc:docMk/>
            <pc:sldMk cId="4029458114" sldId="2147138210"/>
            <ac:picMk id="19" creationId="{5B4FC075-4F81-DA69-730F-84B41EA31162}"/>
          </ac:picMkLst>
        </pc:picChg>
      </pc:sldChg>
      <pc:sldChg chg="addSp delSp modSp new mod">
        <pc:chgData name="Oehrli, Stefan" userId="3f36891e-f853-43e7-bcbc-2879a2513833" providerId="ADAL" clId="{262C7BF4-86F5-CD49-A8E8-3A77A5D2BB22}" dt="2024-06-17T08:38:48.324" v="1138" actId="5793"/>
        <pc:sldMkLst>
          <pc:docMk/>
          <pc:sldMk cId="3920533897" sldId="2147138211"/>
        </pc:sldMkLst>
        <pc:spChg chg="mod">
          <ac:chgData name="Oehrli, Stefan" userId="3f36891e-f853-43e7-bcbc-2879a2513833" providerId="ADAL" clId="{262C7BF4-86F5-CD49-A8E8-3A77A5D2BB22}" dt="2024-06-17T08:37:53.834" v="1132" actId="20577"/>
          <ac:spMkLst>
            <pc:docMk/>
            <pc:sldMk cId="3920533897" sldId="2147138211"/>
            <ac:spMk id="2" creationId="{A36F5AD9-10D8-BC44-0FF3-C76E7E9A87E4}"/>
          </ac:spMkLst>
        </pc:spChg>
        <pc:spChg chg="del">
          <ac:chgData name="Oehrli, Stefan" userId="3f36891e-f853-43e7-bcbc-2879a2513833" providerId="ADAL" clId="{262C7BF4-86F5-CD49-A8E8-3A77A5D2BB22}" dt="2024-06-17T08:31:09.643" v="1062"/>
          <ac:spMkLst>
            <pc:docMk/>
            <pc:sldMk cId="3920533897" sldId="2147138211"/>
            <ac:spMk id="3" creationId="{2EC3D5E1-11BA-BE0B-E92C-628BB47C797F}"/>
          </ac:spMkLst>
        </pc:spChg>
        <pc:spChg chg="del">
          <ac:chgData name="Oehrli, Stefan" userId="3f36891e-f853-43e7-bcbc-2879a2513833" providerId="ADAL" clId="{262C7BF4-86F5-CD49-A8E8-3A77A5D2BB22}" dt="2024-06-17T08:28:48.829" v="1054"/>
          <ac:spMkLst>
            <pc:docMk/>
            <pc:sldMk cId="3920533897" sldId="2147138211"/>
            <ac:spMk id="4" creationId="{9A125643-D374-222A-DF23-8483B60A0C3D}"/>
          </ac:spMkLst>
        </pc:spChg>
        <pc:spChg chg="mod">
          <ac:chgData name="Oehrli, Stefan" userId="3f36891e-f853-43e7-bcbc-2879a2513833" providerId="ADAL" clId="{262C7BF4-86F5-CD49-A8E8-3A77A5D2BB22}" dt="2024-06-17T08:38:48.324" v="1138" actId="5793"/>
          <ac:spMkLst>
            <pc:docMk/>
            <pc:sldMk cId="3920533897" sldId="2147138211"/>
            <ac:spMk id="6" creationId="{4313CE09-F1B2-655C-F772-CB52A35357C2}"/>
          </ac:spMkLst>
        </pc:spChg>
        <pc:spChg chg="add del mod">
          <ac:chgData name="Oehrli, Stefan" userId="3f36891e-f853-43e7-bcbc-2879a2513833" providerId="ADAL" clId="{262C7BF4-86F5-CD49-A8E8-3A77A5D2BB22}" dt="2024-06-17T08:28:50.528" v="1055"/>
          <ac:spMkLst>
            <pc:docMk/>
            <pc:sldMk cId="3920533897" sldId="2147138211"/>
            <ac:spMk id="8" creationId="{08A0D8CF-C178-2374-33B2-6C31F91E42A7}"/>
          </ac:spMkLst>
        </pc:spChg>
        <pc:spChg chg="add del mod">
          <ac:chgData name="Oehrli, Stefan" userId="3f36891e-f853-43e7-bcbc-2879a2513833" providerId="ADAL" clId="{262C7BF4-86F5-CD49-A8E8-3A77A5D2BB22}" dt="2024-06-17T08:28:55.354" v="1056"/>
          <ac:spMkLst>
            <pc:docMk/>
            <pc:sldMk cId="3920533897" sldId="2147138211"/>
            <ac:spMk id="9" creationId="{6FF15F16-0220-3610-06D6-84401626E5E1}"/>
          </ac:spMkLst>
        </pc:spChg>
        <pc:spChg chg="add del mod">
          <ac:chgData name="Oehrli, Stefan" userId="3f36891e-f853-43e7-bcbc-2879a2513833" providerId="ADAL" clId="{262C7BF4-86F5-CD49-A8E8-3A77A5D2BB22}" dt="2024-06-17T08:28:58.998" v="1057"/>
          <ac:spMkLst>
            <pc:docMk/>
            <pc:sldMk cId="3920533897" sldId="2147138211"/>
            <ac:spMk id="10" creationId="{1C2D6D46-786C-333F-7E9C-66979B44BD7B}"/>
          </ac:spMkLst>
        </pc:spChg>
        <pc:spChg chg="add del mod">
          <ac:chgData name="Oehrli, Stefan" userId="3f36891e-f853-43e7-bcbc-2879a2513833" providerId="ADAL" clId="{262C7BF4-86F5-CD49-A8E8-3A77A5D2BB22}" dt="2024-06-17T08:29:06.772" v="1058"/>
          <ac:spMkLst>
            <pc:docMk/>
            <pc:sldMk cId="3920533897" sldId="2147138211"/>
            <ac:spMk id="11" creationId="{63DF92E3-5B75-D14E-63DE-BA3D8590EF2B}"/>
          </ac:spMkLst>
        </pc:spChg>
        <pc:spChg chg="add mod">
          <ac:chgData name="Oehrli, Stefan" userId="3f36891e-f853-43e7-bcbc-2879a2513833" providerId="ADAL" clId="{262C7BF4-86F5-CD49-A8E8-3A77A5D2BB22}" dt="2024-06-17T08:37:22.903" v="1108" actId="20577"/>
          <ac:spMkLst>
            <pc:docMk/>
            <pc:sldMk cId="3920533897" sldId="2147138211"/>
            <ac:spMk id="12" creationId="{01B9A350-814E-0973-F16B-3A8DF81B4DE4}"/>
          </ac:spMkLst>
        </pc:spChg>
        <pc:picChg chg="add mod">
          <ac:chgData name="Oehrli, Stefan" userId="3f36891e-f853-43e7-bcbc-2879a2513833" providerId="ADAL" clId="{262C7BF4-86F5-CD49-A8E8-3A77A5D2BB22}" dt="2024-06-17T08:37:25.787" v="1109" actId="1076"/>
          <ac:picMkLst>
            <pc:docMk/>
            <pc:sldMk cId="3920533897" sldId="2147138211"/>
            <ac:picMk id="13" creationId="{58208DD4-ACF0-E2C7-9FA4-F963D564462D}"/>
          </ac:picMkLst>
        </pc:picChg>
        <pc:picChg chg="add mod modCrop">
          <ac:chgData name="Oehrli, Stefan" userId="3f36891e-f853-43e7-bcbc-2879a2513833" providerId="ADAL" clId="{262C7BF4-86F5-CD49-A8E8-3A77A5D2BB22}" dt="2024-06-17T08:31:46.610" v="1066" actId="1440"/>
          <ac:picMkLst>
            <pc:docMk/>
            <pc:sldMk cId="3920533897" sldId="2147138211"/>
            <ac:picMk id="14" creationId="{E98588BF-7691-5094-7590-A1BFE2589CEF}"/>
          </ac:picMkLst>
        </pc:picChg>
      </pc:sldChg>
      <pc:sldChg chg="add">
        <pc:chgData name="Oehrli, Stefan" userId="3f36891e-f853-43e7-bcbc-2879a2513833" providerId="ADAL" clId="{262C7BF4-86F5-CD49-A8E8-3A77A5D2BB22}" dt="2024-06-17T08:46:08.456" v="1143" actId="2890"/>
        <pc:sldMkLst>
          <pc:docMk/>
          <pc:sldMk cId="704376869" sldId="2147138212"/>
        </pc:sldMkLst>
      </pc:sldChg>
      <pc:sldChg chg="addSp modSp new mod">
        <pc:chgData name="Oehrli, Stefan" userId="3f36891e-f853-43e7-bcbc-2879a2513833" providerId="ADAL" clId="{262C7BF4-86F5-CD49-A8E8-3A77A5D2BB22}" dt="2024-06-17T09:32:13.922" v="2044" actId="1076"/>
        <pc:sldMkLst>
          <pc:docMk/>
          <pc:sldMk cId="955525368" sldId="2147138213"/>
        </pc:sldMkLst>
        <pc:spChg chg="mod">
          <ac:chgData name="Oehrli, Stefan" userId="3f36891e-f853-43e7-bcbc-2879a2513833" providerId="ADAL" clId="{262C7BF4-86F5-CD49-A8E8-3A77A5D2BB22}" dt="2024-06-17T09:03:21.712" v="1221"/>
          <ac:spMkLst>
            <pc:docMk/>
            <pc:sldMk cId="955525368" sldId="2147138213"/>
            <ac:spMk id="2" creationId="{07AB36A7-7A95-15C7-65CD-1E7A3D85D409}"/>
          </ac:spMkLst>
        </pc:spChg>
        <pc:spChg chg="mod">
          <ac:chgData name="Oehrli, Stefan" userId="3f36891e-f853-43e7-bcbc-2879a2513833" providerId="ADAL" clId="{262C7BF4-86F5-CD49-A8E8-3A77A5D2BB22}" dt="2024-06-17T09:10:28.350" v="1634"/>
          <ac:spMkLst>
            <pc:docMk/>
            <pc:sldMk cId="955525368" sldId="2147138213"/>
            <ac:spMk id="3" creationId="{31CB8383-7FEF-020F-CAF5-1C9E96472BB1}"/>
          </ac:spMkLst>
        </pc:spChg>
        <pc:spChg chg="mod">
          <ac:chgData name="Oehrli, Stefan" userId="3f36891e-f853-43e7-bcbc-2879a2513833" providerId="ADAL" clId="{262C7BF4-86F5-CD49-A8E8-3A77A5D2BB22}" dt="2024-06-17T09:03:17.001" v="1220" actId="20577"/>
          <ac:spMkLst>
            <pc:docMk/>
            <pc:sldMk cId="955525368" sldId="2147138213"/>
            <ac:spMk id="4" creationId="{36F27975-E574-DB7C-06BB-EA51F0CBF044}"/>
          </ac:spMkLst>
        </pc:spChg>
        <pc:picChg chg="add mod">
          <ac:chgData name="Oehrli, Stefan" userId="3f36891e-f853-43e7-bcbc-2879a2513833" providerId="ADAL" clId="{262C7BF4-86F5-CD49-A8E8-3A77A5D2BB22}" dt="2024-06-17T09:32:13.922" v="2044" actId="1076"/>
          <ac:picMkLst>
            <pc:docMk/>
            <pc:sldMk cId="955525368" sldId="2147138213"/>
            <ac:picMk id="7" creationId="{098AC65C-050B-C6CA-C1B3-298E87490168}"/>
          </ac:picMkLst>
        </pc:picChg>
      </pc:sldChg>
      <pc:sldChg chg="addSp delSp modSp new mod">
        <pc:chgData name="Oehrli, Stefan" userId="3f36891e-f853-43e7-bcbc-2879a2513833" providerId="ADAL" clId="{262C7BF4-86F5-CD49-A8E8-3A77A5D2BB22}" dt="2024-06-17T12:52:36.079" v="3284" actId="1076"/>
        <pc:sldMkLst>
          <pc:docMk/>
          <pc:sldMk cId="989959712" sldId="2147138214"/>
        </pc:sldMkLst>
        <pc:spChg chg="mod">
          <ac:chgData name="Oehrli, Stefan" userId="3f36891e-f853-43e7-bcbc-2879a2513833" providerId="ADAL" clId="{262C7BF4-86F5-CD49-A8E8-3A77A5D2BB22}" dt="2024-06-17T12:51:58.097" v="3280"/>
          <ac:spMkLst>
            <pc:docMk/>
            <pc:sldMk cId="989959712" sldId="2147138214"/>
            <ac:spMk id="2" creationId="{E3160FDC-6D48-1CEA-85F0-1C59A78A1F9A}"/>
          </ac:spMkLst>
        </pc:spChg>
        <pc:spChg chg="del mod">
          <ac:chgData name="Oehrli, Stefan" userId="3f36891e-f853-43e7-bcbc-2879a2513833" providerId="ADAL" clId="{262C7BF4-86F5-CD49-A8E8-3A77A5D2BB22}" dt="2024-06-17T12:52:27.109" v="3281"/>
          <ac:spMkLst>
            <pc:docMk/>
            <pc:sldMk cId="989959712" sldId="2147138214"/>
            <ac:spMk id="3" creationId="{F26004C9-9BB0-5724-A061-1EB3455EBFA4}"/>
          </ac:spMkLst>
        </pc:spChg>
        <pc:spChg chg="mod">
          <ac:chgData name="Oehrli, Stefan" userId="3f36891e-f853-43e7-bcbc-2879a2513833" providerId="ADAL" clId="{262C7BF4-86F5-CD49-A8E8-3A77A5D2BB22}" dt="2024-06-17T12:45:43.607" v="3120"/>
          <ac:spMkLst>
            <pc:docMk/>
            <pc:sldMk cId="989959712" sldId="2147138214"/>
            <ac:spMk id="4" creationId="{7DD9C46A-4852-6BCE-BCFF-84059F489FEC}"/>
          </ac:spMkLst>
        </pc:spChg>
        <pc:picChg chg="add mod">
          <ac:chgData name="Oehrli, Stefan" userId="3f36891e-f853-43e7-bcbc-2879a2513833" providerId="ADAL" clId="{262C7BF4-86F5-CD49-A8E8-3A77A5D2BB22}" dt="2024-06-17T12:52:36.079" v="3284" actId="1076"/>
          <ac:picMkLst>
            <pc:docMk/>
            <pc:sldMk cId="989959712" sldId="2147138214"/>
            <ac:picMk id="7" creationId="{32BAA13B-6563-21BD-8630-D2E30E46A310}"/>
          </ac:picMkLst>
        </pc:picChg>
      </pc:sldChg>
      <pc:sldChg chg="addSp delSp modSp new mod">
        <pc:chgData name="Oehrli, Stefan" userId="3f36891e-f853-43e7-bcbc-2879a2513833" providerId="ADAL" clId="{262C7BF4-86F5-CD49-A8E8-3A77A5D2BB22}" dt="2024-06-17T11:13:13.184" v="2266" actId="207"/>
        <pc:sldMkLst>
          <pc:docMk/>
          <pc:sldMk cId="2385701130" sldId="2147138215"/>
        </pc:sldMkLst>
        <pc:spChg chg="mod">
          <ac:chgData name="Oehrli, Stefan" userId="3f36891e-f853-43e7-bcbc-2879a2513833" providerId="ADAL" clId="{262C7BF4-86F5-CD49-A8E8-3A77A5D2BB22}" dt="2024-06-17T11:09:24.443" v="2070" actId="20577"/>
          <ac:spMkLst>
            <pc:docMk/>
            <pc:sldMk cId="2385701130" sldId="2147138215"/>
            <ac:spMk id="2" creationId="{5DC0F130-8AAF-DC78-C713-B9BAB6417BF2}"/>
          </ac:spMkLst>
        </pc:spChg>
        <pc:spChg chg="del mod">
          <ac:chgData name="Oehrli, Stefan" userId="3f36891e-f853-43e7-bcbc-2879a2513833" providerId="ADAL" clId="{262C7BF4-86F5-CD49-A8E8-3A77A5D2BB22}" dt="2024-06-17T11:09:14.351" v="2049"/>
          <ac:spMkLst>
            <pc:docMk/>
            <pc:sldMk cId="2385701130" sldId="2147138215"/>
            <ac:spMk id="3" creationId="{8533CDFF-AFC1-CEC9-D223-24668C83B559}"/>
          </ac:spMkLst>
        </pc:spChg>
        <pc:spChg chg="mod">
          <ac:chgData name="Oehrli, Stefan" userId="3f36891e-f853-43e7-bcbc-2879a2513833" providerId="ADAL" clId="{262C7BF4-86F5-CD49-A8E8-3A77A5D2BB22}" dt="2024-06-17T11:09:31.522" v="2091" actId="20577"/>
          <ac:spMkLst>
            <pc:docMk/>
            <pc:sldMk cId="2385701130" sldId="2147138215"/>
            <ac:spMk id="4" creationId="{26B7EB10-E642-50CC-8D8D-81C41478FF4D}"/>
          </ac:spMkLst>
        </pc:spChg>
        <pc:spChg chg="add mod">
          <ac:chgData name="Oehrli, Stefan" userId="3f36891e-f853-43e7-bcbc-2879a2513833" providerId="ADAL" clId="{262C7BF4-86F5-CD49-A8E8-3A77A5D2BB22}" dt="2024-06-17T11:13:13.184" v="2266" actId="207"/>
          <ac:spMkLst>
            <pc:docMk/>
            <pc:sldMk cId="2385701130" sldId="2147138215"/>
            <ac:spMk id="9" creationId="{37A517CF-DDE9-A547-AA82-5991161720F5}"/>
          </ac:spMkLst>
        </pc:spChg>
        <pc:picChg chg="add mod">
          <ac:chgData name="Oehrli, Stefan" userId="3f36891e-f853-43e7-bcbc-2879a2513833" providerId="ADAL" clId="{262C7BF4-86F5-CD49-A8E8-3A77A5D2BB22}" dt="2024-06-17T11:09:39.033" v="2093" actId="1076"/>
          <ac:picMkLst>
            <pc:docMk/>
            <pc:sldMk cId="2385701130" sldId="2147138215"/>
            <ac:picMk id="8" creationId="{4A89EC64-66B9-2ECF-48CE-D260AD7B6EAF}"/>
          </ac:picMkLst>
        </pc:picChg>
      </pc:sldChg>
      <pc:sldChg chg="addSp delSp modSp new mod modAnim modNotes">
        <pc:chgData name="Oehrli, Stefan" userId="3f36891e-f853-43e7-bcbc-2879a2513833" providerId="ADAL" clId="{262C7BF4-86F5-CD49-A8E8-3A77A5D2BB22}" dt="2024-06-17T11:18:39.846" v="2285" actId="1440"/>
        <pc:sldMkLst>
          <pc:docMk/>
          <pc:sldMk cId="614591922" sldId="2147138216"/>
        </pc:sldMkLst>
        <pc:spChg chg="mod">
          <ac:chgData name="Oehrli, Stefan" userId="3f36891e-f853-43e7-bcbc-2879a2513833" providerId="ADAL" clId="{262C7BF4-86F5-CD49-A8E8-3A77A5D2BB22}" dt="2024-06-17T11:10:37.652" v="2167" actId="20577"/>
          <ac:spMkLst>
            <pc:docMk/>
            <pc:sldMk cId="614591922" sldId="2147138216"/>
            <ac:spMk id="2" creationId="{889A773F-95DB-4C85-2502-1322F9700704}"/>
          </ac:spMkLst>
        </pc:spChg>
        <pc:spChg chg="del">
          <ac:chgData name="Oehrli, Stefan" userId="3f36891e-f853-43e7-bcbc-2879a2513833" providerId="ADAL" clId="{262C7BF4-86F5-CD49-A8E8-3A77A5D2BB22}" dt="2024-06-17T11:12:43.076" v="2238"/>
          <ac:spMkLst>
            <pc:docMk/>
            <pc:sldMk cId="614591922" sldId="2147138216"/>
            <ac:spMk id="3" creationId="{B6860DA1-9BE8-A6A8-A30B-A517C61621F3}"/>
          </ac:spMkLst>
        </pc:spChg>
        <pc:spChg chg="mod">
          <ac:chgData name="Oehrli, Stefan" userId="3f36891e-f853-43e7-bcbc-2879a2513833" providerId="ADAL" clId="{262C7BF4-86F5-CD49-A8E8-3A77A5D2BB22}" dt="2024-06-17T11:12:07.818" v="2237" actId="20577"/>
          <ac:spMkLst>
            <pc:docMk/>
            <pc:sldMk cId="614591922" sldId="2147138216"/>
            <ac:spMk id="4" creationId="{16FB163C-F6DB-24DF-39A5-079283F7AA9A}"/>
          </ac:spMkLst>
        </pc:spChg>
        <pc:spChg chg="add mod">
          <ac:chgData name="Oehrli, Stefan" userId="3f36891e-f853-43e7-bcbc-2879a2513833" providerId="ADAL" clId="{262C7BF4-86F5-CD49-A8E8-3A77A5D2BB22}" dt="2024-06-17T11:13:18.878" v="2267" actId="207"/>
          <ac:spMkLst>
            <pc:docMk/>
            <pc:sldMk cId="614591922" sldId="2147138216"/>
            <ac:spMk id="8" creationId="{3616FDED-C5D5-5E90-A39F-61D1FF7AC822}"/>
          </ac:spMkLst>
        </pc:spChg>
        <pc:picChg chg="add mod">
          <ac:chgData name="Oehrli, Stefan" userId="3f36891e-f853-43e7-bcbc-2879a2513833" providerId="ADAL" clId="{262C7BF4-86F5-CD49-A8E8-3A77A5D2BB22}" dt="2024-06-17T11:12:44.894" v="2239" actId="14100"/>
          <ac:picMkLst>
            <pc:docMk/>
            <pc:sldMk cId="614591922" sldId="2147138216"/>
            <ac:picMk id="7" creationId="{7E43F65D-7C60-79FC-D4D1-3FE5E4B80B0F}"/>
          </ac:picMkLst>
        </pc:picChg>
        <pc:picChg chg="add mod">
          <ac:chgData name="Oehrli, Stefan" userId="3f36891e-f853-43e7-bcbc-2879a2513833" providerId="ADAL" clId="{262C7BF4-86F5-CD49-A8E8-3A77A5D2BB22}" dt="2024-06-17T11:18:39.846" v="2285" actId="1440"/>
          <ac:picMkLst>
            <pc:docMk/>
            <pc:sldMk cId="614591922" sldId="2147138216"/>
            <ac:picMk id="9" creationId="{C29B9BE4-B161-C43B-DE7E-84E010F998DD}"/>
          </ac:picMkLst>
        </pc:picChg>
      </pc:sldChg>
      <pc:sldChg chg="addSp delSp modSp add mod">
        <pc:chgData name="Oehrli, Stefan" userId="3f36891e-f853-43e7-bcbc-2879a2513833" providerId="ADAL" clId="{262C7BF4-86F5-CD49-A8E8-3A77A5D2BB22}" dt="2024-06-17T11:18:52.889" v="2295" actId="20577"/>
        <pc:sldMkLst>
          <pc:docMk/>
          <pc:sldMk cId="2773844335" sldId="2147138217"/>
        </pc:sldMkLst>
        <pc:spChg chg="mod">
          <ac:chgData name="Oehrli, Stefan" userId="3f36891e-f853-43e7-bcbc-2879a2513833" providerId="ADAL" clId="{262C7BF4-86F5-CD49-A8E8-3A77A5D2BB22}" dt="2024-06-17T11:18:52.889" v="2295" actId="20577"/>
          <ac:spMkLst>
            <pc:docMk/>
            <pc:sldMk cId="2773844335" sldId="2147138217"/>
            <ac:spMk id="2" creationId="{889A773F-95DB-4C85-2502-1322F9700704}"/>
          </ac:spMkLst>
        </pc:spChg>
        <pc:spChg chg="del">
          <ac:chgData name="Oehrli, Stefan" userId="3f36891e-f853-43e7-bcbc-2879a2513833" providerId="ADAL" clId="{262C7BF4-86F5-CD49-A8E8-3A77A5D2BB22}" dt="2024-06-17T11:13:39.916" v="2273" actId="478"/>
          <ac:spMkLst>
            <pc:docMk/>
            <pc:sldMk cId="2773844335" sldId="2147138217"/>
            <ac:spMk id="8" creationId="{3616FDED-C5D5-5E90-A39F-61D1FF7AC822}"/>
          </ac:spMkLst>
        </pc:spChg>
        <pc:spChg chg="add del mod">
          <ac:chgData name="Oehrli, Stefan" userId="3f36891e-f853-43e7-bcbc-2879a2513833" providerId="ADAL" clId="{262C7BF4-86F5-CD49-A8E8-3A77A5D2BB22}" dt="2024-06-17T11:13:38.466" v="2272" actId="478"/>
          <ac:spMkLst>
            <pc:docMk/>
            <pc:sldMk cId="2773844335" sldId="2147138217"/>
            <ac:spMk id="9" creationId="{8AB5AFB2-396C-8A33-5A3A-90564CE7E783}"/>
          </ac:spMkLst>
        </pc:spChg>
        <pc:spChg chg="add del mod">
          <ac:chgData name="Oehrli, Stefan" userId="3f36891e-f853-43e7-bcbc-2879a2513833" providerId="ADAL" clId="{262C7BF4-86F5-CD49-A8E8-3A77A5D2BB22}" dt="2024-06-17T11:18:31.655" v="2281"/>
          <ac:spMkLst>
            <pc:docMk/>
            <pc:sldMk cId="2773844335" sldId="2147138217"/>
            <ac:spMk id="11" creationId="{8D115B9F-7399-608A-6196-BA0EE806AF1A}"/>
          </ac:spMkLst>
        </pc:spChg>
        <pc:picChg chg="add del">
          <ac:chgData name="Oehrli, Stefan" userId="3f36891e-f853-43e7-bcbc-2879a2513833" providerId="ADAL" clId="{262C7BF4-86F5-CD49-A8E8-3A77A5D2BB22}" dt="2024-06-17T11:13:41.113" v="2274" actId="478"/>
          <ac:picMkLst>
            <pc:docMk/>
            <pc:sldMk cId="2773844335" sldId="2147138217"/>
            <ac:picMk id="7" creationId="{7E43F65D-7C60-79FC-D4D1-3FE5E4B80B0F}"/>
          </ac:picMkLst>
        </pc:picChg>
        <pc:picChg chg="add mod">
          <ac:chgData name="Oehrli, Stefan" userId="3f36891e-f853-43e7-bcbc-2879a2513833" providerId="ADAL" clId="{262C7BF4-86F5-CD49-A8E8-3A77A5D2BB22}" dt="2024-06-17T11:18:27.029" v="2280"/>
          <ac:picMkLst>
            <pc:docMk/>
            <pc:sldMk cId="2773844335" sldId="2147138217"/>
            <ac:picMk id="12" creationId="{82EFB2FD-AF74-CFC2-1F37-F8701E1E6B11}"/>
          </ac:picMkLst>
        </pc:picChg>
        <pc:picChg chg="add mod">
          <ac:chgData name="Oehrli, Stefan" userId="3f36891e-f853-43e7-bcbc-2879a2513833" providerId="ADAL" clId="{262C7BF4-86F5-CD49-A8E8-3A77A5D2BB22}" dt="2024-06-17T11:18:35.544" v="2284" actId="962"/>
          <ac:picMkLst>
            <pc:docMk/>
            <pc:sldMk cId="2773844335" sldId="2147138217"/>
            <ac:picMk id="14" creationId="{F871682A-7FE1-80F6-A79B-26741EFC4265}"/>
          </ac:picMkLst>
        </pc:picChg>
      </pc:sldChg>
      <pc:sldChg chg="addSp delSp modSp new mod">
        <pc:chgData name="Oehrli, Stefan" userId="3f36891e-f853-43e7-bcbc-2879a2513833" providerId="ADAL" clId="{262C7BF4-86F5-CD49-A8E8-3A77A5D2BB22}" dt="2024-06-17T11:20:32.322" v="2366" actId="207"/>
        <pc:sldMkLst>
          <pc:docMk/>
          <pc:sldMk cId="2620656052" sldId="2147138218"/>
        </pc:sldMkLst>
        <pc:spChg chg="mod">
          <ac:chgData name="Oehrli, Stefan" userId="3f36891e-f853-43e7-bcbc-2879a2513833" providerId="ADAL" clId="{262C7BF4-86F5-CD49-A8E8-3A77A5D2BB22}" dt="2024-06-17T11:20:08.470" v="2324" actId="20577"/>
          <ac:spMkLst>
            <pc:docMk/>
            <pc:sldMk cId="2620656052" sldId="2147138218"/>
            <ac:spMk id="2" creationId="{51476560-D8B3-981F-30EF-89F7A2C5AD54}"/>
          </ac:spMkLst>
        </pc:spChg>
        <pc:spChg chg="del">
          <ac:chgData name="Oehrli, Stefan" userId="3f36891e-f853-43e7-bcbc-2879a2513833" providerId="ADAL" clId="{262C7BF4-86F5-CD49-A8E8-3A77A5D2BB22}" dt="2024-06-17T11:19:56.381" v="2297"/>
          <ac:spMkLst>
            <pc:docMk/>
            <pc:sldMk cId="2620656052" sldId="2147138218"/>
            <ac:spMk id="3" creationId="{19744DA5-92FC-2DBA-98F2-A9196590D09B}"/>
          </ac:spMkLst>
        </pc:spChg>
        <pc:spChg chg="mod">
          <ac:chgData name="Oehrli, Stefan" userId="3f36891e-f853-43e7-bcbc-2879a2513833" providerId="ADAL" clId="{262C7BF4-86F5-CD49-A8E8-3A77A5D2BB22}" dt="2024-06-17T11:20:19.354" v="2364" actId="20577"/>
          <ac:spMkLst>
            <pc:docMk/>
            <pc:sldMk cId="2620656052" sldId="2147138218"/>
            <ac:spMk id="4" creationId="{0F06EBF3-7142-8023-A938-E8D6522C0D0E}"/>
          </ac:spMkLst>
        </pc:spChg>
        <pc:spChg chg="add mod">
          <ac:chgData name="Oehrli, Stefan" userId="3f36891e-f853-43e7-bcbc-2879a2513833" providerId="ADAL" clId="{262C7BF4-86F5-CD49-A8E8-3A77A5D2BB22}" dt="2024-06-17T11:20:32.322" v="2366" actId="207"/>
          <ac:spMkLst>
            <pc:docMk/>
            <pc:sldMk cId="2620656052" sldId="2147138218"/>
            <ac:spMk id="8" creationId="{9E02FEB1-313A-4E05-669F-74118FB0464C}"/>
          </ac:spMkLst>
        </pc:spChg>
        <pc:picChg chg="add mod">
          <ac:chgData name="Oehrli, Stefan" userId="3f36891e-f853-43e7-bcbc-2879a2513833" providerId="ADAL" clId="{262C7BF4-86F5-CD49-A8E8-3A77A5D2BB22}" dt="2024-06-17T11:20:00.962" v="2298" actId="1440"/>
          <ac:picMkLst>
            <pc:docMk/>
            <pc:sldMk cId="2620656052" sldId="2147138218"/>
            <ac:picMk id="7" creationId="{1FF70D3C-9B0D-D40D-589B-12CD029A02EB}"/>
          </ac:picMkLst>
        </pc:picChg>
      </pc:sldChg>
      <pc:sldChg chg="addSp delSp modSp new mod">
        <pc:chgData name="Oehrli, Stefan" userId="3f36891e-f853-43e7-bcbc-2879a2513833" providerId="ADAL" clId="{262C7BF4-86F5-CD49-A8E8-3A77A5D2BB22}" dt="2024-06-17T11:33:32.179" v="2427" actId="20577"/>
        <pc:sldMkLst>
          <pc:docMk/>
          <pc:sldMk cId="1976441411" sldId="2147138219"/>
        </pc:sldMkLst>
        <pc:spChg chg="mod">
          <ac:chgData name="Oehrli, Stefan" userId="3f36891e-f853-43e7-bcbc-2879a2513833" providerId="ADAL" clId="{262C7BF4-86F5-CD49-A8E8-3A77A5D2BB22}" dt="2024-06-17T11:33:24.672" v="2401" actId="20577"/>
          <ac:spMkLst>
            <pc:docMk/>
            <pc:sldMk cId="1976441411" sldId="2147138219"/>
            <ac:spMk id="2" creationId="{002AFA19-48B5-50F0-5A97-7BFC519E3684}"/>
          </ac:spMkLst>
        </pc:spChg>
        <pc:spChg chg="del mod">
          <ac:chgData name="Oehrli, Stefan" userId="3f36891e-f853-43e7-bcbc-2879a2513833" providerId="ADAL" clId="{262C7BF4-86F5-CD49-A8E8-3A77A5D2BB22}" dt="2024-06-17T11:33:08.533" v="2370"/>
          <ac:spMkLst>
            <pc:docMk/>
            <pc:sldMk cId="1976441411" sldId="2147138219"/>
            <ac:spMk id="3" creationId="{37F629EC-B20B-1F60-9D08-A632540BF578}"/>
          </ac:spMkLst>
        </pc:spChg>
        <pc:spChg chg="mod">
          <ac:chgData name="Oehrli, Stefan" userId="3f36891e-f853-43e7-bcbc-2879a2513833" providerId="ADAL" clId="{262C7BF4-86F5-CD49-A8E8-3A77A5D2BB22}" dt="2024-06-17T11:33:32.179" v="2427" actId="20577"/>
          <ac:spMkLst>
            <pc:docMk/>
            <pc:sldMk cId="1976441411" sldId="2147138219"/>
            <ac:spMk id="4" creationId="{25A44455-AE52-1113-52F9-496DB3BE4B08}"/>
          </ac:spMkLst>
        </pc:spChg>
        <pc:picChg chg="add mod">
          <ac:chgData name="Oehrli, Stefan" userId="3f36891e-f853-43e7-bcbc-2879a2513833" providerId="ADAL" clId="{262C7BF4-86F5-CD49-A8E8-3A77A5D2BB22}" dt="2024-06-17T11:33:14.366" v="2375" actId="1440"/>
          <ac:picMkLst>
            <pc:docMk/>
            <pc:sldMk cId="1976441411" sldId="2147138219"/>
            <ac:picMk id="8" creationId="{A86D0B7F-819E-5273-5058-043B215ACAB1}"/>
          </ac:picMkLst>
        </pc:picChg>
      </pc:sldChg>
      <pc:sldChg chg="addSp delSp modSp new mod modClrScheme chgLayout">
        <pc:chgData name="Oehrli, Stefan" userId="3f36891e-f853-43e7-bcbc-2879a2513833" providerId="ADAL" clId="{262C7BF4-86F5-CD49-A8E8-3A77A5D2BB22}" dt="2024-06-17T12:44:02.481" v="3024" actId="1076"/>
        <pc:sldMkLst>
          <pc:docMk/>
          <pc:sldMk cId="1314013640" sldId="2147138220"/>
        </pc:sldMkLst>
        <pc:spChg chg="del mod ord">
          <ac:chgData name="Oehrli, Stefan" userId="3f36891e-f853-43e7-bcbc-2879a2513833" providerId="ADAL" clId="{262C7BF4-86F5-CD49-A8E8-3A77A5D2BB22}" dt="2024-06-17T12:30:00.638" v="2782" actId="700"/>
          <ac:spMkLst>
            <pc:docMk/>
            <pc:sldMk cId="1314013640" sldId="2147138220"/>
            <ac:spMk id="2" creationId="{7B77B0E8-58DD-D2A1-5FCB-05FF7A9D01D5}"/>
          </ac:spMkLst>
        </pc:spChg>
        <pc:spChg chg="del mod ord">
          <ac:chgData name="Oehrli, Stefan" userId="3f36891e-f853-43e7-bcbc-2879a2513833" providerId="ADAL" clId="{262C7BF4-86F5-CD49-A8E8-3A77A5D2BB22}" dt="2024-06-17T12:30:00.638" v="2782" actId="700"/>
          <ac:spMkLst>
            <pc:docMk/>
            <pc:sldMk cId="1314013640" sldId="2147138220"/>
            <ac:spMk id="3" creationId="{8E13DF6F-3CF9-2563-97A4-211EF4DA6608}"/>
          </ac:spMkLst>
        </pc:spChg>
        <pc:spChg chg="del">
          <ac:chgData name="Oehrli, Stefan" userId="3f36891e-f853-43e7-bcbc-2879a2513833" providerId="ADAL" clId="{262C7BF4-86F5-CD49-A8E8-3A77A5D2BB22}" dt="2024-06-17T12:30:00.638" v="2782" actId="700"/>
          <ac:spMkLst>
            <pc:docMk/>
            <pc:sldMk cId="1314013640" sldId="2147138220"/>
            <ac:spMk id="4" creationId="{2FD41B9E-758B-CC47-6ADF-B0806A7D0ECB}"/>
          </ac:spMkLst>
        </pc:spChg>
        <pc:spChg chg="mod ord">
          <ac:chgData name="Oehrli, Stefan" userId="3f36891e-f853-43e7-bcbc-2879a2513833" providerId="ADAL" clId="{262C7BF4-86F5-CD49-A8E8-3A77A5D2BB22}" dt="2024-06-17T12:31:11.366" v="2783" actId="700"/>
          <ac:spMkLst>
            <pc:docMk/>
            <pc:sldMk cId="1314013640" sldId="2147138220"/>
            <ac:spMk id="5" creationId="{7A1F44DE-4BB6-D7ED-6E10-D33EB7A158BA}"/>
          </ac:spMkLst>
        </pc:spChg>
        <pc:spChg chg="del mod ord">
          <ac:chgData name="Oehrli, Stefan" userId="3f36891e-f853-43e7-bcbc-2879a2513833" providerId="ADAL" clId="{262C7BF4-86F5-CD49-A8E8-3A77A5D2BB22}" dt="2024-06-17T12:30:00.638" v="2782" actId="700"/>
          <ac:spMkLst>
            <pc:docMk/>
            <pc:sldMk cId="1314013640" sldId="2147138220"/>
            <ac:spMk id="6" creationId="{E19F2409-0E66-467A-731F-010D46DD3A35}"/>
          </ac:spMkLst>
        </pc:spChg>
        <pc:spChg chg="mod ord">
          <ac:chgData name="Oehrli, Stefan" userId="3f36891e-f853-43e7-bcbc-2879a2513833" providerId="ADAL" clId="{262C7BF4-86F5-CD49-A8E8-3A77A5D2BB22}" dt="2024-06-17T12:31:11.366" v="2783" actId="700"/>
          <ac:spMkLst>
            <pc:docMk/>
            <pc:sldMk cId="1314013640" sldId="2147138220"/>
            <ac:spMk id="7" creationId="{7F613F2D-1892-4F74-9077-1A20E2362420}"/>
          </ac:spMkLst>
        </pc:spChg>
        <pc:spChg chg="add del mod ord">
          <ac:chgData name="Oehrli, Stefan" userId="3f36891e-f853-43e7-bcbc-2879a2513833" providerId="ADAL" clId="{262C7BF4-86F5-CD49-A8E8-3A77A5D2BB22}" dt="2024-06-17T12:31:11.366" v="2783" actId="700"/>
          <ac:spMkLst>
            <pc:docMk/>
            <pc:sldMk cId="1314013640" sldId="2147138220"/>
            <ac:spMk id="8" creationId="{C181DE9D-79F5-DCC7-FB45-CCBD91A6168D}"/>
          </ac:spMkLst>
        </pc:spChg>
        <pc:spChg chg="add del mod ord">
          <ac:chgData name="Oehrli, Stefan" userId="3f36891e-f853-43e7-bcbc-2879a2513833" providerId="ADAL" clId="{262C7BF4-86F5-CD49-A8E8-3A77A5D2BB22}" dt="2024-06-17T12:31:11.366" v="2783" actId="700"/>
          <ac:spMkLst>
            <pc:docMk/>
            <pc:sldMk cId="1314013640" sldId="2147138220"/>
            <ac:spMk id="9" creationId="{1E45E771-195B-AE68-5FA7-907FEB0EE10B}"/>
          </ac:spMkLst>
        </pc:spChg>
        <pc:spChg chg="add del mod ord">
          <ac:chgData name="Oehrli, Stefan" userId="3f36891e-f853-43e7-bcbc-2879a2513833" providerId="ADAL" clId="{262C7BF4-86F5-CD49-A8E8-3A77A5D2BB22}" dt="2024-06-17T12:31:11.366" v="2783" actId="700"/>
          <ac:spMkLst>
            <pc:docMk/>
            <pc:sldMk cId="1314013640" sldId="2147138220"/>
            <ac:spMk id="10" creationId="{418BE84F-47A8-5BFB-0A94-CFB6724829EF}"/>
          </ac:spMkLst>
        </pc:spChg>
        <pc:spChg chg="add mod ord">
          <ac:chgData name="Oehrli, Stefan" userId="3f36891e-f853-43e7-bcbc-2879a2513833" providerId="ADAL" clId="{262C7BF4-86F5-CD49-A8E8-3A77A5D2BB22}" dt="2024-06-17T12:39:10.396" v="2814"/>
          <ac:spMkLst>
            <pc:docMk/>
            <pc:sldMk cId="1314013640" sldId="2147138220"/>
            <ac:spMk id="11" creationId="{6D0D4BEF-9776-A6AC-D9A6-67A600E284C7}"/>
          </ac:spMkLst>
        </pc:spChg>
        <pc:spChg chg="add mod ord">
          <ac:chgData name="Oehrli, Stefan" userId="3f36891e-f853-43e7-bcbc-2879a2513833" providerId="ADAL" clId="{262C7BF4-86F5-CD49-A8E8-3A77A5D2BB22}" dt="2024-06-17T12:43:57.363" v="3023" actId="113"/>
          <ac:spMkLst>
            <pc:docMk/>
            <pc:sldMk cId="1314013640" sldId="2147138220"/>
            <ac:spMk id="12" creationId="{82774E65-2DB0-C487-A97C-68657EC1EB43}"/>
          </ac:spMkLst>
        </pc:spChg>
        <pc:spChg chg="add mod ord">
          <ac:chgData name="Oehrli, Stefan" userId="3f36891e-f853-43e7-bcbc-2879a2513833" providerId="ADAL" clId="{262C7BF4-86F5-CD49-A8E8-3A77A5D2BB22}" dt="2024-06-17T12:39:18.368" v="2841" actId="20577"/>
          <ac:spMkLst>
            <pc:docMk/>
            <pc:sldMk cId="1314013640" sldId="2147138220"/>
            <ac:spMk id="13" creationId="{DE3C6942-B1F5-C514-8331-37B8D7A61B39}"/>
          </ac:spMkLst>
        </pc:spChg>
        <pc:spChg chg="add del mod ord">
          <ac:chgData name="Oehrli, Stefan" userId="3f36891e-f853-43e7-bcbc-2879a2513833" providerId="ADAL" clId="{262C7BF4-86F5-CD49-A8E8-3A77A5D2BB22}" dt="2024-06-17T12:31:13.235" v="2784"/>
          <ac:spMkLst>
            <pc:docMk/>
            <pc:sldMk cId="1314013640" sldId="2147138220"/>
            <ac:spMk id="14" creationId="{F03FF957-6C7E-A5AE-6A39-6D715392A3AC}"/>
          </ac:spMkLst>
        </pc:spChg>
        <pc:spChg chg="add del mod">
          <ac:chgData name="Oehrli, Stefan" userId="3f36891e-f853-43e7-bcbc-2879a2513833" providerId="ADAL" clId="{262C7BF4-86F5-CD49-A8E8-3A77A5D2BB22}" dt="2024-06-17T12:38:21.283" v="2786"/>
          <ac:spMkLst>
            <pc:docMk/>
            <pc:sldMk cId="1314013640" sldId="2147138220"/>
            <ac:spMk id="17" creationId="{98E6385E-9566-28D4-4FD5-AD4CCE1F33AE}"/>
          </ac:spMkLst>
        </pc:spChg>
        <pc:spChg chg="add del mod">
          <ac:chgData name="Oehrli, Stefan" userId="3f36891e-f853-43e7-bcbc-2879a2513833" providerId="ADAL" clId="{262C7BF4-86F5-CD49-A8E8-3A77A5D2BB22}" dt="2024-06-17T12:42:33.985" v="2993"/>
          <ac:spMkLst>
            <pc:docMk/>
            <pc:sldMk cId="1314013640" sldId="2147138220"/>
            <ac:spMk id="20" creationId="{1DFEBDD2-B822-A611-21A1-4CA534113EFE}"/>
          </ac:spMkLst>
        </pc:spChg>
        <pc:picChg chg="add del mod">
          <ac:chgData name="Oehrli, Stefan" userId="3f36891e-f853-43e7-bcbc-2879a2513833" providerId="ADAL" clId="{262C7BF4-86F5-CD49-A8E8-3A77A5D2BB22}" dt="2024-06-17T12:38:20.217" v="2785" actId="478"/>
          <ac:picMkLst>
            <pc:docMk/>
            <pc:sldMk cId="1314013640" sldId="2147138220"/>
            <ac:picMk id="15" creationId="{C8B3FDCB-8074-FC10-DAC5-A8BA7A2DD1FB}"/>
          </ac:picMkLst>
        </pc:picChg>
        <pc:picChg chg="add del mod">
          <ac:chgData name="Oehrli, Stefan" userId="3f36891e-f853-43e7-bcbc-2879a2513833" providerId="ADAL" clId="{262C7BF4-86F5-CD49-A8E8-3A77A5D2BB22}" dt="2024-06-17T12:42:19.038" v="2992" actId="478"/>
          <ac:picMkLst>
            <pc:docMk/>
            <pc:sldMk cId="1314013640" sldId="2147138220"/>
            <ac:picMk id="18" creationId="{49C84472-2E8B-63F4-1FBD-5A663DA8CD3A}"/>
          </ac:picMkLst>
        </pc:picChg>
        <pc:picChg chg="add mod">
          <ac:chgData name="Oehrli, Stefan" userId="3f36891e-f853-43e7-bcbc-2879a2513833" providerId="ADAL" clId="{262C7BF4-86F5-CD49-A8E8-3A77A5D2BB22}" dt="2024-06-17T12:44:02.481" v="3024" actId="1076"/>
          <ac:picMkLst>
            <pc:docMk/>
            <pc:sldMk cId="1314013640" sldId="2147138220"/>
            <ac:picMk id="21" creationId="{051DC85D-9DA7-E410-A008-FF710DEA97B2}"/>
          </ac:picMkLst>
        </pc:picChg>
      </pc:sldChg>
      <pc:sldChg chg="addSp delSp modSp add mod">
        <pc:chgData name="Oehrli, Stefan" userId="3f36891e-f853-43e7-bcbc-2879a2513833" providerId="ADAL" clId="{262C7BF4-86F5-CD49-A8E8-3A77A5D2BB22}" dt="2024-06-17T12:53:28.796" v="3292" actId="962"/>
        <pc:sldMkLst>
          <pc:docMk/>
          <pc:sldMk cId="795588102" sldId="2147138221"/>
        </pc:sldMkLst>
        <pc:spChg chg="add del mod">
          <ac:chgData name="Oehrli, Stefan" userId="3f36891e-f853-43e7-bcbc-2879a2513833" providerId="ADAL" clId="{262C7BF4-86F5-CD49-A8E8-3A77A5D2BB22}" dt="2024-06-17T12:53:21.719" v="3287"/>
          <ac:spMkLst>
            <pc:docMk/>
            <pc:sldMk cId="795588102" sldId="2147138221"/>
            <ac:spMk id="8" creationId="{788AF783-A1CF-FDEF-D120-45EDDB360160}"/>
          </ac:spMkLst>
        </pc:spChg>
        <pc:picChg chg="del">
          <ac:chgData name="Oehrli, Stefan" userId="3f36891e-f853-43e7-bcbc-2879a2513833" providerId="ADAL" clId="{262C7BF4-86F5-CD49-A8E8-3A77A5D2BB22}" dt="2024-06-17T12:52:41.433" v="3286" actId="478"/>
          <ac:picMkLst>
            <pc:docMk/>
            <pc:sldMk cId="795588102" sldId="2147138221"/>
            <ac:picMk id="7" creationId="{32BAA13B-6563-21BD-8630-D2E30E46A310}"/>
          </ac:picMkLst>
        </pc:picChg>
        <pc:picChg chg="add mod">
          <ac:chgData name="Oehrli, Stefan" userId="3f36891e-f853-43e7-bcbc-2879a2513833" providerId="ADAL" clId="{262C7BF4-86F5-CD49-A8E8-3A77A5D2BB22}" dt="2024-06-17T12:53:28.796" v="3292" actId="962"/>
          <ac:picMkLst>
            <pc:docMk/>
            <pc:sldMk cId="795588102" sldId="2147138221"/>
            <ac:picMk id="10" creationId="{35D3FE43-1BB0-7138-C967-164A64D7EFB9}"/>
          </ac:picMkLst>
        </pc:picChg>
      </pc:sldChg>
      <pc:sldChg chg="addSp delSp modSp add mod">
        <pc:chgData name="Oehrli, Stefan" userId="3f36891e-f853-43e7-bcbc-2879a2513833" providerId="ADAL" clId="{262C7BF4-86F5-CD49-A8E8-3A77A5D2BB22}" dt="2024-06-17T12:54:42.207" v="3305" actId="1076"/>
        <pc:sldMkLst>
          <pc:docMk/>
          <pc:sldMk cId="2145004029" sldId="2147138222"/>
        </pc:sldMkLst>
        <pc:spChg chg="add del mod">
          <ac:chgData name="Oehrli, Stefan" userId="3f36891e-f853-43e7-bcbc-2879a2513833" providerId="ADAL" clId="{262C7BF4-86F5-CD49-A8E8-3A77A5D2BB22}" dt="2024-06-17T12:54:31.761" v="3300"/>
          <ac:spMkLst>
            <pc:docMk/>
            <pc:sldMk cId="2145004029" sldId="2147138222"/>
            <ac:spMk id="7" creationId="{280D4057-5528-122B-F9FE-6396BC7D8FCD}"/>
          </ac:spMkLst>
        </pc:spChg>
        <pc:picChg chg="add mod">
          <ac:chgData name="Oehrli, Stefan" userId="3f36891e-f853-43e7-bcbc-2879a2513833" providerId="ADAL" clId="{262C7BF4-86F5-CD49-A8E8-3A77A5D2BB22}" dt="2024-06-17T12:54:08.620" v="3299"/>
          <ac:picMkLst>
            <pc:docMk/>
            <pc:sldMk cId="2145004029" sldId="2147138222"/>
            <ac:picMk id="9" creationId="{DA482E46-D128-A265-3EC5-90787365FB5C}"/>
          </ac:picMkLst>
        </pc:picChg>
        <pc:picChg chg="del">
          <ac:chgData name="Oehrli, Stefan" userId="3f36891e-f853-43e7-bcbc-2879a2513833" providerId="ADAL" clId="{262C7BF4-86F5-CD49-A8E8-3A77A5D2BB22}" dt="2024-06-17T12:53:38.863" v="3294" actId="478"/>
          <ac:picMkLst>
            <pc:docMk/>
            <pc:sldMk cId="2145004029" sldId="2147138222"/>
            <ac:picMk id="10" creationId="{35D3FE43-1BB0-7138-C967-164A64D7EFB9}"/>
          </ac:picMkLst>
        </pc:picChg>
        <pc:picChg chg="add mod">
          <ac:chgData name="Oehrli, Stefan" userId="3f36891e-f853-43e7-bcbc-2879a2513833" providerId="ADAL" clId="{262C7BF4-86F5-CD49-A8E8-3A77A5D2BB22}" dt="2024-06-17T12:54:42.207" v="3305" actId="1076"/>
          <ac:picMkLst>
            <pc:docMk/>
            <pc:sldMk cId="2145004029" sldId="2147138222"/>
            <ac:picMk id="12" creationId="{DF53B545-934E-FE18-47A6-F488A649B971}"/>
          </ac:picMkLst>
        </pc:picChg>
      </pc:sldChg>
    </pc:docChg>
  </pc:docChgLst>
  <pc:docChgLst>
    <pc:chgData name="Oehrli, Stefan" userId="3f36891e-f853-43e7-bcbc-2879a2513833" providerId="ADAL" clId="{8AF65D7D-52A3-694C-B004-91F835AC7E11}"/>
    <pc:docChg chg="delSld modSection">
      <pc:chgData name="Oehrli, Stefan" userId="3f36891e-f853-43e7-bcbc-2879a2513833" providerId="ADAL" clId="{8AF65D7D-52A3-694C-B004-91F835AC7E11}" dt="2023-08-23T09:07:38.902" v="44" actId="2696"/>
      <pc:docMkLst>
        <pc:docMk/>
      </pc:docMkLst>
      <pc:sldChg chg="del">
        <pc:chgData name="Oehrli, Stefan" userId="3f36891e-f853-43e7-bcbc-2879a2513833" providerId="ADAL" clId="{8AF65D7D-52A3-694C-B004-91F835AC7E11}" dt="2023-08-23T09:07:38.856" v="29" actId="2696"/>
        <pc:sldMkLst>
          <pc:docMk/>
          <pc:sldMk cId="3637957850" sldId="462"/>
        </pc:sldMkLst>
      </pc:sldChg>
      <pc:sldChg chg="del">
        <pc:chgData name="Oehrli, Stefan" userId="3f36891e-f853-43e7-bcbc-2879a2513833" providerId="ADAL" clId="{8AF65D7D-52A3-694C-B004-91F835AC7E11}" dt="2023-08-23T09:07:38.832" v="26" actId="2696"/>
        <pc:sldMkLst>
          <pc:docMk/>
          <pc:sldMk cId="472890992" sldId="463"/>
        </pc:sldMkLst>
      </pc:sldChg>
      <pc:sldChg chg="del">
        <pc:chgData name="Oehrli, Stefan" userId="3f36891e-f853-43e7-bcbc-2879a2513833" providerId="ADAL" clId="{8AF65D7D-52A3-694C-B004-91F835AC7E11}" dt="2023-08-23T09:07:38.822" v="16" actId="2696"/>
        <pc:sldMkLst>
          <pc:docMk/>
          <pc:sldMk cId="1625272212" sldId="464"/>
        </pc:sldMkLst>
      </pc:sldChg>
      <pc:sldChg chg="del">
        <pc:chgData name="Oehrli, Stefan" userId="3f36891e-f853-43e7-bcbc-2879a2513833" providerId="ADAL" clId="{8AF65D7D-52A3-694C-B004-91F835AC7E11}" dt="2023-08-23T09:07:38.864" v="40" actId="2696"/>
        <pc:sldMkLst>
          <pc:docMk/>
          <pc:sldMk cId="3850440555" sldId="465"/>
        </pc:sldMkLst>
      </pc:sldChg>
      <pc:sldChg chg="del">
        <pc:chgData name="Oehrli, Stefan" userId="3f36891e-f853-43e7-bcbc-2879a2513833" providerId="ADAL" clId="{8AF65D7D-52A3-694C-B004-91F835AC7E11}" dt="2023-08-23T09:07:38.821" v="15" actId="2696"/>
        <pc:sldMkLst>
          <pc:docMk/>
          <pc:sldMk cId="936731009" sldId="466"/>
        </pc:sldMkLst>
      </pc:sldChg>
      <pc:sldChg chg="del">
        <pc:chgData name="Oehrli, Stefan" userId="3f36891e-f853-43e7-bcbc-2879a2513833" providerId="ADAL" clId="{8AF65D7D-52A3-694C-B004-91F835AC7E11}" dt="2023-08-23T09:07:38.823" v="17" actId="2696"/>
        <pc:sldMkLst>
          <pc:docMk/>
          <pc:sldMk cId="3156609275" sldId="467"/>
        </pc:sldMkLst>
      </pc:sldChg>
      <pc:sldChg chg="del">
        <pc:chgData name="Oehrli, Stefan" userId="3f36891e-f853-43e7-bcbc-2879a2513833" providerId="ADAL" clId="{8AF65D7D-52A3-694C-B004-91F835AC7E11}" dt="2023-08-23T09:07:38.806" v="7" actId="2696"/>
        <pc:sldMkLst>
          <pc:docMk/>
          <pc:sldMk cId="97941229" sldId="468"/>
        </pc:sldMkLst>
      </pc:sldChg>
      <pc:sldChg chg="del">
        <pc:chgData name="Oehrli, Stefan" userId="3f36891e-f853-43e7-bcbc-2879a2513833" providerId="ADAL" clId="{8AF65D7D-52A3-694C-B004-91F835AC7E11}" dt="2023-08-23T09:07:38.814" v="8" actId="2696"/>
        <pc:sldMkLst>
          <pc:docMk/>
          <pc:sldMk cId="3036863141" sldId="472"/>
        </pc:sldMkLst>
      </pc:sldChg>
      <pc:sldChg chg="del">
        <pc:chgData name="Oehrli, Stefan" userId="3f36891e-f853-43e7-bcbc-2879a2513833" providerId="ADAL" clId="{8AF65D7D-52A3-694C-B004-91F835AC7E11}" dt="2023-08-23T09:07:38.831" v="25" actId="2696"/>
        <pc:sldMkLst>
          <pc:docMk/>
          <pc:sldMk cId="1007766103" sldId="2147138092"/>
        </pc:sldMkLst>
      </pc:sldChg>
      <pc:sldChg chg="del">
        <pc:chgData name="Oehrli, Stefan" userId="3f36891e-f853-43e7-bcbc-2879a2513833" providerId="ADAL" clId="{8AF65D7D-52A3-694C-B004-91F835AC7E11}" dt="2023-08-23T09:07:38.883" v="42" actId="2696"/>
        <pc:sldMkLst>
          <pc:docMk/>
          <pc:sldMk cId="458820387" sldId="2147138093"/>
        </pc:sldMkLst>
      </pc:sldChg>
      <pc:sldChg chg="del">
        <pc:chgData name="Oehrli, Stefan" userId="3f36891e-f853-43e7-bcbc-2879a2513833" providerId="ADAL" clId="{8AF65D7D-52A3-694C-B004-91F835AC7E11}" dt="2023-08-23T09:07:38.829" v="22" actId="2696"/>
        <pc:sldMkLst>
          <pc:docMk/>
          <pc:sldMk cId="4201040755" sldId="2147138094"/>
        </pc:sldMkLst>
      </pc:sldChg>
      <pc:sldChg chg="del">
        <pc:chgData name="Oehrli, Stefan" userId="3f36891e-f853-43e7-bcbc-2879a2513833" providerId="ADAL" clId="{8AF65D7D-52A3-694C-B004-91F835AC7E11}" dt="2023-08-23T09:07:38.858" v="31" actId="2696"/>
        <pc:sldMkLst>
          <pc:docMk/>
          <pc:sldMk cId="2619521435" sldId="2147138095"/>
        </pc:sldMkLst>
      </pc:sldChg>
      <pc:sldChg chg="del">
        <pc:chgData name="Oehrli, Stefan" userId="3f36891e-f853-43e7-bcbc-2879a2513833" providerId="ADAL" clId="{8AF65D7D-52A3-694C-B004-91F835AC7E11}" dt="2023-08-23T09:07:38.821" v="14" actId="2696"/>
        <pc:sldMkLst>
          <pc:docMk/>
          <pc:sldMk cId="4242205374" sldId="2147138096"/>
        </pc:sldMkLst>
      </pc:sldChg>
      <pc:sldChg chg="del">
        <pc:chgData name="Oehrli, Stefan" userId="3f36891e-f853-43e7-bcbc-2879a2513833" providerId="ADAL" clId="{8AF65D7D-52A3-694C-B004-91F835AC7E11}" dt="2023-08-23T09:07:38.801" v="3" actId="2696"/>
        <pc:sldMkLst>
          <pc:docMk/>
          <pc:sldMk cId="291683142" sldId="2147138097"/>
        </pc:sldMkLst>
      </pc:sldChg>
      <pc:sldChg chg="del">
        <pc:chgData name="Oehrli, Stefan" userId="3f36891e-f853-43e7-bcbc-2879a2513833" providerId="ADAL" clId="{8AF65D7D-52A3-694C-B004-91F835AC7E11}" dt="2023-08-23T09:07:38.820" v="13" actId="2696"/>
        <pc:sldMkLst>
          <pc:docMk/>
          <pc:sldMk cId="2165718264" sldId="2147138098"/>
        </pc:sldMkLst>
      </pc:sldChg>
      <pc:sldChg chg="del">
        <pc:chgData name="Oehrli, Stefan" userId="3f36891e-f853-43e7-bcbc-2879a2513833" providerId="ADAL" clId="{8AF65D7D-52A3-694C-B004-91F835AC7E11}" dt="2023-08-23T09:07:38.819" v="12" actId="2696"/>
        <pc:sldMkLst>
          <pc:docMk/>
          <pc:sldMk cId="3599430945" sldId="2147138099"/>
        </pc:sldMkLst>
      </pc:sldChg>
      <pc:sldChg chg="del">
        <pc:chgData name="Oehrli, Stefan" userId="3f36891e-f853-43e7-bcbc-2879a2513833" providerId="ADAL" clId="{8AF65D7D-52A3-694C-B004-91F835AC7E11}" dt="2023-08-23T09:07:38.824" v="18" actId="2696"/>
        <pc:sldMkLst>
          <pc:docMk/>
          <pc:sldMk cId="1136370493" sldId="2147138100"/>
        </pc:sldMkLst>
      </pc:sldChg>
      <pc:sldChg chg="del">
        <pc:chgData name="Oehrli, Stefan" userId="3f36891e-f853-43e7-bcbc-2879a2513833" providerId="ADAL" clId="{8AF65D7D-52A3-694C-B004-91F835AC7E11}" dt="2023-08-23T09:07:38.825" v="19" actId="2696"/>
        <pc:sldMkLst>
          <pc:docMk/>
          <pc:sldMk cId="1460390289" sldId="2147138101"/>
        </pc:sldMkLst>
      </pc:sldChg>
      <pc:sldChg chg="del">
        <pc:chgData name="Oehrli, Stefan" userId="3f36891e-f853-43e7-bcbc-2879a2513833" providerId="ADAL" clId="{8AF65D7D-52A3-694C-B004-91F835AC7E11}" dt="2023-08-23T09:07:38.818" v="11" actId="2696"/>
        <pc:sldMkLst>
          <pc:docMk/>
          <pc:sldMk cId="4224754524" sldId="2147138102"/>
        </pc:sldMkLst>
      </pc:sldChg>
      <pc:sldChg chg="del">
        <pc:chgData name="Oehrli, Stefan" userId="3f36891e-f853-43e7-bcbc-2879a2513833" providerId="ADAL" clId="{8AF65D7D-52A3-694C-B004-91F835AC7E11}" dt="2023-08-23T09:07:38.862" v="37" actId="2696"/>
        <pc:sldMkLst>
          <pc:docMk/>
          <pc:sldMk cId="2940822937" sldId="2147138103"/>
        </pc:sldMkLst>
      </pc:sldChg>
      <pc:sldChg chg="del">
        <pc:chgData name="Oehrli, Stefan" userId="3f36891e-f853-43e7-bcbc-2879a2513833" providerId="ADAL" clId="{8AF65D7D-52A3-694C-B004-91F835AC7E11}" dt="2023-08-23T09:07:38.803" v="5" actId="2696"/>
        <pc:sldMkLst>
          <pc:docMk/>
          <pc:sldMk cId="1680546933" sldId="2147138157"/>
        </pc:sldMkLst>
      </pc:sldChg>
      <pc:sldChg chg="del">
        <pc:chgData name="Oehrli, Stefan" userId="3f36891e-f853-43e7-bcbc-2879a2513833" providerId="ADAL" clId="{8AF65D7D-52A3-694C-B004-91F835AC7E11}" dt="2023-08-23T09:07:38.860" v="34" actId="2696"/>
        <pc:sldMkLst>
          <pc:docMk/>
          <pc:sldMk cId="81241993" sldId="2147138158"/>
        </pc:sldMkLst>
      </pc:sldChg>
      <pc:sldChg chg="del">
        <pc:chgData name="Oehrli, Stefan" userId="3f36891e-f853-43e7-bcbc-2879a2513833" providerId="ADAL" clId="{8AF65D7D-52A3-694C-B004-91F835AC7E11}" dt="2023-08-23T09:07:38.861" v="36" actId="2696"/>
        <pc:sldMkLst>
          <pc:docMk/>
          <pc:sldMk cId="2106918084" sldId="2147138159"/>
        </pc:sldMkLst>
      </pc:sldChg>
      <pc:sldChg chg="del">
        <pc:chgData name="Oehrli, Stefan" userId="3f36891e-f853-43e7-bcbc-2879a2513833" providerId="ADAL" clId="{8AF65D7D-52A3-694C-B004-91F835AC7E11}" dt="2023-08-23T09:07:38.830" v="23" actId="2696"/>
        <pc:sldMkLst>
          <pc:docMk/>
          <pc:sldMk cId="2239922136" sldId="2147138160"/>
        </pc:sldMkLst>
      </pc:sldChg>
      <pc:sldChg chg="del">
        <pc:chgData name="Oehrli, Stefan" userId="3f36891e-f853-43e7-bcbc-2879a2513833" providerId="ADAL" clId="{8AF65D7D-52A3-694C-B004-91F835AC7E11}" dt="2023-08-23T09:07:38.861" v="35" actId="2696"/>
        <pc:sldMkLst>
          <pc:docMk/>
          <pc:sldMk cId="3885212717" sldId="2147138161"/>
        </pc:sldMkLst>
      </pc:sldChg>
      <pc:sldChg chg="del">
        <pc:chgData name="Oehrli, Stefan" userId="3f36891e-f853-43e7-bcbc-2879a2513833" providerId="ADAL" clId="{8AF65D7D-52A3-694C-B004-91F835AC7E11}" dt="2023-08-23T09:07:38.817" v="10" actId="2696"/>
        <pc:sldMkLst>
          <pc:docMk/>
          <pc:sldMk cId="1472515380" sldId="2147138162"/>
        </pc:sldMkLst>
      </pc:sldChg>
      <pc:sldChg chg="del">
        <pc:chgData name="Oehrli, Stefan" userId="3f36891e-f853-43e7-bcbc-2879a2513833" providerId="ADAL" clId="{8AF65D7D-52A3-694C-B004-91F835AC7E11}" dt="2023-08-23T09:07:38.802" v="4" actId="2696"/>
        <pc:sldMkLst>
          <pc:docMk/>
          <pc:sldMk cId="1126432912" sldId="2147138163"/>
        </pc:sldMkLst>
      </pc:sldChg>
      <pc:sldChg chg="del">
        <pc:chgData name="Oehrli, Stefan" userId="3f36891e-f853-43e7-bcbc-2879a2513833" providerId="ADAL" clId="{8AF65D7D-52A3-694C-B004-91F835AC7E11}" dt="2023-08-23T09:07:38.799" v="2" actId="2696"/>
        <pc:sldMkLst>
          <pc:docMk/>
          <pc:sldMk cId="4280386133" sldId="2147138164"/>
        </pc:sldMkLst>
      </pc:sldChg>
      <pc:sldChg chg="del">
        <pc:chgData name="Oehrli, Stefan" userId="3f36891e-f853-43e7-bcbc-2879a2513833" providerId="ADAL" clId="{8AF65D7D-52A3-694C-B004-91F835AC7E11}" dt="2023-08-23T09:07:38.828" v="21" actId="2696"/>
        <pc:sldMkLst>
          <pc:docMk/>
          <pc:sldMk cId="387224444" sldId="2147138165"/>
        </pc:sldMkLst>
      </pc:sldChg>
      <pc:sldChg chg="del">
        <pc:chgData name="Oehrli, Stefan" userId="3f36891e-f853-43e7-bcbc-2879a2513833" providerId="ADAL" clId="{8AF65D7D-52A3-694C-B004-91F835AC7E11}" dt="2023-08-23T09:07:38.833" v="27" actId="2696"/>
        <pc:sldMkLst>
          <pc:docMk/>
          <pc:sldMk cId="664306202" sldId="2147138166"/>
        </pc:sldMkLst>
      </pc:sldChg>
      <pc:sldChg chg="del">
        <pc:chgData name="Oehrli, Stefan" userId="3f36891e-f853-43e7-bcbc-2879a2513833" providerId="ADAL" clId="{8AF65D7D-52A3-694C-B004-91F835AC7E11}" dt="2023-08-23T09:07:38.826" v="20" actId="2696"/>
        <pc:sldMkLst>
          <pc:docMk/>
          <pc:sldMk cId="283774615" sldId="2147138167"/>
        </pc:sldMkLst>
      </pc:sldChg>
      <pc:sldChg chg="del">
        <pc:chgData name="Oehrli, Stefan" userId="3f36891e-f853-43e7-bcbc-2879a2513833" providerId="ADAL" clId="{8AF65D7D-52A3-694C-B004-91F835AC7E11}" dt="2023-08-23T09:07:38.815" v="9" actId="2696"/>
        <pc:sldMkLst>
          <pc:docMk/>
          <pc:sldMk cId="590366419" sldId="2147138168"/>
        </pc:sldMkLst>
      </pc:sldChg>
      <pc:sldChg chg="del">
        <pc:chgData name="Oehrli, Stefan" userId="3f36891e-f853-43e7-bcbc-2879a2513833" providerId="ADAL" clId="{8AF65D7D-52A3-694C-B004-91F835AC7E11}" dt="2023-08-23T09:07:38.901" v="43" actId="2696"/>
        <pc:sldMkLst>
          <pc:docMk/>
          <pc:sldMk cId="4024699004" sldId="2147138169"/>
        </pc:sldMkLst>
      </pc:sldChg>
      <pc:sldChg chg="del">
        <pc:chgData name="Oehrli, Stefan" userId="3f36891e-f853-43e7-bcbc-2879a2513833" providerId="ADAL" clId="{8AF65D7D-52A3-694C-B004-91F835AC7E11}" dt="2023-08-23T09:07:38.831" v="24" actId="2696"/>
        <pc:sldMkLst>
          <pc:docMk/>
          <pc:sldMk cId="3330251415" sldId="2147138170"/>
        </pc:sldMkLst>
      </pc:sldChg>
      <pc:sldChg chg="del">
        <pc:chgData name="Oehrli, Stefan" userId="3f36891e-f853-43e7-bcbc-2879a2513833" providerId="ADAL" clId="{8AF65D7D-52A3-694C-B004-91F835AC7E11}" dt="2023-08-23T09:07:38.834" v="28" actId="2696"/>
        <pc:sldMkLst>
          <pc:docMk/>
          <pc:sldMk cId="417737938" sldId="2147138171"/>
        </pc:sldMkLst>
      </pc:sldChg>
      <pc:sldChg chg="del">
        <pc:chgData name="Oehrli, Stefan" userId="3f36891e-f853-43e7-bcbc-2879a2513833" providerId="ADAL" clId="{8AF65D7D-52A3-694C-B004-91F835AC7E11}" dt="2023-08-23T09:07:38.857" v="30" actId="2696"/>
        <pc:sldMkLst>
          <pc:docMk/>
          <pc:sldMk cId="3109269487" sldId="2147138172"/>
        </pc:sldMkLst>
      </pc:sldChg>
      <pc:sldChg chg="del">
        <pc:chgData name="Oehrli, Stefan" userId="3f36891e-f853-43e7-bcbc-2879a2513833" providerId="ADAL" clId="{8AF65D7D-52A3-694C-B004-91F835AC7E11}" dt="2023-08-23T09:07:38.858" v="32" actId="2696"/>
        <pc:sldMkLst>
          <pc:docMk/>
          <pc:sldMk cId="1225329166" sldId="2147138173"/>
        </pc:sldMkLst>
      </pc:sldChg>
      <pc:sldChg chg="del">
        <pc:chgData name="Oehrli, Stefan" userId="3f36891e-f853-43e7-bcbc-2879a2513833" providerId="ADAL" clId="{8AF65D7D-52A3-694C-B004-91F835AC7E11}" dt="2023-08-23T09:07:38.798" v="1" actId="2696"/>
        <pc:sldMkLst>
          <pc:docMk/>
          <pc:sldMk cId="539099097" sldId="2147138175"/>
        </pc:sldMkLst>
      </pc:sldChg>
      <pc:sldChg chg="del">
        <pc:chgData name="Oehrli, Stefan" userId="3f36891e-f853-43e7-bcbc-2879a2513833" providerId="ADAL" clId="{8AF65D7D-52A3-694C-B004-91F835AC7E11}" dt="2023-08-23T09:07:38.859" v="33" actId="2696"/>
        <pc:sldMkLst>
          <pc:docMk/>
          <pc:sldMk cId="597136198" sldId="2147138176"/>
        </pc:sldMkLst>
      </pc:sldChg>
      <pc:sldChg chg="del">
        <pc:chgData name="Oehrli, Stefan" userId="3f36891e-f853-43e7-bcbc-2879a2513833" providerId="ADAL" clId="{8AF65D7D-52A3-694C-B004-91F835AC7E11}" dt="2023-08-23T09:07:38.864" v="39" actId="2696"/>
        <pc:sldMkLst>
          <pc:docMk/>
          <pc:sldMk cId="943587598" sldId="2147138177"/>
        </pc:sldMkLst>
      </pc:sldChg>
      <pc:sldChg chg="del">
        <pc:chgData name="Oehrli, Stefan" userId="3f36891e-f853-43e7-bcbc-2879a2513833" providerId="ADAL" clId="{8AF65D7D-52A3-694C-B004-91F835AC7E11}" dt="2023-08-23T09:07:38.805" v="6" actId="2696"/>
        <pc:sldMkLst>
          <pc:docMk/>
          <pc:sldMk cId="2845821336" sldId="2147138178"/>
        </pc:sldMkLst>
      </pc:sldChg>
      <pc:sldChg chg="del">
        <pc:chgData name="Oehrli, Stefan" userId="3f36891e-f853-43e7-bcbc-2879a2513833" providerId="ADAL" clId="{8AF65D7D-52A3-694C-B004-91F835AC7E11}" dt="2023-08-23T09:07:38.865" v="41" actId="2696"/>
        <pc:sldMkLst>
          <pc:docMk/>
          <pc:sldMk cId="1578838906" sldId="2147138179"/>
        </pc:sldMkLst>
      </pc:sldChg>
      <pc:sldChg chg="del">
        <pc:chgData name="Oehrli, Stefan" userId="3f36891e-f853-43e7-bcbc-2879a2513833" providerId="ADAL" clId="{8AF65D7D-52A3-694C-B004-91F835AC7E11}" dt="2023-08-23T09:07:38.796" v="0" actId="2696"/>
        <pc:sldMkLst>
          <pc:docMk/>
          <pc:sldMk cId="2267274583" sldId="2147138180"/>
        </pc:sldMkLst>
      </pc:sldChg>
      <pc:sldMasterChg chg="delSldLayout">
        <pc:chgData name="Oehrli, Stefan" userId="3f36891e-f853-43e7-bcbc-2879a2513833" providerId="ADAL" clId="{8AF65D7D-52A3-694C-B004-91F835AC7E11}" dt="2023-08-23T09:07:38.902" v="44" actId="2696"/>
        <pc:sldMasterMkLst>
          <pc:docMk/>
          <pc:sldMasterMk cId="1195103446" sldId="2147483648"/>
        </pc:sldMasterMkLst>
        <pc:sldLayoutChg chg="del">
          <pc:chgData name="Oehrli, Stefan" userId="3f36891e-f853-43e7-bcbc-2879a2513833" providerId="ADAL" clId="{8AF65D7D-52A3-694C-B004-91F835AC7E11}" dt="2023-08-23T09:07:38.902" v="44" actId="2696"/>
          <pc:sldLayoutMkLst>
            <pc:docMk/>
            <pc:sldMasterMk cId="1195103446" sldId="2147483648"/>
            <pc:sldLayoutMk cId="1825463440" sldId="2147483761"/>
          </pc:sldLayoutMkLst>
        </pc:sldLayoutChg>
        <pc:sldLayoutChg chg="del">
          <pc:chgData name="Oehrli, Stefan" userId="3f36891e-f853-43e7-bcbc-2879a2513833" providerId="ADAL" clId="{8AF65D7D-52A3-694C-B004-91F835AC7E11}" dt="2023-08-23T09:07:38.863" v="38" actId="2696"/>
          <pc:sldLayoutMkLst>
            <pc:docMk/>
            <pc:sldMasterMk cId="1195103446" sldId="2147483648"/>
            <pc:sldLayoutMk cId="3972274285" sldId="2147483762"/>
          </pc:sldLayoutMkLst>
        </pc:sldLayoutChg>
      </pc:sldMasterChg>
    </pc:docChg>
  </pc:docChgLst>
  <pc:docChgLst>
    <pc:chgData name="Berger, Martin" userId="2dce5e24-1af4-4f49-bc50-80b59c8dc36b" providerId="ADAL" clId="{B1A8B41A-6079-43D2-B54F-50518D136075}"/>
    <pc:docChg chg="undo redo custSel addSld delSld modSld sldOrd modSection">
      <pc:chgData name="Berger, Martin" userId="2dce5e24-1af4-4f49-bc50-80b59c8dc36b" providerId="ADAL" clId="{B1A8B41A-6079-43D2-B54F-50518D136075}" dt="2024-10-16T13:54:20.820" v="2592" actId="1076"/>
      <pc:docMkLst>
        <pc:docMk/>
      </pc:docMkLst>
      <pc:sldChg chg="modSp mod">
        <pc:chgData name="Berger, Martin" userId="2dce5e24-1af4-4f49-bc50-80b59c8dc36b" providerId="ADAL" clId="{B1A8B41A-6079-43D2-B54F-50518D136075}" dt="2024-10-16T07:14:22.660" v="16" actId="20577"/>
        <pc:sldMkLst>
          <pc:docMk/>
          <pc:sldMk cId="3447450657" sldId="344"/>
        </pc:sldMkLst>
        <pc:spChg chg="mod">
          <ac:chgData name="Berger, Martin" userId="2dce5e24-1af4-4f49-bc50-80b59c8dc36b" providerId="ADAL" clId="{B1A8B41A-6079-43D2-B54F-50518D136075}" dt="2024-10-16T07:14:22.660" v="16" actId="20577"/>
          <ac:spMkLst>
            <pc:docMk/>
            <pc:sldMk cId="3447450657" sldId="344"/>
            <ac:spMk id="3" creationId="{71629877-83F9-C3AD-1532-9D122387E409}"/>
          </ac:spMkLst>
        </pc:spChg>
      </pc:sldChg>
      <pc:sldChg chg="modSp mod">
        <pc:chgData name="Berger, Martin" userId="2dce5e24-1af4-4f49-bc50-80b59c8dc36b" providerId="ADAL" clId="{B1A8B41A-6079-43D2-B54F-50518D136075}" dt="2024-10-16T07:15:48.322" v="95" actId="20577"/>
        <pc:sldMkLst>
          <pc:docMk/>
          <pc:sldMk cId="809413988" sldId="461"/>
        </pc:sldMkLst>
        <pc:spChg chg="mod">
          <ac:chgData name="Berger, Martin" userId="2dce5e24-1af4-4f49-bc50-80b59c8dc36b" providerId="ADAL" clId="{B1A8B41A-6079-43D2-B54F-50518D136075}" dt="2024-10-16T07:15:48.322" v="95" actId="20577"/>
          <ac:spMkLst>
            <pc:docMk/>
            <pc:sldMk cId="809413988" sldId="461"/>
            <ac:spMk id="38" creationId="{81C32163-2FCE-1D0A-32E6-87C45FE8B73F}"/>
          </ac:spMkLst>
        </pc:spChg>
      </pc:sldChg>
      <pc:sldChg chg="addSp delSp mod">
        <pc:chgData name="Berger, Martin" userId="2dce5e24-1af4-4f49-bc50-80b59c8dc36b" providerId="ADAL" clId="{B1A8B41A-6079-43D2-B54F-50518D136075}" dt="2024-10-16T12:34:27.315" v="1740" actId="21"/>
        <pc:sldMkLst>
          <pc:docMk/>
          <pc:sldMk cId="1761035848" sldId="2147138225"/>
        </pc:sldMkLst>
        <pc:spChg chg="add del">
          <ac:chgData name="Berger, Martin" userId="2dce5e24-1af4-4f49-bc50-80b59c8dc36b" providerId="ADAL" clId="{B1A8B41A-6079-43D2-B54F-50518D136075}" dt="2024-10-16T12:34:27.315" v="1740" actId="21"/>
          <ac:spMkLst>
            <pc:docMk/>
            <pc:sldMk cId="1761035848" sldId="2147138225"/>
            <ac:spMk id="13" creationId="{D0E28A2F-3284-DC08-057E-1E3D9719FCF9}"/>
          </ac:spMkLst>
        </pc:spChg>
      </pc:sldChg>
      <pc:sldChg chg="addSp delSp modSp new mod modClrScheme chgLayout">
        <pc:chgData name="Berger, Martin" userId="2dce5e24-1af4-4f49-bc50-80b59c8dc36b" providerId="ADAL" clId="{B1A8B41A-6079-43D2-B54F-50518D136075}" dt="2024-10-16T08:46:12.187" v="1048" actId="2711"/>
        <pc:sldMkLst>
          <pc:docMk/>
          <pc:sldMk cId="3441588782" sldId="2147138226"/>
        </pc:sldMkLst>
        <pc:spChg chg="add del mod">
          <ac:chgData name="Berger, Martin" userId="2dce5e24-1af4-4f49-bc50-80b59c8dc36b" providerId="ADAL" clId="{B1A8B41A-6079-43D2-B54F-50518D136075}" dt="2024-10-16T07:39:26.152" v="294" actId="478"/>
          <ac:spMkLst>
            <pc:docMk/>
            <pc:sldMk cId="3441588782" sldId="2147138226"/>
            <ac:spMk id="2" creationId="{A3AAACB0-FB5F-9F68-5B87-D1BF84C4F65D}"/>
          </ac:spMkLst>
        </pc:spChg>
        <pc:spChg chg="del mod ord">
          <ac:chgData name="Berger, Martin" userId="2dce5e24-1af4-4f49-bc50-80b59c8dc36b" providerId="ADAL" clId="{B1A8B41A-6079-43D2-B54F-50518D136075}" dt="2024-10-16T07:14:33.827" v="18" actId="700"/>
          <ac:spMkLst>
            <pc:docMk/>
            <pc:sldMk cId="3441588782" sldId="2147138226"/>
            <ac:spMk id="2" creationId="{C1C833A4-343F-D182-5337-FA4BA7006FD8}"/>
          </ac:spMkLst>
        </pc:spChg>
        <pc:spChg chg="add del mod">
          <ac:chgData name="Berger, Martin" userId="2dce5e24-1af4-4f49-bc50-80b59c8dc36b" providerId="ADAL" clId="{B1A8B41A-6079-43D2-B54F-50518D136075}" dt="2024-10-16T07:39:26.152" v="294" actId="478"/>
          <ac:spMkLst>
            <pc:docMk/>
            <pc:sldMk cId="3441588782" sldId="2147138226"/>
            <ac:spMk id="3" creationId="{C478F38D-95DB-3FD6-6AF1-4E8BFD241734}"/>
          </ac:spMkLst>
        </pc:spChg>
        <pc:spChg chg="del mod ord">
          <ac:chgData name="Berger, Martin" userId="2dce5e24-1af4-4f49-bc50-80b59c8dc36b" providerId="ADAL" clId="{B1A8B41A-6079-43D2-B54F-50518D136075}" dt="2024-10-16T07:14:33.827" v="18" actId="700"/>
          <ac:spMkLst>
            <pc:docMk/>
            <pc:sldMk cId="3441588782" sldId="2147138226"/>
            <ac:spMk id="3" creationId="{E1331AF3-B701-DD84-8013-990D4ACD6E4D}"/>
          </ac:spMkLst>
        </pc:spChg>
        <pc:spChg chg="add mod">
          <ac:chgData name="Berger, Martin" userId="2dce5e24-1af4-4f49-bc50-80b59c8dc36b" providerId="ADAL" clId="{B1A8B41A-6079-43D2-B54F-50518D136075}" dt="2024-10-16T07:43:36.587" v="388" actId="123"/>
          <ac:spMkLst>
            <pc:docMk/>
            <pc:sldMk cId="3441588782" sldId="2147138226"/>
            <ac:spMk id="4" creationId="{5FF72B66-11E1-1C10-71D3-868ABA8FE6EC}"/>
          </ac:spMkLst>
        </pc:spChg>
        <pc:spChg chg="del mod ord">
          <ac:chgData name="Berger, Martin" userId="2dce5e24-1af4-4f49-bc50-80b59c8dc36b" providerId="ADAL" clId="{B1A8B41A-6079-43D2-B54F-50518D136075}" dt="2024-10-16T07:14:33.827" v="18" actId="700"/>
          <ac:spMkLst>
            <pc:docMk/>
            <pc:sldMk cId="3441588782" sldId="2147138226"/>
            <ac:spMk id="4" creationId="{E58EFCC3-7E35-3DAB-540F-8B36B474AE89}"/>
          </ac:spMkLst>
        </pc:spChg>
        <pc:spChg chg="mod ord">
          <ac:chgData name="Berger, Martin" userId="2dce5e24-1af4-4f49-bc50-80b59c8dc36b" providerId="ADAL" clId="{B1A8B41A-6079-43D2-B54F-50518D136075}" dt="2024-10-16T07:14:37.572" v="19" actId="700"/>
          <ac:spMkLst>
            <pc:docMk/>
            <pc:sldMk cId="3441588782" sldId="2147138226"/>
            <ac:spMk id="5" creationId="{63E2152E-730F-388F-D25C-697905EA1371}"/>
          </ac:spMkLst>
        </pc:spChg>
        <pc:spChg chg="mod ord">
          <ac:chgData name="Berger, Martin" userId="2dce5e24-1af4-4f49-bc50-80b59c8dc36b" providerId="ADAL" clId="{B1A8B41A-6079-43D2-B54F-50518D136075}" dt="2024-10-16T07:14:37.572" v="19" actId="700"/>
          <ac:spMkLst>
            <pc:docMk/>
            <pc:sldMk cId="3441588782" sldId="2147138226"/>
            <ac:spMk id="6" creationId="{CA5B469F-CB72-B684-4F00-4C4317D8E28E}"/>
          </ac:spMkLst>
        </pc:spChg>
        <pc:spChg chg="add del mod ord">
          <ac:chgData name="Berger, Martin" userId="2dce5e24-1af4-4f49-bc50-80b59c8dc36b" providerId="ADAL" clId="{B1A8B41A-6079-43D2-B54F-50518D136075}" dt="2024-10-16T07:14:37.572" v="19" actId="700"/>
          <ac:spMkLst>
            <pc:docMk/>
            <pc:sldMk cId="3441588782" sldId="2147138226"/>
            <ac:spMk id="7" creationId="{7009B1B9-B41A-7F48-83FC-A00B6E40EA47}"/>
          </ac:spMkLst>
        </pc:spChg>
        <pc:spChg chg="add del mod ord">
          <ac:chgData name="Berger, Martin" userId="2dce5e24-1af4-4f49-bc50-80b59c8dc36b" providerId="ADAL" clId="{B1A8B41A-6079-43D2-B54F-50518D136075}" dt="2024-10-16T07:14:37.572" v="19" actId="700"/>
          <ac:spMkLst>
            <pc:docMk/>
            <pc:sldMk cId="3441588782" sldId="2147138226"/>
            <ac:spMk id="8" creationId="{B182E09B-FCC6-2D47-A400-5319203EA82F}"/>
          </ac:spMkLst>
        </pc:spChg>
        <pc:spChg chg="add del mod ord">
          <ac:chgData name="Berger, Martin" userId="2dce5e24-1af4-4f49-bc50-80b59c8dc36b" providerId="ADAL" clId="{B1A8B41A-6079-43D2-B54F-50518D136075}" dt="2024-10-16T07:14:37.572" v="19" actId="700"/>
          <ac:spMkLst>
            <pc:docMk/>
            <pc:sldMk cId="3441588782" sldId="2147138226"/>
            <ac:spMk id="9" creationId="{266F43BF-BE85-006F-33AB-3BD63888C159}"/>
          </ac:spMkLst>
        </pc:spChg>
        <pc:spChg chg="add mod ord">
          <ac:chgData name="Berger, Martin" userId="2dce5e24-1af4-4f49-bc50-80b59c8dc36b" providerId="ADAL" clId="{B1A8B41A-6079-43D2-B54F-50518D136075}" dt="2024-10-16T08:46:12.187" v="1048" actId="2711"/>
          <ac:spMkLst>
            <pc:docMk/>
            <pc:sldMk cId="3441588782" sldId="2147138226"/>
            <ac:spMk id="10" creationId="{228EDD00-3E6E-3EA2-D837-FDBAAE1198D6}"/>
          </ac:spMkLst>
        </pc:spChg>
        <pc:spChg chg="add del mod ord">
          <ac:chgData name="Berger, Martin" userId="2dce5e24-1af4-4f49-bc50-80b59c8dc36b" providerId="ADAL" clId="{B1A8B41A-6079-43D2-B54F-50518D136075}" dt="2024-10-16T07:36:28.859" v="234" actId="478"/>
          <ac:spMkLst>
            <pc:docMk/>
            <pc:sldMk cId="3441588782" sldId="2147138226"/>
            <ac:spMk id="11" creationId="{E7FDD027-BA05-5AE4-2410-4E1F3C510221}"/>
          </ac:spMkLst>
        </pc:spChg>
        <pc:spChg chg="add mod">
          <ac:chgData name="Berger, Martin" userId="2dce5e24-1af4-4f49-bc50-80b59c8dc36b" providerId="ADAL" clId="{B1A8B41A-6079-43D2-B54F-50518D136075}" dt="2024-10-16T07:42:20.331" v="351" actId="164"/>
          <ac:spMkLst>
            <pc:docMk/>
            <pc:sldMk cId="3441588782" sldId="2147138226"/>
            <ac:spMk id="12" creationId="{3985E747-572A-7EED-8B11-E12E85A29B5D}"/>
          </ac:spMkLst>
        </pc:spChg>
        <pc:spChg chg="add mod">
          <ac:chgData name="Berger, Martin" userId="2dce5e24-1af4-4f49-bc50-80b59c8dc36b" providerId="ADAL" clId="{B1A8B41A-6079-43D2-B54F-50518D136075}" dt="2024-10-16T07:42:23.665" v="353"/>
          <ac:spMkLst>
            <pc:docMk/>
            <pc:sldMk cId="3441588782" sldId="2147138226"/>
            <ac:spMk id="13" creationId="{D39B0CA9-2295-7E81-2B01-77143C3FCB77}"/>
          </ac:spMkLst>
        </pc:spChg>
        <pc:spChg chg="mod">
          <ac:chgData name="Berger, Martin" userId="2dce5e24-1af4-4f49-bc50-80b59c8dc36b" providerId="ADAL" clId="{B1A8B41A-6079-43D2-B54F-50518D136075}" dt="2024-10-16T07:43:18.181" v="381" actId="2711"/>
          <ac:spMkLst>
            <pc:docMk/>
            <pc:sldMk cId="3441588782" sldId="2147138226"/>
            <ac:spMk id="17" creationId="{EBF56F96-83B9-CCEF-BAB0-E4D9A5D6BA4F}"/>
          </ac:spMkLst>
        </pc:spChg>
        <pc:spChg chg="mod">
          <ac:chgData name="Berger, Martin" userId="2dce5e24-1af4-4f49-bc50-80b59c8dc36b" providerId="ADAL" clId="{B1A8B41A-6079-43D2-B54F-50518D136075}" dt="2024-10-16T07:42:56.104" v="377"/>
          <ac:spMkLst>
            <pc:docMk/>
            <pc:sldMk cId="3441588782" sldId="2147138226"/>
            <ac:spMk id="18" creationId="{82F921D6-6802-6086-709E-C2CB0A2AB3F4}"/>
          </ac:spMkLst>
        </pc:spChg>
        <pc:spChg chg="mod">
          <ac:chgData name="Berger, Martin" userId="2dce5e24-1af4-4f49-bc50-80b59c8dc36b" providerId="ADAL" clId="{B1A8B41A-6079-43D2-B54F-50518D136075}" dt="2024-10-16T07:43:07.161" v="380"/>
          <ac:spMkLst>
            <pc:docMk/>
            <pc:sldMk cId="3441588782" sldId="2147138226"/>
            <ac:spMk id="21" creationId="{0D74F8F2-06FD-7F0A-633D-9387B42AA604}"/>
          </ac:spMkLst>
        </pc:spChg>
        <pc:spChg chg="mod">
          <ac:chgData name="Berger, Martin" userId="2dce5e24-1af4-4f49-bc50-80b59c8dc36b" providerId="ADAL" clId="{B1A8B41A-6079-43D2-B54F-50518D136075}" dt="2024-10-16T07:43:30.465" v="387" actId="20577"/>
          <ac:spMkLst>
            <pc:docMk/>
            <pc:sldMk cId="3441588782" sldId="2147138226"/>
            <ac:spMk id="22" creationId="{E5AB7CEC-D3E2-6215-ED1B-F1C4F80077B1}"/>
          </ac:spMkLst>
        </pc:spChg>
        <pc:grpChg chg="add mod">
          <ac:chgData name="Berger, Martin" userId="2dce5e24-1af4-4f49-bc50-80b59c8dc36b" providerId="ADAL" clId="{B1A8B41A-6079-43D2-B54F-50518D136075}" dt="2024-10-16T07:42:20.331" v="351" actId="164"/>
          <ac:grpSpMkLst>
            <pc:docMk/>
            <pc:sldMk cId="3441588782" sldId="2147138226"/>
            <ac:grpSpMk id="14" creationId="{2D6BA81B-23A3-CAD1-E851-0DC734000D1B}"/>
          </ac:grpSpMkLst>
        </pc:grpChg>
        <pc:grpChg chg="add mod">
          <ac:chgData name="Berger, Martin" userId="2dce5e24-1af4-4f49-bc50-80b59c8dc36b" providerId="ADAL" clId="{B1A8B41A-6079-43D2-B54F-50518D136075}" dt="2024-10-16T07:42:29.882" v="355" actId="1076"/>
          <ac:grpSpMkLst>
            <pc:docMk/>
            <pc:sldMk cId="3441588782" sldId="2147138226"/>
            <ac:grpSpMk id="15" creationId="{80C48316-6FF4-B390-840E-00875E5E6E37}"/>
          </ac:grpSpMkLst>
        </pc:grpChg>
        <pc:grpChg chg="add mod">
          <ac:chgData name="Berger, Martin" userId="2dce5e24-1af4-4f49-bc50-80b59c8dc36b" providerId="ADAL" clId="{B1A8B41A-6079-43D2-B54F-50518D136075}" dt="2024-10-16T07:42:34.689" v="357" actId="1076"/>
          <ac:grpSpMkLst>
            <pc:docMk/>
            <pc:sldMk cId="3441588782" sldId="2147138226"/>
            <ac:grpSpMk id="19" creationId="{1355EAE4-852B-9365-F9E1-BAAAA8D8D8C2}"/>
          </ac:grpSpMkLst>
        </pc:grpChg>
        <pc:picChg chg="add mod">
          <ac:chgData name="Berger, Martin" userId="2dce5e24-1af4-4f49-bc50-80b59c8dc36b" providerId="ADAL" clId="{B1A8B41A-6079-43D2-B54F-50518D136075}" dt="2024-10-16T07:50:22.307" v="397" actId="208"/>
          <ac:picMkLst>
            <pc:docMk/>
            <pc:sldMk cId="3441588782" sldId="2147138226"/>
            <ac:picMk id="24" creationId="{F66B8F6C-35E4-CEDE-320C-6AE439CEF1BF}"/>
          </ac:picMkLst>
        </pc:picChg>
        <pc:cxnChg chg="add mod">
          <ac:chgData name="Berger, Martin" userId="2dce5e24-1af4-4f49-bc50-80b59c8dc36b" providerId="ADAL" clId="{B1A8B41A-6079-43D2-B54F-50518D136075}" dt="2024-10-16T07:42:20.331" v="351" actId="164"/>
          <ac:cxnSpMkLst>
            <pc:docMk/>
            <pc:sldMk cId="3441588782" sldId="2147138226"/>
            <ac:cxnSpMk id="8" creationId="{3AD41933-5F7A-8683-094F-752D897B45AF}"/>
          </ac:cxnSpMkLst>
        </pc:cxnChg>
        <pc:cxnChg chg="mod">
          <ac:chgData name="Berger, Martin" userId="2dce5e24-1af4-4f49-bc50-80b59c8dc36b" providerId="ADAL" clId="{B1A8B41A-6079-43D2-B54F-50518D136075}" dt="2024-10-16T07:42:26.122" v="354"/>
          <ac:cxnSpMkLst>
            <pc:docMk/>
            <pc:sldMk cId="3441588782" sldId="2147138226"/>
            <ac:cxnSpMk id="16" creationId="{CA427CEF-86CD-DD95-82A0-872771019EE9}"/>
          </ac:cxnSpMkLst>
        </pc:cxnChg>
        <pc:cxnChg chg="mod">
          <ac:chgData name="Berger, Martin" userId="2dce5e24-1af4-4f49-bc50-80b59c8dc36b" providerId="ADAL" clId="{B1A8B41A-6079-43D2-B54F-50518D136075}" dt="2024-10-16T07:42:31.116" v="356"/>
          <ac:cxnSpMkLst>
            <pc:docMk/>
            <pc:sldMk cId="3441588782" sldId="2147138226"/>
            <ac:cxnSpMk id="20" creationId="{D48F2344-E412-3BA9-8F53-82129F81F50E}"/>
          </ac:cxnSpMkLst>
        </pc:cxnChg>
      </pc:sldChg>
      <pc:sldChg chg="addSp delSp modSp new del mod modClrScheme chgLayout">
        <pc:chgData name="Berger, Martin" userId="2dce5e24-1af4-4f49-bc50-80b59c8dc36b" providerId="ADAL" clId="{B1A8B41A-6079-43D2-B54F-50518D136075}" dt="2024-10-16T08:36:21.614" v="748" actId="47"/>
        <pc:sldMkLst>
          <pc:docMk/>
          <pc:sldMk cId="3485001230" sldId="2147138227"/>
        </pc:sldMkLst>
        <pc:spChg chg="mod">
          <ac:chgData name="Berger, Martin" userId="2dce5e24-1af4-4f49-bc50-80b59c8dc36b" providerId="ADAL" clId="{B1A8B41A-6079-43D2-B54F-50518D136075}" dt="2024-10-16T08:25:14.973" v="704" actId="26606"/>
          <ac:spMkLst>
            <pc:docMk/>
            <pc:sldMk cId="3485001230" sldId="2147138227"/>
            <ac:spMk id="2" creationId="{1E6E8C83-5604-6800-8503-08C9674A39D3}"/>
          </ac:spMkLst>
        </pc:spChg>
        <pc:spChg chg="del">
          <ac:chgData name="Berger, Martin" userId="2dce5e24-1af4-4f49-bc50-80b59c8dc36b" providerId="ADAL" clId="{B1A8B41A-6079-43D2-B54F-50518D136075}" dt="2024-10-16T08:25:14.973" v="704" actId="26606"/>
          <ac:spMkLst>
            <pc:docMk/>
            <pc:sldMk cId="3485001230" sldId="2147138227"/>
            <ac:spMk id="3" creationId="{998C4BBF-A242-24EA-B3CA-4B13BF528F10}"/>
          </ac:spMkLst>
        </pc:spChg>
        <pc:spChg chg="mod">
          <ac:chgData name="Berger, Martin" userId="2dce5e24-1af4-4f49-bc50-80b59c8dc36b" providerId="ADAL" clId="{B1A8B41A-6079-43D2-B54F-50518D136075}" dt="2024-10-16T08:25:14.973" v="704" actId="26606"/>
          <ac:spMkLst>
            <pc:docMk/>
            <pc:sldMk cId="3485001230" sldId="2147138227"/>
            <ac:spMk id="4" creationId="{2D039DF2-BF9E-9282-B390-A81448E0838A}"/>
          </ac:spMkLst>
        </pc:spChg>
        <pc:spChg chg="mod">
          <ac:chgData name="Berger, Martin" userId="2dce5e24-1af4-4f49-bc50-80b59c8dc36b" providerId="ADAL" clId="{B1A8B41A-6079-43D2-B54F-50518D136075}" dt="2024-10-16T08:25:14.973" v="704" actId="26606"/>
          <ac:spMkLst>
            <pc:docMk/>
            <pc:sldMk cId="3485001230" sldId="2147138227"/>
            <ac:spMk id="5" creationId="{97343006-E830-249D-A108-601C1138EE1C}"/>
          </ac:spMkLst>
        </pc:spChg>
        <pc:spChg chg="add mod">
          <ac:chgData name="Berger, Martin" userId="2dce5e24-1af4-4f49-bc50-80b59c8dc36b" providerId="ADAL" clId="{B1A8B41A-6079-43D2-B54F-50518D136075}" dt="2024-10-16T08:25:14.973" v="704" actId="26606"/>
          <ac:spMkLst>
            <pc:docMk/>
            <pc:sldMk cId="3485001230" sldId="2147138227"/>
            <ac:spMk id="10" creationId="{821BBFDB-9718-3FD2-FBFA-B3A74B087D90}"/>
          </ac:spMkLst>
        </pc:spChg>
        <pc:spChg chg="add mod">
          <ac:chgData name="Berger, Martin" userId="2dce5e24-1af4-4f49-bc50-80b59c8dc36b" providerId="ADAL" clId="{B1A8B41A-6079-43D2-B54F-50518D136075}" dt="2024-10-16T08:25:14.973" v="704" actId="26606"/>
          <ac:spMkLst>
            <pc:docMk/>
            <pc:sldMk cId="3485001230" sldId="2147138227"/>
            <ac:spMk id="12" creationId="{5C0A5F22-D13D-1AB9-4FD8-DEB77CD9BD61}"/>
          </ac:spMkLst>
        </pc:spChg>
        <pc:spChg chg="add mod">
          <ac:chgData name="Berger, Martin" userId="2dce5e24-1af4-4f49-bc50-80b59c8dc36b" providerId="ADAL" clId="{B1A8B41A-6079-43D2-B54F-50518D136075}" dt="2024-10-16T08:25:14.973" v="704" actId="26606"/>
          <ac:spMkLst>
            <pc:docMk/>
            <pc:sldMk cId="3485001230" sldId="2147138227"/>
            <ac:spMk id="14" creationId="{D00AF256-9C4F-6620-D883-57BE974EA1BB}"/>
          </ac:spMkLst>
        </pc:spChg>
      </pc:sldChg>
      <pc:sldChg chg="modSp new mod">
        <pc:chgData name="Berger, Martin" userId="2dce5e24-1af4-4f49-bc50-80b59c8dc36b" providerId="ADAL" clId="{B1A8B41A-6079-43D2-B54F-50518D136075}" dt="2024-10-16T07:18:29.299" v="192"/>
        <pc:sldMkLst>
          <pc:docMk/>
          <pc:sldMk cId="1791002854" sldId="2147138228"/>
        </pc:sldMkLst>
        <pc:spChg chg="mod">
          <ac:chgData name="Berger, Martin" userId="2dce5e24-1af4-4f49-bc50-80b59c8dc36b" providerId="ADAL" clId="{B1A8B41A-6079-43D2-B54F-50518D136075}" dt="2024-10-16T07:18:29.299" v="192"/>
          <ac:spMkLst>
            <pc:docMk/>
            <pc:sldMk cId="1791002854" sldId="2147138228"/>
            <ac:spMk id="2" creationId="{D28E0444-6428-CC0E-BC40-C74478BE967F}"/>
          </ac:spMkLst>
        </pc:spChg>
      </pc:sldChg>
      <pc:sldChg chg="addSp delSp modSp add mod">
        <pc:chgData name="Berger, Martin" userId="2dce5e24-1af4-4f49-bc50-80b59c8dc36b" providerId="ADAL" clId="{B1A8B41A-6079-43D2-B54F-50518D136075}" dt="2024-10-16T08:46:05.013" v="1047" actId="2711"/>
        <pc:sldMkLst>
          <pc:docMk/>
          <pc:sldMk cId="2209586392" sldId="2147138229"/>
        </pc:sldMkLst>
        <pc:spChg chg="mod">
          <ac:chgData name="Berger, Martin" userId="2dce5e24-1af4-4f49-bc50-80b59c8dc36b" providerId="ADAL" clId="{B1A8B41A-6079-43D2-B54F-50518D136075}" dt="2024-10-16T08:46:05.013" v="1047" actId="2711"/>
          <ac:spMkLst>
            <pc:docMk/>
            <pc:sldMk cId="2209586392" sldId="2147138229"/>
            <ac:spMk id="2" creationId="{1E6E8C83-5604-6800-8503-08C9674A39D3}"/>
          </ac:spMkLst>
        </pc:spChg>
        <pc:spChg chg="mod">
          <ac:chgData name="Berger, Martin" userId="2dce5e24-1af4-4f49-bc50-80b59c8dc36b" providerId="ADAL" clId="{B1A8B41A-6079-43D2-B54F-50518D136075}" dt="2024-10-16T08:14:06.644" v="648" actId="554"/>
          <ac:spMkLst>
            <pc:docMk/>
            <pc:sldMk cId="2209586392" sldId="2147138229"/>
            <ac:spMk id="3" creationId="{998C4BBF-A242-24EA-B3CA-4B13BF528F10}"/>
          </ac:spMkLst>
        </pc:spChg>
        <pc:spChg chg="add del">
          <ac:chgData name="Berger, Martin" userId="2dce5e24-1af4-4f49-bc50-80b59c8dc36b" providerId="ADAL" clId="{B1A8B41A-6079-43D2-B54F-50518D136075}" dt="2024-10-16T07:57:13.064" v="437" actId="22"/>
          <ac:spMkLst>
            <pc:docMk/>
            <pc:sldMk cId="2209586392" sldId="2147138229"/>
            <ac:spMk id="7" creationId="{79657013-7926-924F-E619-6A9C76385E7B}"/>
          </ac:spMkLst>
        </pc:spChg>
        <pc:spChg chg="add del mod">
          <ac:chgData name="Berger, Martin" userId="2dce5e24-1af4-4f49-bc50-80b59c8dc36b" providerId="ADAL" clId="{B1A8B41A-6079-43D2-B54F-50518D136075}" dt="2024-10-16T07:57:18.520" v="440" actId="478"/>
          <ac:spMkLst>
            <pc:docMk/>
            <pc:sldMk cId="2209586392" sldId="2147138229"/>
            <ac:spMk id="9" creationId="{1EDD5CE5-118B-A55C-6370-2B8ACDD6606E}"/>
          </ac:spMkLst>
        </pc:spChg>
        <pc:spChg chg="add mod">
          <ac:chgData name="Berger, Martin" userId="2dce5e24-1af4-4f49-bc50-80b59c8dc36b" providerId="ADAL" clId="{B1A8B41A-6079-43D2-B54F-50518D136075}" dt="2024-10-16T08:14:48.842" v="703" actId="20577"/>
          <ac:spMkLst>
            <pc:docMk/>
            <pc:sldMk cId="2209586392" sldId="2147138229"/>
            <ac:spMk id="10" creationId="{1EF03200-DC3E-0AA8-9613-2D9FE5CDA0BD}"/>
          </ac:spMkLst>
        </pc:spChg>
        <pc:spChg chg="add mod">
          <ac:chgData name="Berger, Martin" userId="2dce5e24-1af4-4f49-bc50-80b59c8dc36b" providerId="ADAL" clId="{B1A8B41A-6079-43D2-B54F-50518D136075}" dt="2024-10-16T08:14:16.592" v="650" actId="1076"/>
          <ac:spMkLst>
            <pc:docMk/>
            <pc:sldMk cId="2209586392" sldId="2147138229"/>
            <ac:spMk id="11" creationId="{993BCD26-6FFC-CE53-ABF0-FD2950D728D6}"/>
          </ac:spMkLst>
        </pc:spChg>
        <pc:spChg chg="add mod">
          <ac:chgData name="Berger, Martin" userId="2dce5e24-1af4-4f49-bc50-80b59c8dc36b" providerId="ADAL" clId="{B1A8B41A-6079-43D2-B54F-50518D136075}" dt="2024-10-16T08:14:16.592" v="650" actId="1076"/>
          <ac:spMkLst>
            <pc:docMk/>
            <pc:sldMk cId="2209586392" sldId="2147138229"/>
            <ac:spMk id="12" creationId="{7020E321-0D70-BA20-2EFF-91806D5FD70E}"/>
          </ac:spMkLst>
        </pc:spChg>
        <pc:spChg chg="add mod">
          <ac:chgData name="Berger, Martin" userId="2dce5e24-1af4-4f49-bc50-80b59c8dc36b" providerId="ADAL" clId="{B1A8B41A-6079-43D2-B54F-50518D136075}" dt="2024-10-16T08:14:27.119" v="652" actId="554"/>
          <ac:spMkLst>
            <pc:docMk/>
            <pc:sldMk cId="2209586392" sldId="2147138229"/>
            <ac:spMk id="13" creationId="{D5A90839-DBFA-D667-BD97-9C824FE5EE0A}"/>
          </ac:spMkLst>
        </pc:spChg>
        <pc:spChg chg="add mod">
          <ac:chgData name="Berger, Martin" userId="2dce5e24-1af4-4f49-bc50-80b59c8dc36b" providerId="ADAL" clId="{B1A8B41A-6079-43D2-B54F-50518D136075}" dt="2024-10-16T08:14:21.347" v="651" actId="554"/>
          <ac:spMkLst>
            <pc:docMk/>
            <pc:sldMk cId="2209586392" sldId="2147138229"/>
            <ac:spMk id="14" creationId="{FA79502B-A129-2B4A-2A24-10D4CDFA577D}"/>
          </ac:spMkLst>
        </pc:spChg>
        <pc:spChg chg="add mod">
          <ac:chgData name="Berger, Martin" userId="2dce5e24-1af4-4f49-bc50-80b59c8dc36b" providerId="ADAL" clId="{B1A8B41A-6079-43D2-B54F-50518D136075}" dt="2024-10-16T08:14:21.347" v="651" actId="554"/>
          <ac:spMkLst>
            <pc:docMk/>
            <pc:sldMk cId="2209586392" sldId="2147138229"/>
            <ac:spMk id="15" creationId="{17623DD9-A5C3-E003-0562-E799B3FDDDC8}"/>
          </ac:spMkLst>
        </pc:spChg>
        <pc:spChg chg="add mod">
          <ac:chgData name="Berger, Martin" userId="2dce5e24-1af4-4f49-bc50-80b59c8dc36b" providerId="ADAL" clId="{B1A8B41A-6079-43D2-B54F-50518D136075}" dt="2024-10-16T08:14:27.119" v="652" actId="554"/>
          <ac:spMkLst>
            <pc:docMk/>
            <pc:sldMk cId="2209586392" sldId="2147138229"/>
            <ac:spMk id="16" creationId="{0C888513-5D3A-1CD5-DAEC-36263BF4DD53}"/>
          </ac:spMkLst>
        </pc:spChg>
        <pc:spChg chg="mod">
          <ac:chgData name="Berger, Martin" userId="2dce5e24-1af4-4f49-bc50-80b59c8dc36b" providerId="ADAL" clId="{B1A8B41A-6079-43D2-B54F-50518D136075}" dt="2024-10-16T08:02:06.082" v="513"/>
          <ac:spMkLst>
            <pc:docMk/>
            <pc:sldMk cId="2209586392" sldId="2147138229"/>
            <ac:spMk id="20" creationId="{4796C0E0-7DA1-EC0C-9E18-FB9F6FC0253F}"/>
          </ac:spMkLst>
        </pc:spChg>
        <pc:spChg chg="mod">
          <ac:chgData name="Berger, Martin" userId="2dce5e24-1af4-4f49-bc50-80b59c8dc36b" providerId="ADAL" clId="{B1A8B41A-6079-43D2-B54F-50518D136075}" dt="2024-10-16T08:02:06.082" v="513"/>
          <ac:spMkLst>
            <pc:docMk/>
            <pc:sldMk cId="2209586392" sldId="2147138229"/>
            <ac:spMk id="21" creationId="{0FA47684-8275-9281-C0D5-7B0BB7A102BD}"/>
          </ac:spMkLst>
        </pc:spChg>
        <pc:spChg chg="mod">
          <ac:chgData name="Berger, Martin" userId="2dce5e24-1af4-4f49-bc50-80b59c8dc36b" providerId="ADAL" clId="{B1A8B41A-6079-43D2-B54F-50518D136075}" dt="2024-10-16T08:02:06.082" v="513"/>
          <ac:spMkLst>
            <pc:docMk/>
            <pc:sldMk cId="2209586392" sldId="2147138229"/>
            <ac:spMk id="24" creationId="{3B6DB7E8-79B0-F68E-75E9-7FEF000A1CCF}"/>
          </ac:spMkLst>
        </pc:spChg>
        <pc:spChg chg="mod">
          <ac:chgData name="Berger, Martin" userId="2dce5e24-1af4-4f49-bc50-80b59c8dc36b" providerId="ADAL" clId="{B1A8B41A-6079-43D2-B54F-50518D136075}" dt="2024-10-16T08:02:06.082" v="513"/>
          <ac:spMkLst>
            <pc:docMk/>
            <pc:sldMk cId="2209586392" sldId="2147138229"/>
            <ac:spMk id="25" creationId="{FFA01CF7-F10F-0961-77C0-6C2422C3577D}"/>
          </ac:spMkLst>
        </pc:spChg>
        <pc:spChg chg="mod">
          <ac:chgData name="Berger, Martin" userId="2dce5e24-1af4-4f49-bc50-80b59c8dc36b" providerId="ADAL" clId="{B1A8B41A-6079-43D2-B54F-50518D136075}" dt="2024-10-16T08:02:06.082" v="513"/>
          <ac:spMkLst>
            <pc:docMk/>
            <pc:sldMk cId="2209586392" sldId="2147138229"/>
            <ac:spMk id="26" creationId="{AD80AC2C-7C05-9441-0233-1A7D3DEF788D}"/>
          </ac:spMkLst>
        </pc:spChg>
        <pc:spChg chg="mod">
          <ac:chgData name="Berger, Martin" userId="2dce5e24-1af4-4f49-bc50-80b59c8dc36b" providerId="ADAL" clId="{B1A8B41A-6079-43D2-B54F-50518D136075}" dt="2024-10-16T08:02:06.082" v="513"/>
          <ac:spMkLst>
            <pc:docMk/>
            <pc:sldMk cId="2209586392" sldId="2147138229"/>
            <ac:spMk id="27" creationId="{2585D301-EC21-1077-052F-328306B264C8}"/>
          </ac:spMkLst>
        </pc:spChg>
        <pc:spChg chg="mod">
          <ac:chgData name="Berger, Martin" userId="2dce5e24-1af4-4f49-bc50-80b59c8dc36b" providerId="ADAL" clId="{B1A8B41A-6079-43D2-B54F-50518D136075}" dt="2024-10-16T08:02:06.082" v="513"/>
          <ac:spMkLst>
            <pc:docMk/>
            <pc:sldMk cId="2209586392" sldId="2147138229"/>
            <ac:spMk id="28" creationId="{364E13CD-E08D-191B-816A-E27E14980634}"/>
          </ac:spMkLst>
        </pc:spChg>
        <pc:spChg chg="mod">
          <ac:chgData name="Berger, Martin" userId="2dce5e24-1af4-4f49-bc50-80b59c8dc36b" providerId="ADAL" clId="{B1A8B41A-6079-43D2-B54F-50518D136075}" dt="2024-10-16T08:02:06.082" v="513"/>
          <ac:spMkLst>
            <pc:docMk/>
            <pc:sldMk cId="2209586392" sldId="2147138229"/>
            <ac:spMk id="29" creationId="{31E3939B-D078-1432-0D9A-8E4F5B12237A}"/>
          </ac:spMkLst>
        </pc:spChg>
        <pc:spChg chg="mod">
          <ac:chgData name="Berger, Martin" userId="2dce5e24-1af4-4f49-bc50-80b59c8dc36b" providerId="ADAL" clId="{B1A8B41A-6079-43D2-B54F-50518D136075}" dt="2024-10-16T08:02:06.082" v="513"/>
          <ac:spMkLst>
            <pc:docMk/>
            <pc:sldMk cId="2209586392" sldId="2147138229"/>
            <ac:spMk id="30" creationId="{6B24499A-1D47-6A73-8B4F-02598FFA08AA}"/>
          </ac:spMkLst>
        </pc:spChg>
        <pc:spChg chg="mod">
          <ac:chgData name="Berger, Martin" userId="2dce5e24-1af4-4f49-bc50-80b59c8dc36b" providerId="ADAL" clId="{B1A8B41A-6079-43D2-B54F-50518D136075}" dt="2024-10-16T08:02:06.082" v="513"/>
          <ac:spMkLst>
            <pc:docMk/>
            <pc:sldMk cId="2209586392" sldId="2147138229"/>
            <ac:spMk id="31" creationId="{43EB11B1-A52D-0C47-67D2-60830470861E}"/>
          </ac:spMkLst>
        </pc:spChg>
        <pc:spChg chg="mod">
          <ac:chgData name="Berger, Martin" userId="2dce5e24-1af4-4f49-bc50-80b59c8dc36b" providerId="ADAL" clId="{B1A8B41A-6079-43D2-B54F-50518D136075}" dt="2024-10-16T08:02:06.082" v="513"/>
          <ac:spMkLst>
            <pc:docMk/>
            <pc:sldMk cId="2209586392" sldId="2147138229"/>
            <ac:spMk id="32" creationId="{C0675B20-B7C3-84EB-2E66-48933C5D663B}"/>
          </ac:spMkLst>
        </pc:spChg>
        <pc:spChg chg="mod">
          <ac:chgData name="Berger, Martin" userId="2dce5e24-1af4-4f49-bc50-80b59c8dc36b" providerId="ADAL" clId="{B1A8B41A-6079-43D2-B54F-50518D136075}" dt="2024-10-16T08:02:06.082" v="513"/>
          <ac:spMkLst>
            <pc:docMk/>
            <pc:sldMk cId="2209586392" sldId="2147138229"/>
            <ac:spMk id="33" creationId="{D80B51D9-D830-5F10-346A-FB82CD6400D7}"/>
          </ac:spMkLst>
        </pc:spChg>
        <pc:spChg chg="mod">
          <ac:chgData name="Berger, Martin" userId="2dce5e24-1af4-4f49-bc50-80b59c8dc36b" providerId="ADAL" clId="{B1A8B41A-6079-43D2-B54F-50518D136075}" dt="2024-10-16T08:02:06.082" v="513"/>
          <ac:spMkLst>
            <pc:docMk/>
            <pc:sldMk cId="2209586392" sldId="2147138229"/>
            <ac:spMk id="34" creationId="{87114F26-58A2-6BD9-FD00-FC31612303E4}"/>
          </ac:spMkLst>
        </pc:spChg>
        <pc:spChg chg="mod">
          <ac:chgData name="Berger, Martin" userId="2dce5e24-1af4-4f49-bc50-80b59c8dc36b" providerId="ADAL" clId="{B1A8B41A-6079-43D2-B54F-50518D136075}" dt="2024-10-16T08:02:13.096" v="515"/>
          <ac:spMkLst>
            <pc:docMk/>
            <pc:sldMk cId="2209586392" sldId="2147138229"/>
            <ac:spMk id="37" creationId="{E1F39FBA-6DE7-242C-173A-39AC5E901B09}"/>
          </ac:spMkLst>
        </pc:spChg>
        <pc:spChg chg="mod">
          <ac:chgData name="Berger, Martin" userId="2dce5e24-1af4-4f49-bc50-80b59c8dc36b" providerId="ADAL" clId="{B1A8B41A-6079-43D2-B54F-50518D136075}" dt="2024-10-16T08:02:13.096" v="515"/>
          <ac:spMkLst>
            <pc:docMk/>
            <pc:sldMk cId="2209586392" sldId="2147138229"/>
            <ac:spMk id="40" creationId="{3EF4AB5F-0B72-61A8-6925-23B3E5C42C7D}"/>
          </ac:spMkLst>
        </pc:spChg>
        <pc:spChg chg="mod">
          <ac:chgData name="Berger, Martin" userId="2dce5e24-1af4-4f49-bc50-80b59c8dc36b" providerId="ADAL" clId="{B1A8B41A-6079-43D2-B54F-50518D136075}" dt="2024-10-16T08:02:13.096" v="515"/>
          <ac:spMkLst>
            <pc:docMk/>
            <pc:sldMk cId="2209586392" sldId="2147138229"/>
            <ac:spMk id="41" creationId="{160305BF-829D-E0DF-219B-09A30509D9A0}"/>
          </ac:spMkLst>
        </pc:spChg>
        <pc:spChg chg="mod">
          <ac:chgData name="Berger, Martin" userId="2dce5e24-1af4-4f49-bc50-80b59c8dc36b" providerId="ADAL" clId="{B1A8B41A-6079-43D2-B54F-50518D136075}" dt="2024-10-16T08:02:13.096" v="515"/>
          <ac:spMkLst>
            <pc:docMk/>
            <pc:sldMk cId="2209586392" sldId="2147138229"/>
            <ac:spMk id="42" creationId="{DADBB02F-E3A5-EBAF-4C14-1873E3D163AB}"/>
          </ac:spMkLst>
        </pc:spChg>
        <pc:spChg chg="mod">
          <ac:chgData name="Berger, Martin" userId="2dce5e24-1af4-4f49-bc50-80b59c8dc36b" providerId="ADAL" clId="{B1A8B41A-6079-43D2-B54F-50518D136075}" dt="2024-10-16T08:02:13.096" v="515"/>
          <ac:spMkLst>
            <pc:docMk/>
            <pc:sldMk cId="2209586392" sldId="2147138229"/>
            <ac:spMk id="43" creationId="{3913AFDA-727A-0584-BC2D-587BF9E809B2}"/>
          </ac:spMkLst>
        </pc:spChg>
        <pc:spChg chg="mod">
          <ac:chgData name="Berger, Martin" userId="2dce5e24-1af4-4f49-bc50-80b59c8dc36b" providerId="ADAL" clId="{B1A8B41A-6079-43D2-B54F-50518D136075}" dt="2024-10-16T08:02:13.096" v="515"/>
          <ac:spMkLst>
            <pc:docMk/>
            <pc:sldMk cId="2209586392" sldId="2147138229"/>
            <ac:spMk id="44" creationId="{A37FFB48-E7A8-4AF6-11C9-380CB2A5AB44}"/>
          </ac:spMkLst>
        </pc:spChg>
        <pc:spChg chg="mod">
          <ac:chgData name="Berger, Martin" userId="2dce5e24-1af4-4f49-bc50-80b59c8dc36b" providerId="ADAL" clId="{B1A8B41A-6079-43D2-B54F-50518D136075}" dt="2024-10-16T08:02:13.096" v="515"/>
          <ac:spMkLst>
            <pc:docMk/>
            <pc:sldMk cId="2209586392" sldId="2147138229"/>
            <ac:spMk id="45" creationId="{8CD7E639-A365-CCD9-D98A-93422C5CB780}"/>
          </ac:spMkLst>
        </pc:spChg>
        <pc:spChg chg="mod">
          <ac:chgData name="Berger, Martin" userId="2dce5e24-1af4-4f49-bc50-80b59c8dc36b" providerId="ADAL" clId="{B1A8B41A-6079-43D2-B54F-50518D136075}" dt="2024-10-16T08:02:13.096" v="515"/>
          <ac:spMkLst>
            <pc:docMk/>
            <pc:sldMk cId="2209586392" sldId="2147138229"/>
            <ac:spMk id="46" creationId="{FFB2509A-0C5D-669D-02F9-93260B3AD8C2}"/>
          </ac:spMkLst>
        </pc:spChg>
        <pc:spChg chg="mod">
          <ac:chgData name="Berger, Martin" userId="2dce5e24-1af4-4f49-bc50-80b59c8dc36b" providerId="ADAL" clId="{B1A8B41A-6079-43D2-B54F-50518D136075}" dt="2024-10-16T08:02:13.096" v="515"/>
          <ac:spMkLst>
            <pc:docMk/>
            <pc:sldMk cId="2209586392" sldId="2147138229"/>
            <ac:spMk id="47" creationId="{1020A5EB-20AE-DEEC-5292-E87D57C3E15F}"/>
          </ac:spMkLst>
        </pc:spChg>
        <pc:spChg chg="mod">
          <ac:chgData name="Berger, Martin" userId="2dce5e24-1af4-4f49-bc50-80b59c8dc36b" providerId="ADAL" clId="{B1A8B41A-6079-43D2-B54F-50518D136075}" dt="2024-10-16T08:02:20.346" v="517"/>
          <ac:spMkLst>
            <pc:docMk/>
            <pc:sldMk cId="2209586392" sldId="2147138229"/>
            <ac:spMk id="50" creationId="{C74CB4E3-90E9-F611-52C2-812F145465E5}"/>
          </ac:spMkLst>
        </pc:spChg>
        <pc:spChg chg="mod">
          <ac:chgData name="Berger, Martin" userId="2dce5e24-1af4-4f49-bc50-80b59c8dc36b" providerId="ADAL" clId="{B1A8B41A-6079-43D2-B54F-50518D136075}" dt="2024-10-16T08:02:20.346" v="517"/>
          <ac:spMkLst>
            <pc:docMk/>
            <pc:sldMk cId="2209586392" sldId="2147138229"/>
            <ac:spMk id="53" creationId="{A612B32D-ECDC-A1B7-736C-716D24720494}"/>
          </ac:spMkLst>
        </pc:spChg>
        <pc:spChg chg="mod">
          <ac:chgData name="Berger, Martin" userId="2dce5e24-1af4-4f49-bc50-80b59c8dc36b" providerId="ADAL" clId="{B1A8B41A-6079-43D2-B54F-50518D136075}" dt="2024-10-16T08:02:20.346" v="517"/>
          <ac:spMkLst>
            <pc:docMk/>
            <pc:sldMk cId="2209586392" sldId="2147138229"/>
            <ac:spMk id="54" creationId="{8223451D-3974-D134-598D-D20CF2ECE52D}"/>
          </ac:spMkLst>
        </pc:spChg>
        <pc:spChg chg="mod">
          <ac:chgData name="Berger, Martin" userId="2dce5e24-1af4-4f49-bc50-80b59c8dc36b" providerId="ADAL" clId="{B1A8B41A-6079-43D2-B54F-50518D136075}" dt="2024-10-16T08:02:20.346" v="517"/>
          <ac:spMkLst>
            <pc:docMk/>
            <pc:sldMk cId="2209586392" sldId="2147138229"/>
            <ac:spMk id="55" creationId="{AF93D912-B629-9194-20CC-B652C49F1C90}"/>
          </ac:spMkLst>
        </pc:spChg>
        <pc:spChg chg="mod">
          <ac:chgData name="Berger, Martin" userId="2dce5e24-1af4-4f49-bc50-80b59c8dc36b" providerId="ADAL" clId="{B1A8B41A-6079-43D2-B54F-50518D136075}" dt="2024-10-16T08:02:20.346" v="517"/>
          <ac:spMkLst>
            <pc:docMk/>
            <pc:sldMk cId="2209586392" sldId="2147138229"/>
            <ac:spMk id="56" creationId="{0BAE8EBB-4939-8C99-0077-35CAD08F5AAF}"/>
          </ac:spMkLst>
        </pc:spChg>
        <pc:spChg chg="mod">
          <ac:chgData name="Berger, Martin" userId="2dce5e24-1af4-4f49-bc50-80b59c8dc36b" providerId="ADAL" clId="{B1A8B41A-6079-43D2-B54F-50518D136075}" dt="2024-10-16T08:02:20.346" v="517"/>
          <ac:spMkLst>
            <pc:docMk/>
            <pc:sldMk cId="2209586392" sldId="2147138229"/>
            <ac:spMk id="57" creationId="{33A08253-588C-141C-981F-E86DF4763775}"/>
          </ac:spMkLst>
        </pc:spChg>
        <pc:spChg chg="mod">
          <ac:chgData name="Berger, Martin" userId="2dce5e24-1af4-4f49-bc50-80b59c8dc36b" providerId="ADAL" clId="{B1A8B41A-6079-43D2-B54F-50518D136075}" dt="2024-10-16T08:02:20.346" v="517"/>
          <ac:spMkLst>
            <pc:docMk/>
            <pc:sldMk cId="2209586392" sldId="2147138229"/>
            <ac:spMk id="58" creationId="{1BBF4BDB-D463-862B-A46B-436196F558AA}"/>
          </ac:spMkLst>
        </pc:spChg>
        <pc:spChg chg="mod">
          <ac:chgData name="Berger, Martin" userId="2dce5e24-1af4-4f49-bc50-80b59c8dc36b" providerId="ADAL" clId="{B1A8B41A-6079-43D2-B54F-50518D136075}" dt="2024-10-16T08:02:20.346" v="517"/>
          <ac:spMkLst>
            <pc:docMk/>
            <pc:sldMk cId="2209586392" sldId="2147138229"/>
            <ac:spMk id="59" creationId="{1F21AF6D-1974-AFE7-6EC9-F42603623AEF}"/>
          </ac:spMkLst>
        </pc:spChg>
        <pc:spChg chg="mod">
          <ac:chgData name="Berger, Martin" userId="2dce5e24-1af4-4f49-bc50-80b59c8dc36b" providerId="ADAL" clId="{B1A8B41A-6079-43D2-B54F-50518D136075}" dt="2024-10-16T08:02:34.046" v="520"/>
          <ac:spMkLst>
            <pc:docMk/>
            <pc:sldMk cId="2209586392" sldId="2147138229"/>
            <ac:spMk id="63" creationId="{7B06C793-A0F1-8784-3708-4D27984361E5}"/>
          </ac:spMkLst>
        </pc:spChg>
        <pc:spChg chg="mod">
          <ac:chgData name="Berger, Martin" userId="2dce5e24-1af4-4f49-bc50-80b59c8dc36b" providerId="ADAL" clId="{B1A8B41A-6079-43D2-B54F-50518D136075}" dt="2024-10-16T08:02:34.046" v="520"/>
          <ac:spMkLst>
            <pc:docMk/>
            <pc:sldMk cId="2209586392" sldId="2147138229"/>
            <ac:spMk id="64" creationId="{5D590339-6F85-ED44-339C-A29C01E4A2E6}"/>
          </ac:spMkLst>
        </pc:spChg>
        <pc:spChg chg="mod">
          <ac:chgData name="Berger, Martin" userId="2dce5e24-1af4-4f49-bc50-80b59c8dc36b" providerId="ADAL" clId="{B1A8B41A-6079-43D2-B54F-50518D136075}" dt="2024-10-16T08:02:34.046" v="520"/>
          <ac:spMkLst>
            <pc:docMk/>
            <pc:sldMk cId="2209586392" sldId="2147138229"/>
            <ac:spMk id="66" creationId="{846B0682-A7B4-5A65-61BC-42024932D3BC}"/>
          </ac:spMkLst>
        </pc:spChg>
        <pc:spChg chg="mod">
          <ac:chgData name="Berger, Martin" userId="2dce5e24-1af4-4f49-bc50-80b59c8dc36b" providerId="ADAL" clId="{B1A8B41A-6079-43D2-B54F-50518D136075}" dt="2024-10-16T08:02:34.046" v="520"/>
          <ac:spMkLst>
            <pc:docMk/>
            <pc:sldMk cId="2209586392" sldId="2147138229"/>
            <ac:spMk id="67" creationId="{14F29D7D-08E1-2DD4-7B78-776209CF75A7}"/>
          </ac:spMkLst>
        </pc:spChg>
        <pc:spChg chg="mod">
          <ac:chgData name="Berger, Martin" userId="2dce5e24-1af4-4f49-bc50-80b59c8dc36b" providerId="ADAL" clId="{B1A8B41A-6079-43D2-B54F-50518D136075}" dt="2024-10-16T08:02:34.046" v="520"/>
          <ac:spMkLst>
            <pc:docMk/>
            <pc:sldMk cId="2209586392" sldId="2147138229"/>
            <ac:spMk id="68" creationId="{4F41968B-1F8E-8E89-DF5F-FF5502C494D4}"/>
          </ac:spMkLst>
        </pc:spChg>
        <pc:grpChg chg="add del mod">
          <ac:chgData name="Berger, Martin" userId="2dce5e24-1af4-4f49-bc50-80b59c8dc36b" providerId="ADAL" clId="{B1A8B41A-6079-43D2-B54F-50518D136075}" dt="2024-10-16T08:11:56.315" v="608" actId="478"/>
          <ac:grpSpMkLst>
            <pc:docMk/>
            <pc:sldMk cId="2209586392" sldId="2147138229"/>
            <ac:grpSpMk id="17" creationId="{AD636204-B59C-BC76-EB52-0DC8574A2F17}"/>
          </ac:grpSpMkLst>
        </pc:grpChg>
        <pc:grpChg chg="mod">
          <ac:chgData name="Berger, Martin" userId="2dce5e24-1af4-4f49-bc50-80b59c8dc36b" providerId="ADAL" clId="{B1A8B41A-6079-43D2-B54F-50518D136075}" dt="2024-10-16T08:02:06.082" v="513"/>
          <ac:grpSpMkLst>
            <pc:docMk/>
            <pc:sldMk cId="2209586392" sldId="2147138229"/>
            <ac:grpSpMk id="18" creationId="{5E173D78-AD49-FB6E-AB25-0792A7A3F91F}"/>
          </ac:grpSpMkLst>
        </pc:grpChg>
        <pc:grpChg chg="mod">
          <ac:chgData name="Berger, Martin" userId="2dce5e24-1af4-4f49-bc50-80b59c8dc36b" providerId="ADAL" clId="{B1A8B41A-6079-43D2-B54F-50518D136075}" dt="2024-10-16T08:02:06.082" v="513"/>
          <ac:grpSpMkLst>
            <pc:docMk/>
            <pc:sldMk cId="2209586392" sldId="2147138229"/>
            <ac:grpSpMk id="19" creationId="{36BCA843-6D05-CAD7-C640-5135EB361F62}"/>
          </ac:grpSpMkLst>
        </pc:grpChg>
        <pc:grpChg chg="mod">
          <ac:chgData name="Berger, Martin" userId="2dce5e24-1af4-4f49-bc50-80b59c8dc36b" providerId="ADAL" clId="{B1A8B41A-6079-43D2-B54F-50518D136075}" dt="2024-10-16T08:02:06.082" v="513"/>
          <ac:grpSpMkLst>
            <pc:docMk/>
            <pc:sldMk cId="2209586392" sldId="2147138229"/>
            <ac:grpSpMk id="22" creationId="{8BA6AE65-9A4C-1504-DA52-D4673A2D92DB}"/>
          </ac:grpSpMkLst>
        </pc:grpChg>
        <pc:grpChg chg="mod">
          <ac:chgData name="Berger, Martin" userId="2dce5e24-1af4-4f49-bc50-80b59c8dc36b" providerId="ADAL" clId="{B1A8B41A-6079-43D2-B54F-50518D136075}" dt="2024-10-16T08:02:06.082" v="513"/>
          <ac:grpSpMkLst>
            <pc:docMk/>
            <pc:sldMk cId="2209586392" sldId="2147138229"/>
            <ac:grpSpMk id="23" creationId="{ED02FEB7-DEF4-B508-E21A-6306E8EF19AC}"/>
          </ac:grpSpMkLst>
        </pc:grpChg>
        <pc:grpChg chg="add del mod">
          <ac:chgData name="Berger, Martin" userId="2dce5e24-1af4-4f49-bc50-80b59c8dc36b" providerId="ADAL" clId="{B1A8B41A-6079-43D2-B54F-50518D136075}" dt="2024-10-16T08:11:56.315" v="608" actId="478"/>
          <ac:grpSpMkLst>
            <pc:docMk/>
            <pc:sldMk cId="2209586392" sldId="2147138229"/>
            <ac:grpSpMk id="35" creationId="{F110B986-D28C-A735-FEC3-4F0040D1643B}"/>
          </ac:grpSpMkLst>
        </pc:grpChg>
        <pc:grpChg chg="mod">
          <ac:chgData name="Berger, Martin" userId="2dce5e24-1af4-4f49-bc50-80b59c8dc36b" providerId="ADAL" clId="{B1A8B41A-6079-43D2-B54F-50518D136075}" dt="2024-10-16T08:02:13.096" v="515"/>
          <ac:grpSpMkLst>
            <pc:docMk/>
            <pc:sldMk cId="2209586392" sldId="2147138229"/>
            <ac:grpSpMk id="36" creationId="{0F353128-2DCF-492A-865A-6CF9648EC63C}"/>
          </ac:grpSpMkLst>
        </pc:grpChg>
        <pc:grpChg chg="mod">
          <ac:chgData name="Berger, Martin" userId="2dce5e24-1af4-4f49-bc50-80b59c8dc36b" providerId="ADAL" clId="{B1A8B41A-6079-43D2-B54F-50518D136075}" dt="2024-10-16T08:02:13.096" v="515"/>
          <ac:grpSpMkLst>
            <pc:docMk/>
            <pc:sldMk cId="2209586392" sldId="2147138229"/>
            <ac:grpSpMk id="38" creationId="{4B3E2CDC-9C95-EEC5-20B1-5DA1303B18FC}"/>
          </ac:grpSpMkLst>
        </pc:grpChg>
        <pc:grpChg chg="mod">
          <ac:chgData name="Berger, Martin" userId="2dce5e24-1af4-4f49-bc50-80b59c8dc36b" providerId="ADAL" clId="{B1A8B41A-6079-43D2-B54F-50518D136075}" dt="2024-10-16T08:02:13.096" v="515"/>
          <ac:grpSpMkLst>
            <pc:docMk/>
            <pc:sldMk cId="2209586392" sldId="2147138229"/>
            <ac:grpSpMk id="39" creationId="{2ABB93D9-BB32-2B94-78F6-F9580FC107A4}"/>
          </ac:grpSpMkLst>
        </pc:grpChg>
        <pc:grpChg chg="add del mod">
          <ac:chgData name="Berger, Martin" userId="2dce5e24-1af4-4f49-bc50-80b59c8dc36b" providerId="ADAL" clId="{B1A8B41A-6079-43D2-B54F-50518D136075}" dt="2024-10-16T08:11:56.315" v="608" actId="478"/>
          <ac:grpSpMkLst>
            <pc:docMk/>
            <pc:sldMk cId="2209586392" sldId="2147138229"/>
            <ac:grpSpMk id="48" creationId="{D7A8BB77-4E75-7F7E-6946-69EC16A028FA}"/>
          </ac:grpSpMkLst>
        </pc:grpChg>
        <pc:grpChg chg="mod">
          <ac:chgData name="Berger, Martin" userId="2dce5e24-1af4-4f49-bc50-80b59c8dc36b" providerId="ADAL" clId="{B1A8B41A-6079-43D2-B54F-50518D136075}" dt="2024-10-16T08:02:20.346" v="517"/>
          <ac:grpSpMkLst>
            <pc:docMk/>
            <pc:sldMk cId="2209586392" sldId="2147138229"/>
            <ac:grpSpMk id="49" creationId="{B76E8ADC-CCEF-1F9F-12BA-0273FE498532}"/>
          </ac:grpSpMkLst>
        </pc:grpChg>
        <pc:grpChg chg="mod">
          <ac:chgData name="Berger, Martin" userId="2dce5e24-1af4-4f49-bc50-80b59c8dc36b" providerId="ADAL" clId="{B1A8B41A-6079-43D2-B54F-50518D136075}" dt="2024-10-16T08:02:20.346" v="517"/>
          <ac:grpSpMkLst>
            <pc:docMk/>
            <pc:sldMk cId="2209586392" sldId="2147138229"/>
            <ac:grpSpMk id="51" creationId="{71FDEA6B-C245-9882-E30A-6BD8F1915858}"/>
          </ac:grpSpMkLst>
        </pc:grpChg>
        <pc:grpChg chg="mod">
          <ac:chgData name="Berger, Martin" userId="2dce5e24-1af4-4f49-bc50-80b59c8dc36b" providerId="ADAL" clId="{B1A8B41A-6079-43D2-B54F-50518D136075}" dt="2024-10-16T08:02:20.346" v="517"/>
          <ac:grpSpMkLst>
            <pc:docMk/>
            <pc:sldMk cId="2209586392" sldId="2147138229"/>
            <ac:grpSpMk id="52" creationId="{7F516AEC-017F-0E42-C305-A27EA97D8179}"/>
          </ac:grpSpMkLst>
        </pc:grpChg>
        <pc:grpChg chg="add del mod">
          <ac:chgData name="Berger, Martin" userId="2dce5e24-1af4-4f49-bc50-80b59c8dc36b" providerId="ADAL" clId="{B1A8B41A-6079-43D2-B54F-50518D136075}" dt="2024-10-16T08:11:56.315" v="608" actId="478"/>
          <ac:grpSpMkLst>
            <pc:docMk/>
            <pc:sldMk cId="2209586392" sldId="2147138229"/>
            <ac:grpSpMk id="60" creationId="{ADCB7B2F-7686-A484-07DF-DD88E5873AE7}"/>
          </ac:grpSpMkLst>
        </pc:grpChg>
        <pc:grpChg chg="mod">
          <ac:chgData name="Berger, Martin" userId="2dce5e24-1af4-4f49-bc50-80b59c8dc36b" providerId="ADAL" clId="{B1A8B41A-6079-43D2-B54F-50518D136075}" dt="2024-10-16T08:02:34.046" v="520"/>
          <ac:grpSpMkLst>
            <pc:docMk/>
            <pc:sldMk cId="2209586392" sldId="2147138229"/>
            <ac:grpSpMk id="61" creationId="{206586B5-8B1E-8338-A0C1-8F5FE9F1440A}"/>
          </ac:grpSpMkLst>
        </pc:grpChg>
        <pc:grpChg chg="mod">
          <ac:chgData name="Berger, Martin" userId="2dce5e24-1af4-4f49-bc50-80b59c8dc36b" providerId="ADAL" clId="{B1A8B41A-6079-43D2-B54F-50518D136075}" dt="2024-10-16T08:02:34.046" v="520"/>
          <ac:grpSpMkLst>
            <pc:docMk/>
            <pc:sldMk cId="2209586392" sldId="2147138229"/>
            <ac:grpSpMk id="62" creationId="{E8D8EF67-E24B-D1A1-5B6C-0B107A0858A7}"/>
          </ac:grpSpMkLst>
        </pc:grpChg>
        <pc:grpChg chg="mod">
          <ac:chgData name="Berger, Martin" userId="2dce5e24-1af4-4f49-bc50-80b59c8dc36b" providerId="ADAL" clId="{B1A8B41A-6079-43D2-B54F-50518D136075}" dt="2024-10-16T08:02:34.046" v="520"/>
          <ac:grpSpMkLst>
            <pc:docMk/>
            <pc:sldMk cId="2209586392" sldId="2147138229"/>
            <ac:grpSpMk id="65" creationId="{990ED53A-56B0-82B9-63A4-4D46D227F6A8}"/>
          </ac:grpSpMkLst>
        </pc:grpChg>
        <pc:picChg chg="add del mod">
          <ac:chgData name="Berger, Martin" userId="2dce5e24-1af4-4f49-bc50-80b59c8dc36b" providerId="ADAL" clId="{B1A8B41A-6079-43D2-B54F-50518D136075}" dt="2024-10-16T08:03:25.915" v="531" actId="478"/>
          <ac:picMkLst>
            <pc:docMk/>
            <pc:sldMk cId="2209586392" sldId="2147138229"/>
            <ac:picMk id="70" creationId="{A1EBBEC4-6491-CE5B-3033-91E02BEAC7AA}"/>
          </ac:picMkLst>
        </pc:picChg>
        <pc:picChg chg="add del mod">
          <ac:chgData name="Berger, Martin" userId="2dce5e24-1af4-4f49-bc50-80b59c8dc36b" providerId="ADAL" clId="{B1A8B41A-6079-43D2-B54F-50518D136075}" dt="2024-10-16T08:09:25.163" v="595" actId="478"/>
          <ac:picMkLst>
            <pc:docMk/>
            <pc:sldMk cId="2209586392" sldId="2147138229"/>
            <ac:picMk id="72" creationId="{1BA3A047-E15F-D043-A5E4-FB5FCD194264}"/>
          </ac:picMkLst>
        </pc:picChg>
        <pc:picChg chg="add del">
          <ac:chgData name="Berger, Martin" userId="2dce5e24-1af4-4f49-bc50-80b59c8dc36b" providerId="ADAL" clId="{B1A8B41A-6079-43D2-B54F-50518D136075}" dt="2024-10-16T08:06:35.135" v="579" actId="478"/>
          <ac:picMkLst>
            <pc:docMk/>
            <pc:sldMk cId="2209586392" sldId="2147138229"/>
            <ac:picMk id="74" creationId="{84A0322D-3A04-6268-DC8E-B61E3EFDBAC8}"/>
          </ac:picMkLst>
        </pc:picChg>
        <pc:picChg chg="add mod">
          <ac:chgData name="Berger, Martin" userId="2dce5e24-1af4-4f49-bc50-80b59c8dc36b" providerId="ADAL" clId="{B1A8B41A-6079-43D2-B54F-50518D136075}" dt="2024-10-16T08:13:23.497" v="641" actId="208"/>
          <ac:picMkLst>
            <pc:docMk/>
            <pc:sldMk cId="2209586392" sldId="2147138229"/>
            <ac:picMk id="76" creationId="{5253FBFE-7D80-B320-5379-98D4F40BA823}"/>
          </ac:picMkLst>
        </pc:picChg>
        <pc:picChg chg="add mod">
          <ac:chgData name="Berger, Martin" userId="2dce5e24-1af4-4f49-bc50-80b59c8dc36b" providerId="ADAL" clId="{B1A8B41A-6079-43D2-B54F-50518D136075}" dt="2024-10-16T08:12:15.387" v="616" actId="1076"/>
          <ac:picMkLst>
            <pc:docMk/>
            <pc:sldMk cId="2209586392" sldId="2147138229"/>
            <ac:picMk id="1026" creationId="{3F1A10B1-8C25-FF70-9C23-19BDA803D2BF}"/>
          </ac:picMkLst>
        </pc:picChg>
        <pc:picChg chg="add mod">
          <ac:chgData name="Berger, Martin" userId="2dce5e24-1af4-4f49-bc50-80b59c8dc36b" providerId="ADAL" clId="{B1A8B41A-6079-43D2-B54F-50518D136075}" dt="2024-10-16T08:13:19.380" v="638" actId="208"/>
          <ac:picMkLst>
            <pc:docMk/>
            <pc:sldMk cId="2209586392" sldId="2147138229"/>
            <ac:picMk id="1028" creationId="{70677A46-E7EA-3318-8723-9526BEB595F8}"/>
          </ac:picMkLst>
        </pc:picChg>
        <pc:picChg chg="add del">
          <ac:chgData name="Berger, Martin" userId="2dce5e24-1af4-4f49-bc50-80b59c8dc36b" providerId="ADAL" clId="{B1A8B41A-6079-43D2-B54F-50518D136075}" dt="2024-10-16T08:10:08.632" v="599" actId="478"/>
          <ac:picMkLst>
            <pc:docMk/>
            <pc:sldMk cId="2209586392" sldId="2147138229"/>
            <ac:picMk id="1030" creationId="{62B74EA3-68E6-437F-59FF-13BA9A42225C}"/>
          </ac:picMkLst>
        </pc:picChg>
        <pc:picChg chg="add del mod">
          <ac:chgData name="Berger, Martin" userId="2dce5e24-1af4-4f49-bc50-80b59c8dc36b" providerId="ADAL" clId="{B1A8B41A-6079-43D2-B54F-50518D136075}" dt="2024-10-16T08:10:19.543" v="603" actId="478"/>
          <ac:picMkLst>
            <pc:docMk/>
            <pc:sldMk cId="2209586392" sldId="2147138229"/>
            <ac:picMk id="1032" creationId="{E15322CD-0FD7-BA58-EFEF-604D906DDFCB}"/>
          </ac:picMkLst>
        </pc:picChg>
        <pc:picChg chg="add mod">
          <ac:chgData name="Berger, Martin" userId="2dce5e24-1af4-4f49-bc50-80b59c8dc36b" providerId="ADAL" clId="{B1A8B41A-6079-43D2-B54F-50518D136075}" dt="2024-10-16T08:12:15.387" v="616" actId="1076"/>
          <ac:picMkLst>
            <pc:docMk/>
            <pc:sldMk cId="2209586392" sldId="2147138229"/>
            <ac:picMk id="1034" creationId="{8A8C3B93-827D-D68E-1616-E009779E8670}"/>
          </ac:picMkLst>
        </pc:picChg>
      </pc:sldChg>
      <pc:sldChg chg="addSp modSp add mod">
        <pc:chgData name="Berger, Martin" userId="2dce5e24-1af4-4f49-bc50-80b59c8dc36b" providerId="ADAL" clId="{B1A8B41A-6079-43D2-B54F-50518D136075}" dt="2024-10-16T12:01:24.016" v="1329" actId="20577"/>
        <pc:sldMkLst>
          <pc:docMk/>
          <pc:sldMk cId="3703109535" sldId="2147138230"/>
        </pc:sldMkLst>
        <pc:spChg chg="mod">
          <ac:chgData name="Berger, Martin" userId="2dce5e24-1af4-4f49-bc50-80b59c8dc36b" providerId="ADAL" clId="{B1A8B41A-6079-43D2-B54F-50518D136075}" dt="2024-10-16T12:01:24.016" v="1329" actId="20577"/>
          <ac:spMkLst>
            <pc:docMk/>
            <pc:sldMk cId="3703109535" sldId="2147138230"/>
            <ac:spMk id="2" creationId="{1E6E8C83-5604-6800-8503-08C9674A39D3}"/>
          </ac:spMkLst>
        </pc:spChg>
        <pc:spChg chg="mod">
          <ac:chgData name="Berger, Martin" userId="2dce5e24-1af4-4f49-bc50-80b59c8dc36b" providerId="ADAL" clId="{B1A8B41A-6079-43D2-B54F-50518D136075}" dt="2024-10-16T11:52:38.883" v="1230" actId="20577"/>
          <ac:spMkLst>
            <pc:docMk/>
            <pc:sldMk cId="3703109535" sldId="2147138230"/>
            <ac:spMk id="3" creationId="{998C4BBF-A242-24EA-B3CA-4B13BF528F10}"/>
          </ac:spMkLst>
        </pc:spChg>
        <pc:picChg chg="add mod">
          <ac:chgData name="Berger, Martin" userId="2dce5e24-1af4-4f49-bc50-80b59c8dc36b" providerId="ADAL" clId="{B1A8B41A-6079-43D2-B54F-50518D136075}" dt="2024-10-16T08:45:57.416" v="1046" actId="208"/>
          <ac:picMkLst>
            <pc:docMk/>
            <pc:sldMk cId="3703109535" sldId="2147138230"/>
            <ac:picMk id="7" creationId="{88C8684A-6C52-C569-D51A-2C8A72AF2F0A}"/>
          </ac:picMkLst>
        </pc:picChg>
      </pc:sldChg>
      <pc:sldChg chg="addSp delSp modSp add mod ord">
        <pc:chgData name="Berger, Martin" userId="2dce5e24-1af4-4f49-bc50-80b59c8dc36b" providerId="ADAL" clId="{B1A8B41A-6079-43D2-B54F-50518D136075}" dt="2024-10-16T13:09:16.608" v="2419" actId="208"/>
        <pc:sldMkLst>
          <pc:docMk/>
          <pc:sldMk cId="1963409270" sldId="2147138231"/>
        </pc:sldMkLst>
        <pc:spChg chg="mod">
          <ac:chgData name="Berger, Martin" userId="2dce5e24-1af4-4f49-bc50-80b59c8dc36b" providerId="ADAL" clId="{B1A8B41A-6079-43D2-B54F-50518D136075}" dt="2024-10-16T13:07:09.463" v="2349" actId="20577"/>
          <ac:spMkLst>
            <pc:docMk/>
            <pc:sldMk cId="1963409270" sldId="2147138231"/>
            <ac:spMk id="2" creationId="{1E6E8C83-5604-6800-8503-08C9674A39D3}"/>
          </ac:spMkLst>
        </pc:spChg>
        <pc:spChg chg="mod">
          <ac:chgData name="Berger, Martin" userId="2dce5e24-1af4-4f49-bc50-80b59c8dc36b" providerId="ADAL" clId="{B1A8B41A-6079-43D2-B54F-50518D136075}" dt="2024-10-16T13:00:38.340" v="2009" actId="255"/>
          <ac:spMkLst>
            <pc:docMk/>
            <pc:sldMk cId="1963409270" sldId="2147138231"/>
            <ac:spMk id="3" creationId="{998C4BBF-A242-24EA-B3CA-4B13BF528F10}"/>
          </ac:spMkLst>
        </pc:spChg>
        <pc:spChg chg="add del">
          <ac:chgData name="Berger, Martin" userId="2dce5e24-1af4-4f49-bc50-80b59c8dc36b" providerId="ADAL" clId="{B1A8B41A-6079-43D2-B54F-50518D136075}" dt="2024-10-16T13:01:00.194" v="2011" actId="22"/>
          <ac:spMkLst>
            <pc:docMk/>
            <pc:sldMk cId="1963409270" sldId="2147138231"/>
            <ac:spMk id="7" creationId="{0C8D8E58-D15A-A723-49C3-D6DCF82DB5A3}"/>
          </ac:spMkLst>
        </pc:spChg>
        <pc:picChg chg="add del mod">
          <ac:chgData name="Berger, Martin" userId="2dce5e24-1af4-4f49-bc50-80b59c8dc36b" providerId="ADAL" clId="{B1A8B41A-6079-43D2-B54F-50518D136075}" dt="2024-10-16T13:09:09.669" v="2415" actId="478"/>
          <ac:picMkLst>
            <pc:docMk/>
            <pc:sldMk cId="1963409270" sldId="2147138231"/>
            <ac:picMk id="9" creationId="{E713D9D8-2982-7A7F-0B93-482C175EF053}"/>
          </ac:picMkLst>
        </pc:picChg>
        <pc:picChg chg="add mod">
          <ac:chgData name="Berger, Martin" userId="2dce5e24-1af4-4f49-bc50-80b59c8dc36b" providerId="ADAL" clId="{B1A8B41A-6079-43D2-B54F-50518D136075}" dt="2024-10-16T13:09:16.608" v="2419" actId="208"/>
          <ac:picMkLst>
            <pc:docMk/>
            <pc:sldMk cId="1963409270" sldId="2147138231"/>
            <ac:picMk id="11" creationId="{43FAD0F4-C9DD-AB10-4CBE-4468A10B7701}"/>
          </ac:picMkLst>
        </pc:picChg>
      </pc:sldChg>
      <pc:sldChg chg="modSp add del mod">
        <pc:chgData name="Berger, Martin" userId="2dce5e24-1af4-4f49-bc50-80b59c8dc36b" providerId="ADAL" clId="{B1A8B41A-6079-43D2-B54F-50518D136075}" dt="2024-10-16T13:09:55.536" v="2421" actId="47"/>
        <pc:sldMkLst>
          <pc:docMk/>
          <pc:sldMk cId="3947372127" sldId="2147138232"/>
        </pc:sldMkLst>
        <pc:spChg chg="mod">
          <ac:chgData name="Berger, Martin" userId="2dce5e24-1af4-4f49-bc50-80b59c8dc36b" providerId="ADAL" clId="{B1A8B41A-6079-43D2-B54F-50518D136075}" dt="2024-10-16T07:16:06.989" v="97"/>
          <ac:spMkLst>
            <pc:docMk/>
            <pc:sldMk cId="3947372127" sldId="2147138232"/>
            <ac:spMk id="2" creationId="{1E6E8C83-5604-6800-8503-08C9674A39D3}"/>
          </ac:spMkLst>
        </pc:spChg>
      </pc:sldChg>
      <pc:sldChg chg="modSp add mod">
        <pc:chgData name="Berger, Martin" userId="2dce5e24-1af4-4f49-bc50-80b59c8dc36b" providerId="ADAL" clId="{B1A8B41A-6079-43D2-B54F-50518D136075}" dt="2024-10-16T07:16:43.113" v="128"/>
        <pc:sldMkLst>
          <pc:docMk/>
          <pc:sldMk cId="1022471557" sldId="2147138233"/>
        </pc:sldMkLst>
        <pc:spChg chg="mod">
          <ac:chgData name="Berger, Martin" userId="2dce5e24-1af4-4f49-bc50-80b59c8dc36b" providerId="ADAL" clId="{B1A8B41A-6079-43D2-B54F-50518D136075}" dt="2024-10-16T07:16:43.113" v="128"/>
          <ac:spMkLst>
            <pc:docMk/>
            <pc:sldMk cId="1022471557" sldId="2147138233"/>
            <ac:spMk id="2" creationId="{1E6E8C83-5604-6800-8503-08C9674A39D3}"/>
          </ac:spMkLst>
        </pc:spChg>
      </pc:sldChg>
      <pc:sldChg chg="addSp delSp modSp add mod">
        <pc:chgData name="Berger, Martin" userId="2dce5e24-1af4-4f49-bc50-80b59c8dc36b" providerId="ADAL" clId="{B1A8B41A-6079-43D2-B54F-50518D136075}" dt="2024-10-16T07:16:52.834" v="131"/>
        <pc:sldMkLst>
          <pc:docMk/>
          <pc:sldMk cId="803005744" sldId="2147138234"/>
        </pc:sldMkLst>
        <pc:spChg chg="mod">
          <ac:chgData name="Berger, Martin" userId="2dce5e24-1af4-4f49-bc50-80b59c8dc36b" providerId="ADAL" clId="{B1A8B41A-6079-43D2-B54F-50518D136075}" dt="2024-10-16T07:16:52.834" v="131"/>
          <ac:spMkLst>
            <pc:docMk/>
            <pc:sldMk cId="803005744" sldId="2147138234"/>
            <ac:spMk id="2" creationId="{1E6E8C83-5604-6800-8503-08C9674A39D3}"/>
          </ac:spMkLst>
        </pc:spChg>
        <pc:spChg chg="add del">
          <ac:chgData name="Berger, Martin" userId="2dce5e24-1af4-4f49-bc50-80b59c8dc36b" providerId="ADAL" clId="{B1A8B41A-6079-43D2-B54F-50518D136075}" dt="2024-10-16T07:16:50.219" v="130" actId="22"/>
          <ac:spMkLst>
            <pc:docMk/>
            <pc:sldMk cId="803005744" sldId="2147138234"/>
            <ac:spMk id="7" creationId="{BABACBF2-6BB3-CDE6-27FB-9F878539E47E}"/>
          </ac:spMkLst>
        </pc:spChg>
      </pc:sldChg>
      <pc:sldChg chg="modSp add mod">
        <pc:chgData name="Berger, Martin" userId="2dce5e24-1af4-4f49-bc50-80b59c8dc36b" providerId="ADAL" clId="{B1A8B41A-6079-43D2-B54F-50518D136075}" dt="2024-10-16T07:17:29.484" v="168" actId="5793"/>
        <pc:sldMkLst>
          <pc:docMk/>
          <pc:sldMk cId="3358334838" sldId="2147138235"/>
        </pc:sldMkLst>
        <pc:spChg chg="mod">
          <ac:chgData name="Berger, Martin" userId="2dce5e24-1af4-4f49-bc50-80b59c8dc36b" providerId="ADAL" clId="{B1A8B41A-6079-43D2-B54F-50518D136075}" dt="2024-10-16T07:17:24.203" v="166"/>
          <ac:spMkLst>
            <pc:docMk/>
            <pc:sldMk cId="3358334838" sldId="2147138235"/>
            <ac:spMk id="2" creationId="{1E6E8C83-5604-6800-8503-08C9674A39D3}"/>
          </ac:spMkLst>
        </pc:spChg>
        <pc:spChg chg="mod">
          <ac:chgData name="Berger, Martin" userId="2dce5e24-1af4-4f49-bc50-80b59c8dc36b" providerId="ADAL" clId="{B1A8B41A-6079-43D2-B54F-50518D136075}" dt="2024-10-16T07:17:29.484" v="168" actId="5793"/>
          <ac:spMkLst>
            <pc:docMk/>
            <pc:sldMk cId="3358334838" sldId="2147138235"/>
            <ac:spMk id="3" creationId="{998C4BBF-A242-24EA-B3CA-4B13BF528F10}"/>
          </ac:spMkLst>
        </pc:spChg>
      </pc:sldChg>
      <pc:sldChg chg="modSp add mod">
        <pc:chgData name="Berger, Martin" userId="2dce5e24-1af4-4f49-bc50-80b59c8dc36b" providerId="ADAL" clId="{B1A8B41A-6079-43D2-B54F-50518D136075}" dt="2024-10-16T07:17:35.474" v="169"/>
        <pc:sldMkLst>
          <pc:docMk/>
          <pc:sldMk cId="2567536601" sldId="2147138236"/>
        </pc:sldMkLst>
        <pc:spChg chg="mod">
          <ac:chgData name="Berger, Martin" userId="2dce5e24-1af4-4f49-bc50-80b59c8dc36b" providerId="ADAL" clId="{B1A8B41A-6079-43D2-B54F-50518D136075}" dt="2024-10-16T07:17:35.474" v="169"/>
          <ac:spMkLst>
            <pc:docMk/>
            <pc:sldMk cId="2567536601" sldId="2147138236"/>
            <ac:spMk id="2" creationId="{1E6E8C83-5604-6800-8503-08C9674A39D3}"/>
          </ac:spMkLst>
        </pc:spChg>
      </pc:sldChg>
      <pc:sldChg chg="modSp add mod">
        <pc:chgData name="Berger, Martin" userId="2dce5e24-1af4-4f49-bc50-80b59c8dc36b" providerId="ADAL" clId="{B1A8B41A-6079-43D2-B54F-50518D136075}" dt="2024-10-16T07:18:11.839" v="189"/>
        <pc:sldMkLst>
          <pc:docMk/>
          <pc:sldMk cId="1908476199" sldId="2147138237"/>
        </pc:sldMkLst>
        <pc:spChg chg="mod">
          <ac:chgData name="Berger, Martin" userId="2dce5e24-1af4-4f49-bc50-80b59c8dc36b" providerId="ADAL" clId="{B1A8B41A-6079-43D2-B54F-50518D136075}" dt="2024-10-16T07:18:11.839" v="189"/>
          <ac:spMkLst>
            <pc:docMk/>
            <pc:sldMk cId="1908476199" sldId="2147138237"/>
            <ac:spMk id="2" creationId="{1E6E8C83-5604-6800-8503-08C9674A39D3}"/>
          </ac:spMkLst>
        </pc:spChg>
      </pc:sldChg>
      <pc:sldChg chg="modSp add mod">
        <pc:chgData name="Berger, Martin" userId="2dce5e24-1af4-4f49-bc50-80b59c8dc36b" providerId="ADAL" clId="{B1A8B41A-6079-43D2-B54F-50518D136075}" dt="2024-10-16T07:18:18.497" v="190"/>
        <pc:sldMkLst>
          <pc:docMk/>
          <pc:sldMk cId="1359695667" sldId="2147138238"/>
        </pc:sldMkLst>
        <pc:spChg chg="mod">
          <ac:chgData name="Berger, Martin" userId="2dce5e24-1af4-4f49-bc50-80b59c8dc36b" providerId="ADAL" clId="{B1A8B41A-6079-43D2-B54F-50518D136075}" dt="2024-10-16T07:18:18.497" v="190"/>
          <ac:spMkLst>
            <pc:docMk/>
            <pc:sldMk cId="1359695667" sldId="2147138238"/>
            <ac:spMk id="2" creationId="{1E6E8C83-5604-6800-8503-08C9674A39D3}"/>
          </ac:spMkLst>
        </pc:spChg>
      </pc:sldChg>
      <pc:sldChg chg="modSp add mod">
        <pc:chgData name="Berger, Martin" userId="2dce5e24-1af4-4f49-bc50-80b59c8dc36b" providerId="ADAL" clId="{B1A8B41A-6079-43D2-B54F-50518D136075}" dt="2024-10-16T07:18:24.529" v="191"/>
        <pc:sldMkLst>
          <pc:docMk/>
          <pc:sldMk cId="781700768" sldId="2147138239"/>
        </pc:sldMkLst>
        <pc:spChg chg="mod">
          <ac:chgData name="Berger, Martin" userId="2dce5e24-1af4-4f49-bc50-80b59c8dc36b" providerId="ADAL" clId="{B1A8B41A-6079-43D2-B54F-50518D136075}" dt="2024-10-16T07:18:24.529" v="191"/>
          <ac:spMkLst>
            <pc:docMk/>
            <pc:sldMk cId="781700768" sldId="2147138239"/>
            <ac:spMk id="2" creationId="{1E6E8C83-5604-6800-8503-08C9674A39D3}"/>
          </ac:spMkLst>
        </pc:spChg>
      </pc:sldChg>
      <pc:sldChg chg="modSp new mod">
        <pc:chgData name="Berger, Martin" userId="2dce5e24-1af4-4f49-bc50-80b59c8dc36b" providerId="ADAL" clId="{B1A8B41A-6079-43D2-B54F-50518D136075}" dt="2024-10-16T07:16:36.836" v="127"/>
        <pc:sldMkLst>
          <pc:docMk/>
          <pc:sldMk cId="4216969422" sldId="2147138240"/>
        </pc:sldMkLst>
        <pc:spChg chg="mod">
          <ac:chgData name="Berger, Martin" userId="2dce5e24-1af4-4f49-bc50-80b59c8dc36b" providerId="ADAL" clId="{B1A8B41A-6079-43D2-B54F-50518D136075}" dt="2024-10-16T07:16:36.836" v="127"/>
          <ac:spMkLst>
            <pc:docMk/>
            <pc:sldMk cId="4216969422" sldId="2147138240"/>
            <ac:spMk id="2" creationId="{2F2D3E9B-560E-6487-9EB6-305A62D51601}"/>
          </ac:spMkLst>
        </pc:spChg>
      </pc:sldChg>
      <pc:sldChg chg="modSp add mod">
        <pc:chgData name="Berger, Martin" userId="2dce5e24-1af4-4f49-bc50-80b59c8dc36b" providerId="ADAL" clId="{B1A8B41A-6079-43D2-B54F-50518D136075}" dt="2024-10-16T07:16:29.590" v="126" actId="20577"/>
        <pc:sldMkLst>
          <pc:docMk/>
          <pc:sldMk cId="3875600881" sldId="2147138241"/>
        </pc:sldMkLst>
        <pc:spChg chg="mod">
          <ac:chgData name="Berger, Martin" userId="2dce5e24-1af4-4f49-bc50-80b59c8dc36b" providerId="ADAL" clId="{B1A8B41A-6079-43D2-B54F-50518D136075}" dt="2024-10-16T07:16:29.590" v="126" actId="20577"/>
          <ac:spMkLst>
            <pc:docMk/>
            <pc:sldMk cId="3875600881" sldId="2147138241"/>
            <ac:spMk id="38" creationId="{81C32163-2FCE-1D0A-32E6-87C45FE8B73F}"/>
          </ac:spMkLst>
        </pc:spChg>
        <pc:spChg chg="mod">
          <ac:chgData name="Berger, Martin" userId="2dce5e24-1af4-4f49-bc50-80b59c8dc36b" providerId="ADAL" clId="{B1A8B41A-6079-43D2-B54F-50518D136075}" dt="2024-10-16T07:16:22.146" v="101" actId="20577"/>
          <ac:spMkLst>
            <pc:docMk/>
            <pc:sldMk cId="3875600881" sldId="2147138241"/>
            <ac:spMk id="39" creationId="{A6E29AF1-44F3-982F-705B-C75E1D360B58}"/>
          </ac:spMkLst>
        </pc:spChg>
      </pc:sldChg>
      <pc:sldChg chg="modSp add mod">
        <pc:chgData name="Berger, Martin" userId="2dce5e24-1af4-4f49-bc50-80b59c8dc36b" providerId="ADAL" clId="{B1A8B41A-6079-43D2-B54F-50518D136075}" dt="2024-10-16T07:17:12.192" v="165" actId="20577"/>
        <pc:sldMkLst>
          <pc:docMk/>
          <pc:sldMk cId="1735639583" sldId="2147138242"/>
        </pc:sldMkLst>
        <pc:spChg chg="mod">
          <ac:chgData name="Berger, Martin" userId="2dce5e24-1af4-4f49-bc50-80b59c8dc36b" providerId="ADAL" clId="{B1A8B41A-6079-43D2-B54F-50518D136075}" dt="2024-10-16T07:17:12.192" v="165" actId="20577"/>
          <ac:spMkLst>
            <pc:docMk/>
            <pc:sldMk cId="1735639583" sldId="2147138242"/>
            <ac:spMk id="38" creationId="{81C32163-2FCE-1D0A-32E6-87C45FE8B73F}"/>
          </ac:spMkLst>
        </pc:spChg>
        <pc:spChg chg="mod">
          <ac:chgData name="Berger, Martin" userId="2dce5e24-1af4-4f49-bc50-80b59c8dc36b" providerId="ADAL" clId="{B1A8B41A-6079-43D2-B54F-50518D136075}" dt="2024-10-16T07:17:05.081" v="134" actId="20577"/>
          <ac:spMkLst>
            <pc:docMk/>
            <pc:sldMk cId="1735639583" sldId="2147138242"/>
            <ac:spMk id="39" creationId="{A6E29AF1-44F3-982F-705B-C75E1D360B58}"/>
          </ac:spMkLst>
        </pc:spChg>
      </pc:sldChg>
      <pc:sldChg chg="modSp add mod">
        <pc:chgData name="Berger, Martin" userId="2dce5e24-1af4-4f49-bc50-80b59c8dc36b" providerId="ADAL" clId="{B1A8B41A-6079-43D2-B54F-50518D136075}" dt="2024-10-16T07:18:02.990" v="188"/>
        <pc:sldMkLst>
          <pc:docMk/>
          <pc:sldMk cId="3908297731" sldId="2147138243"/>
        </pc:sldMkLst>
        <pc:spChg chg="mod">
          <ac:chgData name="Berger, Martin" userId="2dce5e24-1af4-4f49-bc50-80b59c8dc36b" providerId="ADAL" clId="{B1A8B41A-6079-43D2-B54F-50518D136075}" dt="2024-10-16T07:18:02.990" v="188"/>
          <ac:spMkLst>
            <pc:docMk/>
            <pc:sldMk cId="3908297731" sldId="2147138243"/>
            <ac:spMk id="38" creationId="{81C32163-2FCE-1D0A-32E6-87C45FE8B73F}"/>
          </ac:spMkLst>
        </pc:spChg>
        <pc:spChg chg="mod">
          <ac:chgData name="Berger, Martin" userId="2dce5e24-1af4-4f49-bc50-80b59c8dc36b" providerId="ADAL" clId="{B1A8B41A-6079-43D2-B54F-50518D136075}" dt="2024-10-16T07:17:48.222" v="172" actId="20577"/>
          <ac:spMkLst>
            <pc:docMk/>
            <pc:sldMk cId="3908297731" sldId="2147138243"/>
            <ac:spMk id="39" creationId="{A6E29AF1-44F3-982F-705B-C75E1D360B58}"/>
          </ac:spMkLst>
        </pc:spChg>
      </pc:sldChg>
      <pc:sldChg chg="modSp add mod">
        <pc:chgData name="Berger, Martin" userId="2dce5e24-1af4-4f49-bc50-80b59c8dc36b" providerId="ADAL" clId="{B1A8B41A-6079-43D2-B54F-50518D136075}" dt="2024-10-16T07:18:49.826" v="229" actId="20577"/>
        <pc:sldMkLst>
          <pc:docMk/>
          <pc:sldMk cId="2048567009" sldId="2147138244"/>
        </pc:sldMkLst>
        <pc:spChg chg="mod">
          <ac:chgData name="Berger, Martin" userId="2dce5e24-1af4-4f49-bc50-80b59c8dc36b" providerId="ADAL" clId="{B1A8B41A-6079-43D2-B54F-50518D136075}" dt="2024-10-16T07:18:49.826" v="229" actId="20577"/>
          <ac:spMkLst>
            <pc:docMk/>
            <pc:sldMk cId="2048567009" sldId="2147138244"/>
            <ac:spMk id="38" creationId="{81C32163-2FCE-1D0A-32E6-87C45FE8B73F}"/>
          </ac:spMkLst>
        </pc:spChg>
        <pc:spChg chg="mod">
          <ac:chgData name="Berger, Martin" userId="2dce5e24-1af4-4f49-bc50-80b59c8dc36b" providerId="ADAL" clId="{B1A8B41A-6079-43D2-B54F-50518D136075}" dt="2024-10-16T07:18:39.030" v="195" actId="20577"/>
          <ac:spMkLst>
            <pc:docMk/>
            <pc:sldMk cId="2048567009" sldId="2147138244"/>
            <ac:spMk id="39" creationId="{A6E29AF1-44F3-982F-705B-C75E1D360B58}"/>
          </ac:spMkLst>
        </pc:spChg>
      </pc:sldChg>
      <pc:sldChg chg="modSp add mod">
        <pc:chgData name="Berger, Martin" userId="2dce5e24-1af4-4f49-bc50-80b59c8dc36b" providerId="ADAL" clId="{B1A8B41A-6079-43D2-B54F-50518D136075}" dt="2024-10-16T07:19:03.815" v="232" actId="6549"/>
        <pc:sldMkLst>
          <pc:docMk/>
          <pc:sldMk cId="2880680695" sldId="2147138245"/>
        </pc:sldMkLst>
        <pc:spChg chg="mod">
          <ac:chgData name="Berger, Martin" userId="2dce5e24-1af4-4f49-bc50-80b59c8dc36b" providerId="ADAL" clId="{B1A8B41A-6079-43D2-B54F-50518D136075}" dt="2024-10-16T07:19:01.642" v="231"/>
          <ac:spMkLst>
            <pc:docMk/>
            <pc:sldMk cId="2880680695" sldId="2147138245"/>
            <ac:spMk id="2" creationId="{1E6E8C83-5604-6800-8503-08C9674A39D3}"/>
          </ac:spMkLst>
        </pc:spChg>
        <pc:spChg chg="mod">
          <ac:chgData name="Berger, Martin" userId="2dce5e24-1af4-4f49-bc50-80b59c8dc36b" providerId="ADAL" clId="{B1A8B41A-6079-43D2-B54F-50518D136075}" dt="2024-10-16T07:19:03.815" v="232" actId="6549"/>
          <ac:spMkLst>
            <pc:docMk/>
            <pc:sldMk cId="2880680695" sldId="2147138245"/>
            <ac:spMk id="3" creationId="{998C4BBF-A242-24EA-B3CA-4B13BF528F10}"/>
          </ac:spMkLst>
        </pc:spChg>
      </pc:sldChg>
      <pc:sldChg chg="addSp delSp modSp new mod ord">
        <pc:chgData name="Berger, Martin" userId="2dce5e24-1af4-4f49-bc50-80b59c8dc36b" providerId="ADAL" clId="{B1A8B41A-6079-43D2-B54F-50518D136075}" dt="2024-10-16T13:06:25.479" v="2324" actId="113"/>
        <pc:sldMkLst>
          <pc:docMk/>
          <pc:sldMk cId="250808240" sldId="2147138246"/>
        </pc:sldMkLst>
        <pc:spChg chg="mod">
          <ac:chgData name="Berger, Martin" userId="2dce5e24-1af4-4f49-bc50-80b59c8dc36b" providerId="ADAL" clId="{B1A8B41A-6079-43D2-B54F-50518D136075}" dt="2024-10-16T08:36:32.285" v="754" actId="20577"/>
          <ac:spMkLst>
            <pc:docMk/>
            <pc:sldMk cId="250808240" sldId="2147138246"/>
            <ac:spMk id="2" creationId="{213892F5-3C17-FE9A-5689-39C543E59B30}"/>
          </ac:spMkLst>
        </pc:spChg>
        <pc:spChg chg="del">
          <ac:chgData name="Berger, Martin" userId="2dce5e24-1af4-4f49-bc50-80b59c8dc36b" providerId="ADAL" clId="{B1A8B41A-6079-43D2-B54F-50518D136075}" dt="2024-10-16T07:51:16.325" v="402" actId="478"/>
          <ac:spMkLst>
            <pc:docMk/>
            <pc:sldMk cId="250808240" sldId="2147138246"/>
            <ac:spMk id="3" creationId="{7924AAFC-E03A-E159-D792-586E2F0688A5}"/>
          </ac:spMkLst>
        </pc:spChg>
        <pc:spChg chg="add mod">
          <ac:chgData name="Berger, Martin" userId="2dce5e24-1af4-4f49-bc50-80b59c8dc36b" providerId="ADAL" clId="{B1A8B41A-6079-43D2-B54F-50518D136075}" dt="2024-10-16T13:06:25.479" v="2324" actId="113"/>
          <ac:spMkLst>
            <pc:docMk/>
            <pc:sldMk cId="250808240" sldId="2147138246"/>
            <ac:spMk id="6" creationId="{571EBFB4-B739-266F-0E9D-414B10F9DE73}"/>
          </ac:spMkLst>
        </pc:spChg>
        <pc:spChg chg="add mod">
          <ac:chgData name="Berger, Martin" userId="2dce5e24-1af4-4f49-bc50-80b59c8dc36b" providerId="ADAL" clId="{B1A8B41A-6079-43D2-B54F-50518D136075}" dt="2024-10-16T13:06:25.479" v="2324" actId="113"/>
          <ac:spMkLst>
            <pc:docMk/>
            <pc:sldMk cId="250808240" sldId="2147138246"/>
            <ac:spMk id="7" creationId="{FC02B07C-7496-1E1F-295E-FEECC8BEE634}"/>
          </ac:spMkLst>
        </pc:spChg>
        <pc:spChg chg="add mod">
          <ac:chgData name="Berger, Martin" userId="2dce5e24-1af4-4f49-bc50-80b59c8dc36b" providerId="ADAL" clId="{B1A8B41A-6079-43D2-B54F-50518D136075}" dt="2024-10-16T13:06:25.479" v="2324" actId="113"/>
          <ac:spMkLst>
            <pc:docMk/>
            <pc:sldMk cId="250808240" sldId="2147138246"/>
            <ac:spMk id="8" creationId="{F1DB6FBF-7C16-6329-8F09-AED647DEFE6A}"/>
          </ac:spMkLst>
        </pc:spChg>
        <pc:spChg chg="add mod">
          <ac:chgData name="Berger, Martin" userId="2dce5e24-1af4-4f49-bc50-80b59c8dc36b" providerId="ADAL" clId="{B1A8B41A-6079-43D2-B54F-50518D136075}" dt="2024-10-16T13:06:25.479" v="2324" actId="113"/>
          <ac:spMkLst>
            <pc:docMk/>
            <pc:sldMk cId="250808240" sldId="2147138246"/>
            <ac:spMk id="9" creationId="{D9467E6D-F295-CA08-00B6-DD26714449C7}"/>
          </ac:spMkLst>
        </pc:spChg>
        <pc:spChg chg="mod">
          <ac:chgData name="Berger, Martin" userId="2dce5e24-1af4-4f49-bc50-80b59c8dc36b" providerId="ADAL" clId="{B1A8B41A-6079-43D2-B54F-50518D136075}" dt="2024-10-16T07:54:12.222" v="430" actId="113"/>
          <ac:spMkLst>
            <pc:docMk/>
            <pc:sldMk cId="250808240" sldId="2147138246"/>
            <ac:spMk id="13" creationId="{3D629FFB-1F87-5EA5-2AA7-BCA99AD875C9}"/>
          </ac:spMkLst>
        </pc:spChg>
        <pc:spChg chg="mod">
          <ac:chgData name="Berger, Martin" userId="2dce5e24-1af4-4f49-bc50-80b59c8dc36b" providerId="ADAL" clId="{B1A8B41A-6079-43D2-B54F-50518D136075}" dt="2024-10-16T07:54:12.222" v="430" actId="113"/>
          <ac:spMkLst>
            <pc:docMk/>
            <pc:sldMk cId="250808240" sldId="2147138246"/>
            <ac:spMk id="14" creationId="{55D1907B-5C52-B714-36FC-BC9A8ABCE148}"/>
          </ac:spMkLst>
        </pc:spChg>
        <pc:spChg chg="mod">
          <ac:chgData name="Berger, Martin" userId="2dce5e24-1af4-4f49-bc50-80b59c8dc36b" providerId="ADAL" clId="{B1A8B41A-6079-43D2-B54F-50518D136075}" dt="2024-10-16T07:54:12.222" v="430" actId="113"/>
          <ac:spMkLst>
            <pc:docMk/>
            <pc:sldMk cId="250808240" sldId="2147138246"/>
            <ac:spMk id="15" creationId="{0B8BFDCF-4F23-4EA4-48DA-52D1E3543B31}"/>
          </ac:spMkLst>
        </pc:spChg>
        <pc:spChg chg="mod">
          <ac:chgData name="Berger, Martin" userId="2dce5e24-1af4-4f49-bc50-80b59c8dc36b" providerId="ADAL" clId="{B1A8B41A-6079-43D2-B54F-50518D136075}" dt="2024-10-16T07:54:12.222" v="430" actId="113"/>
          <ac:spMkLst>
            <pc:docMk/>
            <pc:sldMk cId="250808240" sldId="2147138246"/>
            <ac:spMk id="16" creationId="{4B81DED7-BA13-1261-E9EC-048ECB7312F2}"/>
          </ac:spMkLst>
        </pc:spChg>
        <pc:spChg chg="mod">
          <ac:chgData name="Berger, Martin" userId="2dce5e24-1af4-4f49-bc50-80b59c8dc36b" providerId="ADAL" clId="{B1A8B41A-6079-43D2-B54F-50518D136075}" dt="2024-10-16T07:54:12.222" v="430" actId="113"/>
          <ac:spMkLst>
            <pc:docMk/>
            <pc:sldMk cId="250808240" sldId="2147138246"/>
            <ac:spMk id="17" creationId="{2C1CE819-6618-C245-1464-487AECA991F5}"/>
          </ac:spMkLst>
        </pc:spChg>
        <pc:spChg chg="mod">
          <ac:chgData name="Berger, Martin" userId="2dce5e24-1af4-4f49-bc50-80b59c8dc36b" providerId="ADAL" clId="{B1A8B41A-6079-43D2-B54F-50518D136075}" dt="2024-10-16T07:54:12.222" v="430" actId="113"/>
          <ac:spMkLst>
            <pc:docMk/>
            <pc:sldMk cId="250808240" sldId="2147138246"/>
            <ac:spMk id="18" creationId="{7A4F77CF-CE1B-D540-4A77-34A49AE6A6BB}"/>
          </ac:spMkLst>
        </pc:spChg>
        <pc:spChg chg="mod">
          <ac:chgData name="Berger, Martin" userId="2dce5e24-1af4-4f49-bc50-80b59c8dc36b" providerId="ADAL" clId="{B1A8B41A-6079-43D2-B54F-50518D136075}" dt="2024-10-16T07:54:12.222" v="430" actId="113"/>
          <ac:spMkLst>
            <pc:docMk/>
            <pc:sldMk cId="250808240" sldId="2147138246"/>
            <ac:spMk id="19" creationId="{85686CBF-E1D9-615A-C51C-DA240A75C6E9}"/>
          </ac:spMkLst>
        </pc:spChg>
        <pc:spChg chg="mod">
          <ac:chgData name="Berger, Martin" userId="2dce5e24-1af4-4f49-bc50-80b59c8dc36b" providerId="ADAL" clId="{B1A8B41A-6079-43D2-B54F-50518D136075}" dt="2024-10-16T07:54:12.222" v="430" actId="113"/>
          <ac:spMkLst>
            <pc:docMk/>
            <pc:sldMk cId="250808240" sldId="2147138246"/>
            <ac:spMk id="20" creationId="{E9116148-3D1F-CA13-3DFE-C881DB0FFA7F}"/>
          </ac:spMkLst>
        </pc:spChg>
        <pc:spChg chg="mod">
          <ac:chgData name="Berger, Martin" userId="2dce5e24-1af4-4f49-bc50-80b59c8dc36b" providerId="ADAL" clId="{B1A8B41A-6079-43D2-B54F-50518D136075}" dt="2024-10-16T07:54:12.222" v="430" actId="113"/>
          <ac:spMkLst>
            <pc:docMk/>
            <pc:sldMk cId="250808240" sldId="2147138246"/>
            <ac:spMk id="21" creationId="{6502FEC9-AA57-15EB-61EF-169FC89BC809}"/>
          </ac:spMkLst>
        </pc:spChg>
        <pc:spChg chg="mod">
          <ac:chgData name="Berger, Martin" userId="2dce5e24-1af4-4f49-bc50-80b59c8dc36b" providerId="ADAL" clId="{B1A8B41A-6079-43D2-B54F-50518D136075}" dt="2024-10-16T07:54:12.222" v="430" actId="113"/>
          <ac:spMkLst>
            <pc:docMk/>
            <pc:sldMk cId="250808240" sldId="2147138246"/>
            <ac:spMk id="22" creationId="{A0F33011-A295-3EFF-27ED-8560AF46FB23}"/>
          </ac:spMkLst>
        </pc:spChg>
        <pc:spChg chg="mod">
          <ac:chgData name="Berger, Martin" userId="2dce5e24-1af4-4f49-bc50-80b59c8dc36b" providerId="ADAL" clId="{B1A8B41A-6079-43D2-B54F-50518D136075}" dt="2024-10-16T07:54:12.222" v="430" actId="113"/>
          <ac:spMkLst>
            <pc:docMk/>
            <pc:sldMk cId="250808240" sldId="2147138246"/>
            <ac:spMk id="23" creationId="{61CDA76B-5550-D7CB-A978-71DCDBDE03B9}"/>
          </ac:spMkLst>
        </pc:spChg>
        <pc:spChg chg="mod">
          <ac:chgData name="Berger, Martin" userId="2dce5e24-1af4-4f49-bc50-80b59c8dc36b" providerId="ADAL" clId="{B1A8B41A-6079-43D2-B54F-50518D136075}" dt="2024-10-16T07:54:12.222" v="430" actId="113"/>
          <ac:spMkLst>
            <pc:docMk/>
            <pc:sldMk cId="250808240" sldId="2147138246"/>
            <ac:spMk id="24" creationId="{C1148506-FA78-DA35-C592-4A9BB25F2F5B}"/>
          </ac:spMkLst>
        </pc:spChg>
        <pc:spChg chg="mod">
          <ac:chgData name="Berger, Martin" userId="2dce5e24-1af4-4f49-bc50-80b59c8dc36b" providerId="ADAL" clId="{B1A8B41A-6079-43D2-B54F-50518D136075}" dt="2024-10-16T07:54:12.222" v="430" actId="113"/>
          <ac:spMkLst>
            <pc:docMk/>
            <pc:sldMk cId="250808240" sldId="2147138246"/>
            <ac:spMk id="25" creationId="{291E1DC3-02CD-C8FB-965D-8611F72A5BB2}"/>
          </ac:spMkLst>
        </pc:spChg>
        <pc:spChg chg="mod">
          <ac:chgData name="Berger, Martin" userId="2dce5e24-1af4-4f49-bc50-80b59c8dc36b" providerId="ADAL" clId="{B1A8B41A-6079-43D2-B54F-50518D136075}" dt="2024-10-16T07:54:12.222" v="430" actId="113"/>
          <ac:spMkLst>
            <pc:docMk/>
            <pc:sldMk cId="250808240" sldId="2147138246"/>
            <ac:spMk id="26" creationId="{5718A692-C893-BF0A-0D87-18B322C11B1F}"/>
          </ac:spMkLst>
        </pc:spChg>
        <pc:spChg chg="mod">
          <ac:chgData name="Berger, Martin" userId="2dce5e24-1af4-4f49-bc50-80b59c8dc36b" providerId="ADAL" clId="{B1A8B41A-6079-43D2-B54F-50518D136075}" dt="2024-10-16T07:54:12.222" v="430" actId="113"/>
          <ac:spMkLst>
            <pc:docMk/>
            <pc:sldMk cId="250808240" sldId="2147138246"/>
            <ac:spMk id="27" creationId="{258D9C84-FF1D-A7FC-E307-BF9994CCD6B0}"/>
          </ac:spMkLst>
        </pc:spChg>
        <pc:spChg chg="mod">
          <ac:chgData name="Berger, Martin" userId="2dce5e24-1af4-4f49-bc50-80b59c8dc36b" providerId="ADAL" clId="{B1A8B41A-6079-43D2-B54F-50518D136075}" dt="2024-10-16T07:54:12.222" v="430" actId="113"/>
          <ac:spMkLst>
            <pc:docMk/>
            <pc:sldMk cId="250808240" sldId="2147138246"/>
            <ac:spMk id="28" creationId="{157163A1-04E6-A0B4-4AB4-3F01314271BE}"/>
          </ac:spMkLst>
        </pc:spChg>
        <pc:spChg chg="mod">
          <ac:chgData name="Berger, Martin" userId="2dce5e24-1af4-4f49-bc50-80b59c8dc36b" providerId="ADAL" clId="{B1A8B41A-6079-43D2-B54F-50518D136075}" dt="2024-10-16T07:54:12.222" v="430" actId="113"/>
          <ac:spMkLst>
            <pc:docMk/>
            <pc:sldMk cId="250808240" sldId="2147138246"/>
            <ac:spMk id="29" creationId="{E1574F09-B700-B162-5854-CC67261BE57A}"/>
          </ac:spMkLst>
        </pc:spChg>
        <pc:spChg chg="mod">
          <ac:chgData name="Berger, Martin" userId="2dce5e24-1af4-4f49-bc50-80b59c8dc36b" providerId="ADAL" clId="{B1A8B41A-6079-43D2-B54F-50518D136075}" dt="2024-10-16T07:54:12.222" v="430" actId="113"/>
          <ac:spMkLst>
            <pc:docMk/>
            <pc:sldMk cId="250808240" sldId="2147138246"/>
            <ac:spMk id="30" creationId="{976CFCCA-842B-56AC-F89F-4A3705DEC5CF}"/>
          </ac:spMkLst>
        </pc:spChg>
        <pc:spChg chg="mod">
          <ac:chgData name="Berger, Martin" userId="2dce5e24-1af4-4f49-bc50-80b59c8dc36b" providerId="ADAL" clId="{B1A8B41A-6079-43D2-B54F-50518D136075}" dt="2024-10-16T07:54:12.222" v="430" actId="113"/>
          <ac:spMkLst>
            <pc:docMk/>
            <pc:sldMk cId="250808240" sldId="2147138246"/>
            <ac:spMk id="31" creationId="{2B731BB1-FB48-E68D-B1AE-1631E79A1C3B}"/>
          </ac:spMkLst>
        </pc:spChg>
        <pc:spChg chg="mod">
          <ac:chgData name="Berger, Martin" userId="2dce5e24-1af4-4f49-bc50-80b59c8dc36b" providerId="ADAL" clId="{B1A8B41A-6079-43D2-B54F-50518D136075}" dt="2024-10-16T07:54:12.222" v="430" actId="113"/>
          <ac:spMkLst>
            <pc:docMk/>
            <pc:sldMk cId="250808240" sldId="2147138246"/>
            <ac:spMk id="32" creationId="{0AD9B505-8C7C-6E6E-E5DA-6D7CC03E1AA6}"/>
          </ac:spMkLst>
        </pc:spChg>
        <pc:spChg chg="mod">
          <ac:chgData name="Berger, Martin" userId="2dce5e24-1af4-4f49-bc50-80b59c8dc36b" providerId="ADAL" clId="{B1A8B41A-6079-43D2-B54F-50518D136075}" dt="2024-10-16T07:54:12.222" v="430" actId="113"/>
          <ac:spMkLst>
            <pc:docMk/>
            <pc:sldMk cId="250808240" sldId="2147138246"/>
            <ac:spMk id="33" creationId="{580B601B-066C-4FD3-5F7D-A501FEAB5253}"/>
          </ac:spMkLst>
        </pc:spChg>
        <pc:spChg chg="mod">
          <ac:chgData name="Berger, Martin" userId="2dce5e24-1af4-4f49-bc50-80b59c8dc36b" providerId="ADAL" clId="{B1A8B41A-6079-43D2-B54F-50518D136075}" dt="2024-10-16T07:54:12.222" v="430" actId="113"/>
          <ac:spMkLst>
            <pc:docMk/>
            <pc:sldMk cId="250808240" sldId="2147138246"/>
            <ac:spMk id="34" creationId="{4206350E-C80D-A4AE-A690-E1DB6105569F}"/>
          </ac:spMkLst>
        </pc:spChg>
        <pc:spChg chg="mod">
          <ac:chgData name="Berger, Martin" userId="2dce5e24-1af4-4f49-bc50-80b59c8dc36b" providerId="ADAL" clId="{B1A8B41A-6079-43D2-B54F-50518D136075}" dt="2024-10-16T07:54:12.222" v="430" actId="113"/>
          <ac:spMkLst>
            <pc:docMk/>
            <pc:sldMk cId="250808240" sldId="2147138246"/>
            <ac:spMk id="35" creationId="{DDD666C7-5F99-0B99-CF4A-0496D1FECBFB}"/>
          </ac:spMkLst>
        </pc:spChg>
        <pc:spChg chg="mod">
          <ac:chgData name="Berger, Martin" userId="2dce5e24-1af4-4f49-bc50-80b59c8dc36b" providerId="ADAL" clId="{B1A8B41A-6079-43D2-B54F-50518D136075}" dt="2024-10-16T07:54:12.222" v="430" actId="113"/>
          <ac:spMkLst>
            <pc:docMk/>
            <pc:sldMk cId="250808240" sldId="2147138246"/>
            <ac:spMk id="39" creationId="{C02580AA-D750-8E49-99B1-38AEF57D2734}"/>
          </ac:spMkLst>
        </pc:spChg>
        <pc:spChg chg="mod">
          <ac:chgData name="Berger, Martin" userId="2dce5e24-1af4-4f49-bc50-80b59c8dc36b" providerId="ADAL" clId="{B1A8B41A-6079-43D2-B54F-50518D136075}" dt="2024-10-16T07:54:12.222" v="430" actId="113"/>
          <ac:spMkLst>
            <pc:docMk/>
            <pc:sldMk cId="250808240" sldId="2147138246"/>
            <ac:spMk id="40" creationId="{883B2375-07C1-8C12-A036-9FCFC59F2DF4}"/>
          </ac:spMkLst>
        </pc:spChg>
        <pc:spChg chg="mod">
          <ac:chgData name="Berger, Martin" userId="2dce5e24-1af4-4f49-bc50-80b59c8dc36b" providerId="ADAL" clId="{B1A8B41A-6079-43D2-B54F-50518D136075}" dt="2024-10-16T07:54:12.222" v="430" actId="113"/>
          <ac:spMkLst>
            <pc:docMk/>
            <pc:sldMk cId="250808240" sldId="2147138246"/>
            <ac:spMk id="41" creationId="{EDAAD6CF-E618-F9B0-11F1-EA9C6B3D25A2}"/>
          </ac:spMkLst>
        </pc:spChg>
        <pc:spChg chg="mod">
          <ac:chgData name="Berger, Martin" userId="2dce5e24-1af4-4f49-bc50-80b59c8dc36b" providerId="ADAL" clId="{B1A8B41A-6079-43D2-B54F-50518D136075}" dt="2024-10-16T07:54:12.222" v="430" actId="113"/>
          <ac:spMkLst>
            <pc:docMk/>
            <pc:sldMk cId="250808240" sldId="2147138246"/>
            <ac:spMk id="42" creationId="{1316FE60-68E9-A9CF-DC26-3BC95D12DA06}"/>
          </ac:spMkLst>
        </pc:spChg>
        <pc:spChg chg="mod">
          <ac:chgData name="Berger, Martin" userId="2dce5e24-1af4-4f49-bc50-80b59c8dc36b" providerId="ADAL" clId="{B1A8B41A-6079-43D2-B54F-50518D136075}" dt="2024-10-16T07:54:12.222" v="430" actId="113"/>
          <ac:spMkLst>
            <pc:docMk/>
            <pc:sldMk cId="250808240" sldId="2147138246"/>
            <ac:spMk id="43" creationId="{58DF75CE-7C95-3D5F-1EC4-1BDF6BAD769C}"/>
          </ac:spMkLst>
        </pc:spChg>
        <pc:spChg chg="mod">
          <ac:chgData name="Berger, Martin" userId="2dce5e24-1af4-4f49-bc50-80b59c8dc36b" providerId="ADAL" clId="{B1A8B41A-6079-43D2-B54F-50518D136075}" dt="2024-10-16T07:54:12.222" v="430" actId="113"/>
          <ac:spMkLst>
            <pc:docMk/>
            <pc:sldMk cId="250808240" sldId="2147138246"/>
            <ac:spMk id="44" creationId="{8BC62289-F094-FB51-184C-2DE39E9D9BC5}"/>
          </ac:spMkLst>
        </pc:spChg>
        <pc:spChg chg="mod">
          <ac:chgData name="Berger, Martin" userId="2dce5e24-1af4-4f49-bc50-80b59c8dc36b" providerId="ADAL" clId="{B1A8B41A-6079-43D2-B54F-50518D136075}" dt="2024-10-16T07:54:12.222" v="430" actId="113"/>
          <ac:spMkLst>
            <pc:docMk/>
            <pc:sldMk cId="250808240" sldId="2147138246"/>
            <ac:spMk id="45" creationId="{7D5972E5-76CF-2C82-1D53-898BD702C1A3}"/>
          </ac:spMkLst>
        </pc:spChg>
        <pc:spChg chg="mod">
          <ac:chgData name="Berger, Martin" userId="2dce5e24-1af4-4f49-bc50-80b59c8dc36b" providerId="ADAL" clId="{B1A8B41A-6079-43D2-B54F-50518D136075}" dt="2024-10-16T07:54:12.222" v="430" actId="113"/>
          <ac:spMkLst>
            <pc:docMk/>
            <pc:sldMk cId="250808240" sldId="2147138246"/>
            <ac:spMk id="51" creationId="{BBF8B7E5-FCAC-EA9E-44A0-79C993CE935B}"/>
          </ac:spMkLst>
        </pc:spChg>
        <pc:spChg chg="mod">
          <ac:chgData name="Berger, Martin" userId="2dce5e24-1af4-4f49-bc50-80b59c8dc36b" providerId="ADAL" clId="{B1A8B41A-6079-43D2-B54F-50518D136075}" dt="2024-10-16T07:54:12.222" v="430" actId="113"/>
          <ac:spMkLst>
            <pc:docMk/>
            <pc:sldMk cId="250808240" sldId="2147138246"/>
            <ac:spMk id="52" creationId="{34B6EC8E-DD92-422D-48AA-8FB95C074C40}"/>
          </ac:spMkLst>
        </pc:spChg>
        <pc:spChg chg="mod">
          <ac:chgData name="Berger, Martin" userId="2dce5e24-1af4-4f49-bc50-80b59c8dc36b" providerId="ADAL" clId="{B1A8B41A-6079-43D2-B54F-50518D136075}" dt="2024-10-16T07:54:12.222" v="430" actId="113"/>
          <ac:spMkLst>
            <pc:docMk/>
            <pc:sldMk cId="250808240" sldId="2147138246"/>
            <ac:spMk id="53" creationId="{D3CAAF8C-8582-2B82-8A9C-8D60008A7EF5}"/>
          </ac:spMkLst>
        </pc:spChg>
        <pc:spChg chg="mod">
          <ac:chgData name="Berger, Martin" userId="2dce5e24-1af4-4f49-bc50-80b59c8dc36b" providerId="ADAL" clId="{B1A8B41A-6079-43D2-B54F-50518D136075}" dt="2024-10-16T07:54:12.222" v="430" actId="113"/>
          <ac:spMkLst>
            <pc:docMk/>
            <pc:sldMk cId="250808240" sldId="2147138246"/>
            <ac:spMk id="54" creationId="{2741E5F0-C9AA-BDA2-2E77-C4BA39AB8EE7}"/>
          </ac:spMkLst>
        </pc:spChg>
        <pc:spChg chg="mod">
          <ac:chgData name="Berger, Martin" userId="2dce5e24-1af4-4f49-bc50-80b59c8dc36b" providerId="ADAL" clId="{B1A8B41A-6079-43D2-B54F-50518D136075}" dt="2024-10-16T07:54:12.222" v="430" actId="113"/>
          <ac:spMkLst>
            <pc:docMk/>
            <pc:sldMk cId="250808240" sldId="2147138246"/>
            <ac:spMk id="55" creationId="{197E132C-BEDB-979D-5114-D26165968267}"/>
          </ac:spMkLst>
        </pc:spChg>
        <pc:spChg chg="mod">
          <ac:chgData name="Berger, Martin" userId="2dce5e24-1af4-4f49-bc50-80b59c8dc36b" providerId="ADAL" clId="{B1A8B41A-6079-43D2-B54F-50518D136075}" dt="2024-10-16T07:54:12.222" v="430" actId="113"/>
          <ac:spMkLst>
            <pc:docMk/>
            <pc:sldMk cId="250808240" sldId="2147138246"/>
            <ac:spMk id="56" creationId="{E3D646DB-C4CD-E95B-C991-FC561653A84D}"/>
          </ac:spMkLst>
        </pc:spChg>
        <pc:spChg chg="mod">
          <ac:chgData name="Berger, Martin" userId="2dce5e24-1af4-4f49-bc50-80b59c8dc36b" providerId="ADAL" clId="{B1A8B41A-6079-43D2-B54F-50518D136075}" dt="2024-10-16T07:54:12.222" v="430" actId="113"/>
          <ac:spMkLst>
            <pc:docMk/>
            <pc:sldMk cId="250808240" sldId="2147138246"/>
            <ac:spMk id="57" creationId="{92CA29C2-4E5B-4EB3-B528-7987B73F49A1}"/>
          </ac:spMkLst>
        </pc:spChg>
        <pc:spChg chg="mod">
          <ac:chgData name="Berger, Martin" userId="2dce5e24-1af4-4f49-bc50-80b59c8dc36b" providerId="ADAL" clId="{B1A8B41A-6079-43D2-B54F-50518D136075}" dt="2024-10-16T07:54:12.222" v="430" actId="113"/>
          <ac:spMkLst>
            <pc:docMk/>
            <pc:sldMk cId="250808240" sldId="2147138246"/>
            <ac:spMk id="58" creationId="{1EFBA58D-2CE4-576F-C3D6-E3794D91F86B}"/>
          </ac:spMkLst>
        </pc:spChg>
        <pc:spChg chg="mod">
          <ac:chgData name="Berger, Martin" userId="2dce5e24-1af4-4f49-bc50-80b59c8dc36b" providerId="ADAL" clId="{B1A8B41A-6079-43D2-B54F-50518D136075}" dt="2024-10-16T07:54:12.222" v="430" actId="113"/>
          <ac:spMkLst>
            <pc:docMk/>
            <pc:sldMk cId="250808240" sldId="2147138246"/>
            <ac:spMk id="59" creationId="{CC7CFC77-601E-300C-1AC0-6F2FB9C28044}"/>
          </ac:spMkLst>
        </pc:spChg>
        <pc:spChg chg="mod">
          <ac:chgData name="Berger, Martin" userId="2dce5e24-1af4-4f49-bc50-80b59c8dc36b" providerId="ADAL" clId="{B1A8B41A-6079-43D2-B54F-50518D136075}" dt="2024-10-16T07:54:12.222" v="430" actId="113"/>
          <ac:spMkLst>
            <pc:docMk/>
            <pc:sldMk cId="250808240" sldId="2147138246"/>
            <ac:spMk id="60" creationId="{614BA64E-F76F-4C86-FA7D-C518EB2D4ADB}"/>
          </ac:spMkLst>
        </pc:spChg>
        <pc:spChg chg="mod">
          <ac:chgData name="Berger, Martin" userId="2dce5e24-1af4-4f49-bc50-80b59c8dc36b" providerId="ADAL" clId="{B1A8B41A-6079-43D2-B54F-50518D136075}" dt="2024-10-16T07:54:12.222" v="430" actId="113"/>
          <ac:spMkLst>
            <pc:docMk/>
            <pc:sldMk cId="250808240" sldId="2147138246"/>
            <ac:spMk id="61" creationId="{9B90AD74-41AF-B5CC-89DE-7BCABD970F31}"/>
          </ac:spMkLst>
        </pc:spChg>
        <pc:spChg chg="mod">
          <ac:chgData name="Berger, Martin" userId="2dce5e24-1af4-4f49-bc50-80b59c8dc36b" providerId="ADAL" clId="{B1A8B41A-6079-43D2-B54F-50518D136075}" dt="2024-10-16T07:54:12.222" v="430" actId="113"/>
          <ac:spMkLst>
            <pc:docMk/>
            <pc:sldMk cId="250808240" sldId="2147138246"/>
            <ac:spMk id="62" creationId="{4EF30CDC-C11A-7179-5B8D-80FCED76595F}"/>
          </ac:spMkLst>
        </pc:spChg>
        <pc:spChg chg="mod">
          <ac:chgData name="Berger, Martin" userId="2dce5e24-1af4-4f49-bc50-80b59c8dc36b" providerId="ADAL" clId="{B1A8B41A-6079-43D2-B54F-50518D136075}" dt="2024-10-16T07:54:12.222" v="430" actId="113"/>
          <ac:spMkLst>
            <pc:docMk/>
            <pc:sldMk cId="250808240" sldId="2147138246"/>
            <ac:spMk id="63" creationId="{9DA485FC-CF3C-18D8-5B87-299702793C61}"/>
          </ac:spMkLst>
        </pc:spChg>
        <pc:spChg chg="mod">
          <ac:chgData name="Berger, Martin" userId="2dce5e24-1af4-4f49-bc50-80b59c8dc36b" providerId="ADAL" clId="{B1A8B41A-6079-43D2-B54F-50518D136075}" dt="2024-10-16T07:54:12.222" v="430" actId="113"/>
          <ac:spMkLst>
            <pc:docMk/>
            <pc:sldMk cId="250808240" sldId="2147138246"/>
            <ac:spMk id="64" creationId="{887EA3EB-49A9-204A-A2F6-5793C255F941}"/>
          </ac:spMkLst>
        </pc:spChg>
        <pc:spChg chg="mod">
          <ac:chgData name="Berger, Martin" userId="2dce5e24-1af4-4f49-bc50-80b59c8dc36b" providerId="ADAL" clId="{B1A8B41A-6079-43D2-B54F-50518D136075}" dt="2024-10-16T07:54:12.222" v="430" actId="113"/>
          <ac:spMkLst>
            <pc:docMk/>
            <pc:sldMk cId="250808240" sldId="2147138246"/>
            <ac:spMk id="65" creationId="{6EA8DA8E-BF14-152C-19F6-E246F894179C}"/>
          </ac:spMkLst>
        </pc:spChg>
        <pc:spChg chg="mod">
          <ac:chgData name="Berger, Martin" userId="2dce5e24-1af4-4f49-bc50-80b59c8dc36b" providerId="ADAL" clId="{B1A8B41A-6079-43D2-B54F-50518D136075}" dt="2024-10-16T07:54:12.222" v="430" actId="113"/>
          <ac:spMkLst>
            <pc:docMk/>
            <pc:sldMk cId="250808240" sldId="2147138246"/>
            <ac:spMk id="66" creationId="{842CAD43-F983-CDFC-C4CF-FE5696AE7679}"/>
          </ac:spMkLst>
        </pc:spChg>
        <pc:spChg chg="add mod">
          <ac:chgData name="Berger, Martin" userId="2dce5e24-1af4-4f49-bc50-80b59c8dc36b" providerId="ADAL" clId="{B1A8B41A-6079-43D2-B54F-50518D136075}" dt="2024-10-16T08:37:50.991" v="773" actId="1076"/>
          <ac:spMkLst>
            <pc:docMk/>
            <pc:sldMk cId="250808240" sldId="2147138246"/>
            <ac:spMk id="67" creationId="{69AFD728-2D3C-8052-3F0C-96A23AB2CD58}"/>
          </ac:spMkLst>
        </pc:spChg>
        <pc:spChg chg="add mod">
          <ac:chgData name="Berger, Martin" userId="2dce5e24-1af4-4f49-bc50-80b59c8dc36b" providerId="ADAL" clId="{B1A8B41A-6079-43D2-B54F-50518D136075}" dt="2024-10-16T08:37:50.991" v="773" actId="1076"/>
          <ac:spMkLst>
            <pc:docMk/>
            <pc:sldMk cId="250808240" sldId="2147138246"/>
            <ac:spMk id="68" creationId="{3832D5ED-D7A8-FBA4-76AA-5F6DBDD2A440}"/>
          </ac:spMkLst>
        </pc:spChg>
        <pc:spChg chg="add mod">
          <ac:chgData name="Berger, Martin" userId="2dce5e24-1af4-4f49-bc50-80b59c8dc36b" providerId="ADAL" clId="{B1A8B41A-6079-43D2-B54F-50518D136075}" dt="2024-10-16T08:37:50.991" v="773" actId="1076"/>
          <ac:spMkLst>
            <pc:docMk/>
            <pc:sldMk cId="250808240" sldId="2147138246"/>
            <ac:spMk id="69" creationId="{8A632B41-25C9-1D20-8CD1-E96DEC4C687D}"/>
          </ac:spMkLst>
        </pc:spChg>
        <pc:spChg chg="add mod">
          <ac:chgData name="Berger, Martin" userId="2dce5e24-1af4-4f49-bc50-80b59c8dc36b" providerId="ADAL" clId="{B1A8B41A-6079-43D2-B54F-50518D136075}" dt="2024-10-16T08:37:50.991" v="773" actId="1076"/>
          <ac:spMkLst>
            <pc:docMk/>
            <pc:sldMk cId="250808240" sldId="2147138246"/>
            <ac:spMk id="70" creationId="{FF17FC9D-8051-AFFF-9FA9-3DB06A7929E5}"/>
          </ac:spMkLst>
        </pc:spChg>
        <pc:spChg chg="mod">
          <ac:chgData name="Berger, Martin" userId="2dce5e24-1af4-4f49-bc50-80b59c8dc36b" providerId="ADAL" clId="{B1A8B41A-6079-43D2-B54F-50518D136075}" dt="2024-10-16T07:54:12.222" v="430" actId="113"/>
          <ac:spMkLst>
            <pc:docMk/>
            <pc:sldMk cId="250808240" sldId="2147138246"/>
            <ac:spMk id="74" creationId="{7EA0D943-BF47-6DBD-2184-89E6DFDEBE4F}"/>
          </ac:spMkLst>
        </pc:spChg>
        <pc:spChg chg="mod">
          <ac:chgData name="Berger, Martin" userId="2dce5e24-1af4-4f49-bc50-80b59c8dc36b" providerId="ADAL" clId="{B1A8B41A-6079-43D2-B54F-50518D136075}" dt="2024-10-16T07:54:12.222" v="430" actId="113"/>
          <ac:spMkLst>
            <pc:docMk/>
            <pc:sldMk cId="250808240" sldId="2147138246"/>
            <ac:spMk id="75" creationId="{E05D811E-4A23-B921-A7E6-10466FD887D2}"/>
          </ac:spMkLst>
        </pc:spChg>
        <pc:spChg chg="mod">
          <ac:chgData name="Berger, Martin" userId="2dce5e24-1af4-4f49-bc50-80b59c8dc36b" providerId="ADAL" clId="{B1A8B41A-6079-43D2-B54F-50518D136075}" dt="2024-10-16T07:54:12.222" v="430" actId="113"/>
          <ac:spMkLst>
            <pc:docMk/>
            <pc:sldMk cId="250808240" sldId="2147138246"/>
            <ac:spMk id="76" creationId="{538F122D-2629-71A4-2DC4-6EBA7E38995F}"/>
          </ac:spMkLst>
        </pc:spChg>
        <pc:spChg chg="mod">
          <ac:chgData name="Berger, Martin" userId="2dce5e24-1af4-4f49-bc50-80b59c8dc36b" providerId="ADAL" clId="{B1A8B41A-6079-43D2-B54F-50518D136075}" dt="2024-10-16T07:54:12.222" v="430" actId="113"/>
          <ac:spMkLst>
            <pc:docMk/>
            <pc:sldMk cId="250808240" sldId="2147138246"/>
            <ac:spMk id="77" creationId="{D32607DA-E6E0-B545-1FC6-1A9A8A657C05}"/>
          </ac:spMkLst>
        </pc:spChg>
        <pc:spChg chg="mod">
          <ac:chgData name="Berger, Martin" userId="2dce5e24-1af4-4f49-bc50-80b59c8dc36b" providerId="ADAL" clId="{B1A8B41A-6079-43D2-B54F-50518D136075}" dt="2024-10-16T07:54:12.222" v="430" actId="113"/>
          <ac:spMkLst>
            <pc:docMk/>
            <pc:sldMk cId="250808240" sldId="2147138246"/>
            <ac:spMk id="78" creationId="{90D67308-7DCB-CDF8-892F-18270A3B4E4D}"/>
          </ac:spMkLst>
        </pc:spChg>
        <pc:spChg chg="mod">
          <ac:chgData name="Berger, Martin" userId="2dce5e24-1af4-4f49-bc50-80b59c8dc36b" providerId="ADAL" clId="{B1A8B41A-6079-43D2-B54F-50518D136075}" dt="2024-10-16T07:54:12.222" v="430" actId="113"/>
          <ac:spMkLst>
            <pc:docMk/>
            <pc:sldMk cId="250808240" sldId="2147138246"/>
            <ac:spMk id="79" creationId="{DB665001-5D2D-DE72-F989-BBFD4A1ADF17}"/>
          </ac:spMkLst>
        </pc:spChg>
        <pc:spChg chg="mod">
          <ac:chgData name="Berger, Martin" userId="2dce5e24-1af4-4f49-bc50-80b59c8dc36b" providerId="ADAL" clId="{B1A8B41A-6079-43D2-B54F-50518D136075}" dt="2024-10-16T07:54:12.222" v="430" actId="113"/>
          <ac:spMkLst>
            <pc:docMk/>
            <pc:sldMk cId="250808240" sldId="2147138246"/>
            <ac:spMk id="80" creationId="{FB722E2F-89C6-A6D9-B837-57CD03B7B058}"/>
          </ac:spMkLst>
        </pc:spChg>
        <pc:spChg chg="mod">
          <ac:chgData name="Berger, Martin" userId="2dce5e24-1af4-4f49-bc50-80b59c8dc36b" providerId="ADAL" clId="{B1A8B41A-6079-43D2-B54F-50518D136075}" dt="2024-10-16T07:54:12.222" v="430" actId="113"/>
          <ac:spMkLst>
            <pc:docMk/>
            <pc:sldMk cId="250808240" sldId="2147138246"/>
            <ac:spMk id="81" creationId="{7AEF0F01-A544-9951-1168-4D0D94E39210}"/>
          </ac:spMkLst>
        </pc:spChg>
        <pc:spChg chg="mod">
          <ac:chgData name="Berger, Martin" userId="2dce5e24-1af4-4f49-bc50-80b59c8dc36b" providerId="ADAL" clId="{B1A8B41A-6079-43D2-B54F-50518D136075}" dt="2024-10-16T07:54:12.222" v="430" actId="113"/>
          <ac:spMkLst>
            <pc:docMk/>
            <pc:sldMk cId="250808240" sldId="2147138246"/>
            <ac:spMk id="82" creationId="{225AD25D-6313-32DF-61B2-8E2841386D51}"/>
          </ac:spMkLst>
        </pc:spChg>
        <pc:spChg chg="mod">
          <ac:chgData name="Berger, Martin" userId="2dce5e24-1af4-4f49-bc50-80b59c8dc36b" providerId="ADAL" clId="{B1A8B41A-6079-43D2-B54F-50518D136075}" dt="2024-10-16T07:54:12.222" v="430" actId="113"/>
          <ac:spMkLst>
            <pc:docMk/>
            <pc:sldMk cId="250808240" sldId="2147138246"/>
            <ac:spMk id="83" creationId="{42E4A773-36CB-E6F4-5FC3-88DF88B6AD68}"/>
          </ac:spMkLst>
        </pc:spChg>
        <pc:spChg chg="mod">
          <ac:chgData name="Berger, Martin" userId="2dce5e24-1af4-4f49-bc50-80b59c8dc36b" providerId="ADAL" clId="{B1A8B41A-6079-43D2-B54F-50518D136075}" dt="2024-10-16T07:54:12.222" v="430" actId="113"/>
          <ac:spMkLst>
            <pc:docMk/>
            <pc:sldMk cId="250808240" sldId="2147138246"/>
            <ac:spMk id="84" creationId="{C2EC9CBD-705A-3011-6B63-A804D9FC1B78}"/>
          </ac:spMkLst>
        </pc:spChg>
        <pc:spChg chg="mod">
          <ac:chgData name="Berger, Martin" userId="2dce5e24-1af4-4f49-bc50-80b59c8dc36b" providerId="ADAL" clId="{B1A8B41A-6079-43D2-B54F-50518D136075}" dt="2024-10-16T07:54:12.222" v="430" actId="113"/>
          <ac:spMkLst>
            <pc:docMk/>
            <pc:sldMk cId="250808240" sldId="2147138246"/>
            <ac:spMk id="85" creationId="{D5AE846D-269D-7BD7-FAA5-B4F9445E623A}"/>
          </ac:spMkLst>
        </pc:spChg>
        <pc:spChg chg="mod">
          <ac:chgData name="Berger, Martin" userId="2dce5e24-1af4-4f49-bc50-80b59c8dc36b" providerId="ADAL" clId="{B1A8B41A-6079-43D2-B54F-50518D136075}" dt="2024-10-16T07:54:12.222" v="430" actId="113"/>
          <ac:spMkLst>
            <pc:docMk/>
            <pc:sldMk cId="250808240" sldId="2147138246"/>
            <ac:spMk id="86" creationId="{D3FE3B29-80C2-7C3B-8548-EB11331C9092}"/>
          </ac:spMkLst>
        </pc:spChg>
        <pc:spChg chg="mod">
          <ac:chgData name="Berger, Martin" userId="2dce5e24-1af4-4f49-bc50-80b59c8dc36b" providerId="ADAL" clId="{B1A8B41A-6079-43D2-B54F-50518D136075}" dt="2024-10-16T07:54:12.222" v="430" actId="113"/>
          <ac:spMkLst>
            <pc:docMk/>
            <pc:sldMk cId="250808240" sldId="2147138246"/>
            <ac:spMk id="87" creationId="{4D143731-241C-E0E7-42A1-1DE37DBFF0EC}"/>
          </ac:spMkLst>
        </pc:spChg>
        <pc:spChg chg="mod">
          <ac:chgData name="Berger, Martin" userId="2dce5e24-1af4-4f49-bc50-80b59c8dc36b" providerId="ADAL" clId="{B1A8B41A-6079-43D2-B54F-50518D136075}" dt="2024-10-16T07:54:12.222" v="430" actId="113"/>
          <ac:spMkLst>
            <pc:docMk/>
            <pc:sldMk cId="250808240" sldId="2147138246"/>
            <ac:spMk id="88" creationId="{5938534D-055B-5CF6-E8E2-80909315A10E}"/>
          </ac:spMkLst>
        </pc:spChg>
        <pc:spChg chg="mod">
          <ac:chgData name="Berger, Martin" userId="2dce5e24-1af4-4f49-bc50-80b59c8dc36b" providerId="ADAL" clId="{B1A8B41A-6079-43D2-B54F-50518D136075}" dt="2024-10-16T07:54:12.222" v="430" actId="113"/>
          <ac:spMkLst>
            <pc:docMk/>
            <pc:sldMk cId="250808240" sldId="2147138246"/>
            <ac:spMk id="89" creationId="{326BB073-35C2-98E6-0ABB-08744B80FC25}"/>
          </ac:spMkLst>
        </pc:spChg>
        <pc:spChg chg="mod">
          <ac:chgData name="Berger, Martin" userId="2dce5e24-1af4-4f49-bc50-80b59c8dc36b" providerId="ADAL" clId="{B1A8B41A-6079-43D2-B54F-50518D136075}" dt="2024-10-16T07:54:12.222" v="430" actId="113"/>
          <ac:spMkLst>
            <pc:docMk/>
            <pc:sldMk cId="250808240" sldId="2147138246"/>
            <ac:spMk id="90" creationId="{C624DAF3-2520-2DD9-6688-3D3426248D95}"/>
          </ac:spMkLst>
        </pc:spChg>
        <pc:spChg chg="mod">
          <ac:chgData name="Berger, Martin" userId="2dce5e24-1af4-4f49-bc50-80b59c8dc36b" providerId="ADAL" clId="{B1A8B41A-6079-43D2-B54F-50518D136075}" dt="2024-10-16T07:54:12.222" v="430" actId="113"/>
          <ac:spMkLst>
            <pc:docMk/>
            <pc:sldMk cId="250808240" sldId="2147138246"/>
            <ac:spMk id="91" creationId="{CA1117AE-0A30-59A6-51A0-BAA0793877A9}"/>
          </ac:spMkLst>
        </pc:spChg>
        <pc:spChg chg="mod">
          <ac:chgData name="Berger, Martin" userId="2dce5e24-1af4-4f49-bc50-80b59c8dc36b" providerId="ADAL" clId="{B1A8B41A-6079-43D2-B54F-50518D136075}" dt="2024-10-16T07:54:12.222" v="430" actId="113"/>
          <ac:spMkLst>
            <pc:docMk/>
            <pc:sldMk cId="250808240" sldId="2147138246"/>
            <ac:spMk id="92" creationId="{09926586-C6F9-9E5A-B0FC-E1852453BBA0}"/>
          </ac:spMkLst>
        </pc:spChg>
        <pc:spChg chg="mod">
          <ac:chgData name="Berger, Martin" userId="2dce5e24-1af4-4f49-bc50-80b59c8dc36b" providerId="ADAL" clId="{B1A8B41A-6079-43D2-B54F-50518D136075}" dt="2024-10-16T07:54:12.222" v="430" actId="113"/>
          <ac:spMkLst>
            <pc:docMk/>
            <pc:sldMk cId="250808240" sldId="2147138246"/>
            <ac:spMk id="93" creationId="{B06083C6-3A7B-4418-0442-D7EFC23DB330}"/>
          </ac:spMkLst>
        </pc:spChg>
        <pc:spChg chg="mod">
          <ac:chgData name="Berger, Martin" userId="2dce5e24-1af4-4f49-bc50-80b59c8dc36b" providerId="ADAL" clId="{B1A8B41A-6079-43D2-B54F-50518D136075}" dt="2024-10-16T07:54:12.222" v="430" actId="113"/>
          <ac:spMkLst>
            <pc:docMk/>
            <pc:sldMk cId="250808240" sldId="2147138246"/>
            <ac:spMk id="94" creationId="{B2C8A712-B262-F29B-8109-0791AE195C20}"/>
          </ac:spMkLst>
        </pc:spChg>
        <pc:spChg chg="mod">
          <ac:chgData name="Berger, Martin" userId="2dce5e24-1af4-4f49-bc50-80b59c8dc36b" providerId="ADAL" clId="{B1A8B41A-6079-43D2-B54F-50518D136075}" dt="2024-10-16T07:54:12.222" v="430" actId="113"/>
          <ac:spMkLst>
            <pc:docMk/>
            <pc:sldMk cId="250808240" sldId="2147138246"/>
            <ac:spMk id="95" creationId="{E632E951-CACC-A311-151F-98B2430FDF21}"/>
          </ac:spMkLst>
        </pc:spChg>
        <pc:spChg chg="mod">
          <ac:chgData name="Berger, Martin" userId="2dce5e24-1af4-4f49-bc50-80b59c8dc36b" providerId="ADAL" clId="{B1A8B41A-6079-43D2-B54F-50518D136075}" dt="2024-10-16T07:54:12.222" v="430" actId="113"/>
          <ac:spMkLst>
            <pc:docMk/>
            <pc:sldMk cId="250808240" sldId="2147138246"/>
            <ac:spMk id="96" creationId="{166CD9E7-6099-F5A4-22D4-BE267346F08F}"/>
          </ac:spMkLst>
        </pc:spChg>
        <pc:spChg chg="add mod">
          <ac:chgData name="Berger, Martin" userId="2dce5e24-1af4-4f49-bc50-80b59c8dc36b" providerId="ADAL" clId="{B1A8B41A-6079-43D2-B54F-50518D136075}" dt="2024-10-16T08:37:50.991" v="773" actId="1076"/>
          <ac:spMkLst>
            <pc:docMk/>
            <pc:sldMk cId="250808240" sldId="2147138246"/>
            <ac:spMk id="97" creationId="{21BB70BB-A9A7-D17F-F9A8-2FFCAB7AF4CB}"/>
          </ac:spMkLst>
        </pc:spChg>
        <pc:spChg chg="add mod">
          <ac:chgData name="Berger, Martin" userId="2dce5e24-1af4-4f49-bc50-80b59c8dc36b" providerId="ADAL" clId="{B1A8B41A-6079-43D2-B54F-50518D136075}" dt="2024-10-16T08:40:45.876" v="909" actId="20577"/>
          <ac:spMkLst>
            <pc:docMk/>
            <pc:sldMk cId="250808240" sldId="2147138246"/>
            <ac:spMk id="99" creationId="{4D427D9D-B500-2C5D-7549-22BAA3745019}"/>
          </ac:spMkLst>
        </pc:spChg>
        <pc:spChg chg="add mod">
          <ac:chgData name="Berger, Martin" userId="2dce5e24-1af4-4f49-bc50-80b59c8dc36b" providerId="ADAL" clId="{B1A8B41A-6079-43D2-B54F-50518D136075}" dt="2024-10-16T08:40:56.609" v="934" actId="1076"/>
          <ac:spMkLst>
            <pc:docMk/>
            <pc:sldMk cId="250808240" sldId="2147138246"/>
            <ac:spMk id="100" creationId="{0B4B1873-0018-5117-87C3-70826441CB25}"/>
          </ac:spMkLst>
        </pc:spChg>
        <pc:spChg chg="add mod">
          <ac:chgData name="Berger, Martin" userId="2dce5e24-1af4-4f49-bc50-80b59c8dc36b" providerId="ADAL" clId="{B1A8B41A-6079-43D2-B54F-50518D136075}" dt="2024-10-16T08:41:28.686" v="950" actId="1076"/>
          <ac:spMkLst>
            <pc:docMk/>
            <pc:sldMk cId="250808240" sldId="2147138246"/>
            <ac:spMk id="101" creationId="{9DA3CAC0-C770-8B4E-D557-AB4D7C2024C5}"/>
          </ac:spMkLst>
        </pc:spChg>
        <pc:spChg chg="mod">
          <ac:chgData name="Berger, Martin" userId="2dce5e24-1af4-4f49-bc50-80b59c8dc36b" providerId="ADAL" clId="{B1A8B41A-6079-43D2-B54F-50518D136075}" dt="2024-10-16T07:54:12.222" v="430" actId="113"/>
          <ac:spMkLst>
            <pc:docMk/>
            <pc:sldMk cId="250808240" sldId="2147138246"/>
            <ac:spMk id="106" creationId="{39041F08-1084-09CC-1BD5-A44BC08F2642}"/>
          </ac:spMkLst>
        </pc:spChg>
        <pc:spChg chg="mod">
          <ac:chgData name="Berger, Martin" userId="2dce5e24-1af4-4f49-bc50-80b59c8dc36b" providerId="ADAL" clId="{B1A8B41A-6079-43D2-B54F-50518D136075}" dt="2024-10-16T07:54:12.222" v="430" actId="113"/>
          <ac:spMkLst>
            <pc:docMk/>
            <pc:sldMk cId="250808240" sldId="2147138246"/>
            <ac:spMk id="107" creationId="{344ABE48-E78C-1941-B0A9-6EDB28F8A2A8}"/>
          </ac:spMkLst>
        </pc:spChg>
        <pc:spChg chg="mod">
          <ac:chgData name="Berger, Martin" userId="2dce5e24-1af4-4f49-bc50-80b59c8dc36b" providerId="ADAL" clId="{B1A8B41A-6079-43D2-B54F-50518D136075}" dt="2024-10-16T07:54:12.222" v="430" actId="113"/>
          <ac:spMkLst>
            <pc:docMk/>
            <pc:sldMk cId="250808240" sldId="2147138246"/>
            <ac:spMk id="108" creationId="{CD403BB9-0C16-5C2F-94EB-79B059C7656C}"/>
          </ac:spMkLst>
        </pc:spChg>
        <pc:spChg chg="mod">
          <ac:chgData name="Berger, Martin" userId="2dce5e24-1af4-4f49-bc50-80b59c8dc36b" providerId="ADAL" clId="{B1A8B41A-6079-43D2-B54F-50518D136075}" dt="2024-10-16T07:54:12.222" v="430" actId="113"/>
          <ac:spMkLst>
            <pc:docMk/>
            <pc:sldMk cId="250808240" sldId="2147138246"/>
            <ac:spMk id="109" creationId="{6886C961-93DD-E500-510F-4CB2DA60AAB4}"/>
          </ac:spMkLst>
        </pc:spChg>
        <pc:spChg chg="mod">
          <ac:chgData name="Berger, Martin" userId="2dce5e24-1af4-4f49-bc50-80b59c8dc36b" providerId="ADAL" clId="{B1A8B41A-6079-43D2-B54F-50518D136075}" dt="2024-10-16T07:54:12.222" v="430" actId="113"/>
          <ac:spMkLst>
            <pc:docMk/>
            <pc:sldMk cId="250808240" sldId="2147138246"/>
            <ac:spMk id="110" creationId="{44EFA7C8-F573-7D29-A6AA-CC09B5447B5C}"/>
          </ac:spMkLst>
        </pc:spChg>
        <pc:spChg chg="mod">
          <ac:chgData name="Berger, Martin" userId="2dce5e24-1af4-4f49-bc50-80b59c8dc36b" providerId="ADAL" clId="{B1A8B41A-6079-43D2-B54F-50518D136075}" dt="2024-10-16T07:54:12.222" v="430" actId="113"/>
          <ac:spMkLst>
            <pc:docMk/>
            <pc:sldMk cId="250808240" sldId="2147138246"/>
            <ac:spMk id="111" creationId="{6F8B4784-ED4B-0C6D-5F0E-ECAEF60737FE}"/>
          </ac:spMkLst>
        </pc:spChg>
        <pc:spChg chg="mod">
          <ac:chgData name="Berger, Martin" userId="2dce5e24-1af4-4f49-bc50-80b59c8dc36b" providerId="ADAL" clId="{B1A8B41A-6079-43D2-B54F-50518D136075}" dt="2024-10-16T07:54:12.222" v="430" actId="113"/>
          <ac:spMkLst>
            <pc:docMk/>
            <pc:sldMk cId="250808240" sldId="2147138246"/>
            <ac:spMk id="112" creationId="{0DC35247-12C8-33FE-5FD0-18FC82686AE7}"/>
          </ac:spMkLst>
        </pc:spChg>
        <pc:spChg chg="mod">
          <ac:chgData name="Berger, Martin" userId="2dce5e24-1af4-4f49-bc50-80b59c8dc36b" providerId="ADAL" clId="{B1A8B41A-6079-43D2-B54F-50518D136075}" dt="2024-10-16T07:54:12.222" v="430" actId="113"/>
          <ac:spMkLst>
            <pc:docMk/>
            <pc:sldMk cId="250808240" sldId="2147138246"/>
            <ac:spMk id="113" creationId="{31CA1E21-D98E-1A4E-74C4-B693246139C0}"/>
          </ac:spMkLst>
        </pc:spChg>
        <pc:spChg chg="mod">
          <ac:chgData name="Berger, Martin" userId="2dce5e24-1af4-4f49-bc50-80b59c8dc36b" providerId="ADAL" clId="{B1A8B41A-6079-43D2-B54F-50518D136075}" dt="2024-10-16T07:54:12.222" v="430" actId="113"/>
          <ac:spMkLst>
            <pc:docMk/>
            <pc:sldMk cId="250808240" sldId="2147138246"/>
            <ac:spMk id="114" creationId="{4157D19E-B9F8-5A38-89F3-C9BCBCE409EE}"/>
          </ac:spMkLst>
        </pc:spChg>
        <pc:spChg chg="mod">
          <ac:chgData name="Berger, Martin" userId="2dce5e24-1af4-4f49-bc50-80b59c8dc36b" providerId="ADAL" clId="{B1A8B41A-6079-43D2-B54F-50518D136075}" dt="2024-10-16T07:54:12.222" v="430" actId="113"/>
          <ac:spMkLst>
            <pc:docMk/>
            <pc:sldMk cId="250808240" sldId="2147138246"/>
            <ac:spMk id="118" creationId="{9F197713-1C0F-A991-7C87-8A57A5A2B84B}"/>
          </ac:spMkLst>
        </pc:spChg>
        <pc:spChg chg="mod">
          <ac:chgData name="Berger, Martin" userId="2dce5e24-1af4-4f49-bc50-80b59c8dc36b" providerId="ADAL" clId="{B1A8B41A-6079-43D2-B54F-50518D136075}" dt="2024-10-16T07:54:12.222" v="430" actId="113"/>
          <ac:spMkLst>
            <pc:docMk/>
            <pc:sldMk cId="250808240" sldId="2147138246"/>
            <ac:spMk id="119" creationId="{34AAF0FC-D1BA-792D-A9E5-5FF009EB19A0}"/>
          </ac:spMkLst>
        </pc:spChg>
        <pc:spChg chg="mod">
          <ac:chgData name="Berger, Martin" userId="2dce5e24-1af4-4f49-bc50-80b59c8dc36b" providerId="ADAL" clId="{B1A8B41A-6079-43D2-B54F-50518D136075}" dt="2024-10-16T07:54:12.222" v="430" actId="113"/>
          <ac:spMkLst>
            <pc:docMk/>
            <pc:sldMk cId="250808240" sldId="2147138246"/>
            <ac:spMk id="120" creationId="{68362F5B-82AD-3961-5161-9129CDE9AA76}"/>
          </ac:spMkLst>
        </pc:spChg>
        <pc:spChg chg="mod">
          <ac:chgData name="Berger, Martin" userId="2dce5e24-1af4-4f49-bc50-80b59c8dc36b" providerId="ADAL" clId="{B1A8B41A-6079-43D2-B54F-50518D136075}" dt="2024-10-16T07:54:12.222" v="430" actId="113"/>
          <ac:spMkLst>
            <pc:docMk/>
            <pc:sldMk cId="250808240" sldId="2147138246"/>
            <ac:spMk id="121" creationId="{50AB0070-B5F3-3C75-C53F-3C21980E80CA}"/>
          </ac:spMkLst>
        </pc:spChg>
        <pc:spChg chg="mod">
          <ac:chgData name="Berger, Martin" userId="2dce5e24-1af4-4f49-bc50-80b59c8dc36b" providerId="ADAL" clId="{B1A8B41A-6079-43D2-B54F-50518D136075}" dt="2024-10-16T07:54:12.222" v="430" actId="113"/>
          <ac:spMkLst>
            <pc:docMk/>
            <pc:sldMk cId="250808240" sldId="2147138246"/>
            <ac:spMk id="122" creationId="{ABD86339-6C7A-078F-56A1-26E9AC1B4D8C}"/>
          </ac:spMkLst>
        </pc:spChg>
        <pc:spChg chg="mod">
          <ac:chgData name="Berger, Martin" userId="2dce5e24-1af4-4f49-bc50-80b59c8dc36b" providerId="ADAL" clId="{B1A8B41A-6079-43D2-B54F-50518D136075}" dt="2024-10-16T07:54:12.222" v="430" actId="113"/>
          <ac:spMkLst>
            <pc:docMk/>
            <pc:sldMk cId="250808240" sldId="2147138246"/>
            <ac:spMk id="123" creationId="{B3E9F362-2EC0-395C-F87A-FB9468E7B595}"/>
          </ac:spMkLst>
        </pc:spChg>
        <pc:spChg chg="mod">
          <ac:chgData name="Berger, Martin" userId="2dce5e24-1af4-4f49-bc50-80b59c8dc36b" providerId="ADAL" clId="{B1A8B41A-6079-43D2-B54F-50518D136075}" dt="2024-10-16T07:54:12.222" v="430" actId="113"/>
          <ac:spMkLst>
            <pc:docMk/>
            <pc:sldMk cId="250808240" sldId="2147138246"/>
            <ac:spMk id="124" creationId="{FD55A831-FF36-2057-5D68-C7538A984447}"/>
          </ac:spMkLst>
        </pc:spChg>
        <pc:spChg chg="mod">
          <ac:chgData name="Berger, Martin" userId="2dce5e24-1af4-4f49-bc50-80b59c8dc36b" providerId="ADAL" clId="{B1A8B41A-6079-43D2-B54F-50518D136075}" dt="2024-10-16T07:54:12.222" v="430" actId="113"/>
          <ac:spMkLst>
            <pc:docMk/>
            <pc:sldMk cId="250808240" sldId="2147138246"/>
            <ac:spMk id="125" creationId="{7257A245-F36E-AE33-0D27-9250BD63FBE9}"/>
          </ac:spMkLst>
        </pc:spChg>
        <pc:spChg chg="mod">
          <ac:chgData name="Berger, Martin" userId="2dce5e24-1af4-4f49-bc50-80b59c8dc36b" providerId="ADAL" clId="{B1A8B41A-6079-43D2-B54F-50518D136075}" dt="2024-10-16T07:54:12.222" v="430" actId="113"/>
          <ac:spMkLst>
            <pc:docMk/>
            <pc:sldMk cId="250808240" sldId="2147138246"/>
            <ac:spMk id="126" creationId="{591F992F-AAFD-0DD7-B214-8F0A0B32690E}"/>
          </ac:spMkLst>
        </pc:spChg>
        <pc:spChg chg="mod">
          <ac:chgData name="Berger, Martin" userId="2dce5e24-1af4-4f49-bc50-80b59c8dc36b" providerId="ADAL" clId="{B1A8B41A-6079-43D2-B54F-50518D136075}" dt="2024-10-16T07:54:12.222" v="430" actId="113"/>
          <ac:spMkLst>
            <pc:docMk/>
            <pc:sldMk cId="250808240" sldId="2147138246"/>
            <ac:spMk id="127" creationId="{EC70A01F-4B36-378D-7088-55DAE55F3825}"/>
          </ac:spMkLst>
        </pc:spChg>
        <pc:spChg chg="mod">
          <ac:chgData name="Berger, Martin" userId="2dce5e24-1af4-4f49-bc50-80b59c8dc36b" providerId="ADAL" clId="{B1A8B41A-6079-43D2-B54F-50518D136075}" dt="2024-10-16T07:54:12.222" v="430" actId="113"/>
          <ac:spMkLst>
            <pc:docMk/>
            <pc:sldMk cId="250808240" sldId="2147138246"/>
            <ac:spMk id="128" creationId="{EB98B30B-42B0-AC85-8865-18DF7A3F8D52}"/>
          </ac:spMkLst>
        </pc:spChg>
        <pc:spChg chg="mod">
          <ac:chgData name="Berger, Martin" userId="2dce5e24-1af4-4f49-bc50-80b59c8dc36b" providerId="ADAL" clId="{B1A8B41A-6079-43D2-B54F-50518D136075}" dt="2024-10-16T07:54:12.222" v="430" actId="113"/>
          <ac:spMkLst>
            <pc:docMk/>
            <pc:sldMk cId="250808240" sldId="2147138246"/>
            <ac:spMk id="129" creationId="{78ECF331-09FB-7AE4-ECEE-470FF9C55C03}"/>
          </ac:spMkLst>
        </pc:spChg>
        <pc:spChg chg="mod">
          <ac:chgData name="Berger, Martin" userId="2dce5e24-1af4-4f49-bc50-80b59c8dc36b" providerId="ADAL" clId="{B1A8B41A-6079-43D2-B54F-50518D136075}" dt="2024-10-16T07:54:12.222" v="430" actId="113"/>
          <ac:spMkLst>
            <pc:docMk/>
            <pc:sldMk cId="250808240" sldId="2147138246"/>
            <ac:spMk id="130" creationId="{8A98F9FA-DAFC-F18A-7086-5A8B3F02DA9D}"/>
          </ac:spMkLst>
        </pc:spChg>
        <pc:spChg chg="mod">
          <ac:chgData name="Berger, Martin" userId="2dce5e24-1af4-4f49-bc50-80b59c8dc36b" providerId="ADAL" clId="{B1A8B41A-6079-43D2-B54F-50518D136075}" dt="2024-10-16T07:54:12.222" v="430" actId="113"/>
          <ac:spMkLst>
            <pc:docMk/>
            <pc:sldMk cId="250808240" sldId="2147138246"/>
            <ac:spMk id="131" creationId="{DEA8B64B-8BC4-F070-6A9F-DABC75D5814C}"/>
          </ac:spMkLst>
        </pc:spChg>
        <pc:spChg chg="mod">
          <ac:chgData name="Berger, Martin" userId="2dce5e24-1af4-4f49-bc50-80b59c8dc36b" providerId="ADAL" clId="{B1A8B41A-6079-43D2-B54F-50518D136075}" dt="2024-10-16T07:54:12.222" v="430" actId="113"/>
          <ac:spMkLst>
            <pc:docMk/>
            <pc:sldMk cId="250808240" sldId="2147138246"/>
            <ac:spMk id="132" creationId="{7F1D64FF-7E0E-5AF7-5FED-92D3F23A25D4}"/>
          </ac:spMkLst>
        </pc:spChg>
        <pc:spChg chg="mod">
          <ac:chgData name="Berger, Martin" userId="2dce5e24-1af4-4f49-bc50-80b59c8dc36b" providerId="ADAL" clId="{B1A8B41A-6079-43D2-B54F-50518D136075}" dt="2024-10-16T07:54:12.222" v="430" actId="113"/>
          <ac:spMkLst>
            <pc:docMk/>
            <pc:sldMk cId="250808240" sldId="2147138246"/>
            <ac:spMk id="133" creationId="{4B9C8349-684E-8489-313A-4D6B010281BD}"/>
          </ac:spMkLst>
        </pc:spChg>
        <pc:spChg chg="mod">
          <ac:chgData name="Berger, Martin" userId="2dce5e24-1af4-4f49-bc50-80b59c8dc36b" providerId="ADAL" clId="{B1A8B41A-6079-43D2-B54F-50518D136075}" dt="2024-10-16T07:54:12.222" v="430" actId="113"/>
          <ac:spMkLst>
            <pc:docMk/>
            <pc:sldMk cId="250808240" sldId="2147138246"/>
            <ac:spMk id="134" creationId="{66E56AC5-E7AB-8CAD-1465-DCE86B7386AA}"/>
          </ac:spMkLst>
        </pc:spChg>
        <pc:spChg chg="mod">
          <ac:chgData name="Berger, Martin" userId="2dce5e24-1af4-4f49-bc50-80b59c8dc36b" providerId="ADAL" clId="{B1A8B41A-6079-43D2-B54F-50518D136075}" dt="2024-10-16T07:54:12.222" v="430" actId="113"/>
          <ac:spMkLst>
            <pc:docMk/>
            <pc:sldMk cId="250808240" sldId="2147138246"/>
            <ac:spMk id="135" creationId="{8616B665-2E7B-8DD8-DF9B-C8F4B5AA43AC}"/>
          </ac:spMkLst>
        </pc:spChg>
        <pc:spChg chg="mod">
          <ac:chgData name="Berger, Martin" userId="2dce5e24-1af4-4f49-bc50-80b59c8dc36b" providerId="ADAL" clId="{B1A8B41A-6079-43D2-B54F-50518D136075}" dt="2024-10-16T07:54:12.222" v="430" actId="113"/>
          <ac:spMkLst>
            <pc:docMk/>
            <pc:sldMk cId="250808240" sldId="2147138246"/>
            <ac:spMk id="136" creationId="{65225642-E1AA-0809-F37A-BE0AEC773653}"/>
          </ac:spMkLst>
        </pc:spChg>
        <pc:spChg chg="mod">
          <ac:chgData name="Berger, Martin" userId="2dce5e24-1af4-4f49-bc50-80b59c8dc36b" providerId="ADAL" clId="{B1A8B41A-6079-43D2-B54F-50518D136075}" dt="2024-10-16T07:54:12.222" v="430" actId="113"/>
          <ac:spMkLst>
            <pc:docMk/>
            <pc:sldMk cId="250808240" sldId="2147138246"/>
            <ac:spMk id="137" creationId="{A2C3E5EA-77B3-1CA6-0499-28CC2D33E090}"/>
          </ac:spMkLst>
        </pc:spChg>
        <pc:spChg chg="mod">
          <ac:chgData name="Berger, Martin" userId="2dce5e24-1af4-4f49-bc50-80b59c8dc36b" providerId="ADAL" clId="{B1A8B41A-6079-43D2-B54F-50518D136075}" dt="2024-10-16T07:54:12.222" v="430" actId="113"/>
          <ac:spMkLst>
            <pc:docMk/>
            <pc:sldMk cId="250808240" sldId="2147138246"/>
            <ac:spMk id="138" creationId="{83DAEE35-3EE9-6EB8-CB3D-5C3831DCDF0C}"/>
          </ac:spMkLst>
        </pc:spChg>
        <pc:spChg chg="mod">
          <ac:chgData name="Berger, Martin" userId="2dce5e24-1af4-4f49-bc50-80b59c8dc36b" providerId="ADAL" clId="{B1A8B41A-6079-43D2-B54F-50518D136075}" dt="2024-10-16T07:54:12.222" v="430" actId="113"/>
          <ac:spMkLst>
            <pc:docMk/>
            <pc:sldMk cId="250808240" sldId="2147138246"/>
            <ac:spMk id="139" creationId="{33DC4330-8FDF-3948-1597-B4BB17BA30F4}"/>
          </ac:spMkLst>
        </pc:spChg>
        <pc:spChg chg="mod">
          <ac:chgData name="Berger, Martin" userId="2dce5e24-1af4-4f49-bc50-80b59c8dc36b" providerId="ADAL" clId="{B1A8B41A-6079-43D2-B54F-50518D136075}" dt="2024-10-16T07:54:12.222" v="430" actId="113"/>
          <ac:spMkLst>
            <pc:docMk/>
            <pc:sldMk cId="250808240" sldId="2147138246"/>
            <ac:spMk id="140" creationId="{1826E7BA-F81E-DACF-0D11-CD1B10150E96}"/>
          </ac:spMkLst>
        </pc:spChg>
        <pc:spChg chg="add mod">
          <ac:chgData name="Berger, Martin" userId="2dce5e24-1af4-4f49-bc50-80b59c8dc36b" providerId="ADAL" clId="{B1A8B41A-6079-43D2-B54F-50518D136075}" dt="2024-10-16T08:39:59.279" v="855" actId="1076"/>
          <ac:spMkLst>
            <pc:docMk/>
            <pc:sldMk cId="250808240" sldId="2147138246"/>
            <ac:spMk id="142" creationId="{925D1C3E-85CE-946A-EBD1-F364EA2687EF}"/>
          </ac:spMkLst>
        </pc:spChg>
        <pc:spChg chg="add mod">
          <ac:chgData name="Berger, Martin" userId="2dce5e24-1af4-4f49-bc50-80b59c8dc36b" providerId="ADAL" clId="{B1A8B41A-6079-43D2-B54F-50518D136075}" dt="2024-10-16T08:41:20.600" v="948" actId="1076"/>
          <ac:spMkLst>
            <pc:docMk/>
            <pc:sldMk cId="250808240" sldId="2147138246"/>
            <ac:spMk id="144" creationId="{3181312F-974C-4315-4073-B4A26ECFE534}"/>
          </ac:spMkLst>
        </pc:spChg>
        <pc:spChg chg="add mod">
          <ac:chgData name="Berger, Martin" userId="2dce5e24-1af4-4f49-bc50-80b59c8dc36b" providerId="ADAL" clId="{B1A8B41A-6079-43D2-B54F-50518D136075}" dt="2024-10-16T08:41:23.190" v="949" actId="1076"/>
          <ac:spMkLst>
            <pc:docMk/>
            <pc:sldMk cId="250808240" sldId="2147138246"/>
            <ac:spMk id="145" creationId="{DF2A931A-9329-4924-0FB8-0DF19DA99925}"/>
          </ac:spMkLst>
        </pc:spChg>
        <pc:spChg chg="add del mod">
          <ac:chgData name="Berger, Martin" userId="2dce5e24-1af4-4f49-bc50-80b59c8dc36b" providerId="ADAL" clId="{B1A8B41A-6079-43D2-B54F-50518D136075}" dt="2024-10-16T07:51:47.757" v="408" actId="478"/>
          <ac:spMkLst>
            <pc:docMk/>
            <pc:sldMk cId="250808240" sldId="2147138246"/>
            <ac:spMk id="146" creationId="{B4125645-4093-2267-7B25-B62140677128}"/>
          </ac:spMkLst>
        </pc:spChg>
        <pc:spChg chg="add del mod">
          <ac:chgData name="Berger, Martin" userId="2dce5e24-1af4-4f49-bc50-80b59c8dc36b" providerId="ADAL" clId="{B1A8B41A-6079-43D2-B54F-50518D136075}" dt="2024-10-16T07:51:47.757" v="408" actId="478"/>
          <ac:spMkLst>
            <pc:docMk/>
            <pc:sldMk cId="250808240" sldId="2147138246"/>
            <ac:spMk id="147" creationId="{DE108C84-FB99-ADCB-3055-988DEAE9B89F}"/>
          </ac:spMkLst>
        </pc:spChg>
        <pc:spChg chg="add mod">
          <ac:chgData name="Berger, Martin" userId="2dce5e24-1af4-4f49-bc50-80b59c8dc36b" providerId="ADAL" clId="{B1A8B41A-6079-43D2-B54F-50518D136075}" dt="2024-10-16T08:41:15.599" v="947" actId="20577"/>
          <ac:spMkLst>
            <pc:docMk/>
            <pc:sldMk cId="250808240" sldId="2147138246"/>
            <ac:spMk id="148" creationId="{48433961-1F7F-3AD6-9118-ECE640C63488}"/>
          </ac:spMkLst>
        </pc:spChg>
        <pc:spChg chg="add mod ord">
          <ac:chgData name="Berger, Martin" userId="2dce5e24-1af4-4f49-bc50-80b59c8dc36b" providerId="ADAL" clId="{B1A8B41A-6079-43D2-B54F-50518D136075}" dt="2024-10-16T08:37:50.991" v="773" actId="1076"/>
          <ac:spMkLst>
            <pc:docMk/>
            <pc:sldMk cId="250808240" sldId="2147138246"/>
            <ac:spMk id="149" creationId="{A044DCEB-96B6-210D-981C-F4899AD4555C}"/>
          </ac:spMkLst>
        </pc:spChg>
        <pc:spChg chg="add mod ord">
          <ac:chgData name="Berger, Martin" userId="2dce5e24-1af4-4f49-bc50-80b59c8dc36b" providerId="ADAL" clId="{B1A8B41A-6079-43D2-B54F-50518D136075}" dt="2024-10-16T08:39:13.382" v="832" actId="1076"/>
          <ac:spMkLst>
            <pc:docMk/>
            <pc:sldMk cId="250808240" sldId="2147138246"/>
            <ac:spMk id="150" creationId="{450657BD-6E58-F923-314E-54F28EA41D52}"/>
          </ac:spMkLst>
        </pc:spChg>
        <pc:spChg chg="add mod ord">
          <ac:chgData name="Berger, Martin" userId="2dce5e24-1af4-4f49-bc50-80b59c8dc36b" providerId="ADAL" clId="{B1A8B41A-6079-43D2-B54F-50518D136075}" dt="2024-10-16T08:37:50.991" v="773" actId="1076"/>
          <ac:spMkLst>
            <pc:docMk/>
            <pc:sldMk cId="250808240" sldId="2147138246"/>
            <ac:spMk id="151" creationId="{AAA75DA5-205D-8B67-CC06-ED2FC29D3F6E}"/>
          </ac:spMkLst>
        </pc:spChg>
        <pc:spChg chg="add del">
          <ac:chgData name="Berger, Martin" userId="2dce5e24-1af4-4f49-bc50-80b59c8dc36b" providerId="ADAL" clId="{B1A8B41A-6079-43D2-B54F-50518D136075}" dt="2024-10-16T08:37:57.287" v="775" actId="478"/>
          <ac:spMkLst>
            <pc:docMk/>
            <pc:sldMk cId="250808240" sldId="2147138246"/>
            <ac:spMk id="152" creationId="{6018D48A-B242-81B0-D6F5-57CB6EEA6F19}"/>
          </ac:spMkLst>
        </pc:spChg>
        <pc:spChg chg="add mod">
          <ac:chgData name="Berger, Martin" userId="2dce5e24-1af4-4f49-bc50-80b59c8dc36b" providerId="ADAL" clId="{B1A8B41A-6079-43D2-B54F-50518D136075}" dt="2024-10-16T08:40:32.033" v="886" actId="14100"/>
          <ac:spMkLst>
            <pc:docMk/>
            <pc:sldMk cId="250808240" sldId="2147138246"/>
            <ac:spMk id="153" creationId="{FBFC3354-1358-847F-B84C-3B2A91E3DCA2}"/>
          </ac:spMkLst>
        </pc:spChg>
        <pc:spChg chg="add mod">
          <ac:chgData name="Berger, Martin" userId="2dce5e24-1af4-4f49-bc50-80b59c8dc36b" providerId="ADAL" clId="{B1A8B41A-6079-43D2-B54F-50518D136075}" dt="2024-10-16T08:39:36.721" v="840" actId="1076"/>
          <ac:spMkLst>
            <pc:docMk/>
            <pc:sldMk cId="250808240" sldId="2147138246"/>
            <ac:spMk id="154" creationId="{18C5D6A8-9E46-BC09-1ACF-9867400FA4F1}"/>
          </ac:spMkLst>
        </pc:spChg>
        <pc:spChg chg="add del mod">
          <ac:chgData name="Berger, Martin" userId="2dce5e24-1af4-4f49-bc50-80b59c8dc36b" providerId="ADAL" clId="{B1A8B41A-6079-43D2-B54F-50518D136075}" dt="2024-10-16T08:39:28.456" v="837" actId="478"/>
          <ac:spMkLst>
            <pc:docMk/>
            <pc:sldMk cId="250808240" sldId="2147138246"/>
            <ac:spMk id="155" creationId="{C7CAC64A-F2B4-E619-EAA0-B6347B134C68}"/>
          </ac:spMkLst>
        </pc:spChg>
        <pc:spChg chg="add mod">
          <ac:chgData name="Berger, Martin" userId="2dce5e24-1af4-4f49-bc50-80b59c8dc36b" providerId="ADAL" clId="{B1A8B41A-6079-43D2-B54F-50518D136075}" dt="2024-10-16T08:40:34.521" v="887" actId="14100"/>
          <ac:spMkLst>
            <pc:docMk/>
            <pc:sldMk cId="250808240" sldId="2147138246"/>
            <ac:spMk id="156" creationId="{FC9436F4-5D94-B457-D9C7-FBB84322D375}"/>
          </ac:spMkLst>
        </pc:spChg>
        <pc:spChg chg="add mod">
          <ac:chgData name="Berger, Martin" userId="2dce5e24-1af4-4f49-bc50-80b59c8dc36b" providerId="ADAL" clId="{B1A8B41A-6079-43D2-B54F-50518D136075}" dt="2024-10-16T08:39:51.759" v="854" actId="1076"/>
          <ac:spMkLst>
            <pc:docMk/>
            <pc:sldMk cId="250808240" sldId="2147138246"/>
            <ac:spMk id="157" creationId="{39C330AA-B534-D2C4-6383-A23C44391570}"/>
          </ac:spMkLst>
        </pc:spChg>
        <pc:spChg chg="add mod">
          <ac:chgData name="Berger, Martin" userId="2dce5e24-1af4-4f49-bc50-80b59c8dc36b" providerId="ADAL" clId="{B1A8B41A-6079-43D2-B54F-50518D136075}" dt="2024-10-16T08:40:40.935" v="888" actId="14100"/>
          <ac:spMkLst>
            <pc:docMk/>
            <pc:sldMk cId="250808240" sldId="2147138246"/>
            <ac:spMk id="158" creationId="{B22F81E6-844F-8636-025B-D6B92727FAF3}"/>
          </ac:spMkLst>
        </pc:spChg>
        <pc:spChg chg="add mod">
          <ac:chgData name="Berger, Martin" userId="2dce5e24-1af4-4f49-bc50-80b59c8dc36b" providerId="ADAL" clId="{B1A8B41A-6079-43D2-B54F-50518D136075}" dt="2024-10-16T08:40:29.469" v="885" actId="1076"/>
          <ac:spMkLst>
            <pc:docMk/>
            <pc:sldMk cId="250808240" sldId="2147138246"/>
            <ac:spMk id="159" creationId="{24F3B435-D1A6-6448-5039-C09552A2C86B}"/>
          </ac:spMkLst>
        </pc:spChg>
        <pc:grpChg chg="add mod">
          <ac:chgData name="Berger, Martin" userId="2dce5e24-1af4-4f49-bc50-80b59c8dc36b" providerId="ADAL" clId="{B1A8B41A-6079-43D2-B54F-50518D136075}" dt="2024-10-16T08:37:50.991" v="773" actId="1076"/>
          <ac:grpSpMkLst>
            <pc:docMk/>
            <pc:sldMk cId="250808240" sldId="2147138246"/>
            <ac:grpSpMk id="10" creationId="{0925C476-0C58-9FFD-7A8F-EEF9ECA937FF}"/>
          </ac:grpSpMkLst>
        </pc:grpChg>
        <pc:grpChg chg="mod">
          <ac:chgData name="Berger, Martin" userId="2dce5e24-1af4-4f49-bc50-80b59c8dc36b" providerId="ADAL" clId="{B1A8B41A-6079-43D2-B54F-50518D136075}" dt="2024-10-16T07:51:16.664" v="403"/>
          <ac:grpSpMkLst>
            <pc:docMk/>
            <pc:sldMk cId="250808240" sldId="2147138246"/>
            <ac:grpSpMk id="11" creationId="{8C6959DC-4352-E6C6-58B2-9F2DD30C81C2}"/>
          </ac:grpSpMkLst>
        </pc:grpChg>
        <pc:grpChg chg="mod">
          <ac:chgData name="Berger, Martin" userId="2dce5e24-1af4-4f49-bc50-80b59c8dc36b" providerId="ADAL" clId="{B1A8B41A-6079-43D2-B54F-50518D136075}" dt="2024-10-16T07:51:16.664" v="403"/>
          <ac:grpSpMkLst>
            <pc:docMk/>
            <pc:sldMk cId="250808240" sldId="2147138246"/>
            <ac:grpSpMk id="12" creationId="{E2085967-009D-1CF4-5785-AD2E806C3760}"/>
          </ac:grpSpMkLst>
        </pc:grpChg>
        <pc:grpChg chg="add mod">
          <ac:chgData name="Berger, Martin" userId="2dce5e24-1af4-4f49-bc50-80b59c8dc36b" providerId="ADAL" clId="{B1A8B41A-6079-43D2-B54F-50518D136075}" dt="2024-10-16T08:37:50.991" v="773" actId="1076"/>
          <ac:grpSpMkLst>
            <pc:docMk/>
            <pc:sldMk cId="250808240" sldId="2147138246"/>
            <ac:grpSpMk id="36" creationId="{61920268-4E41-02E2-B6B8-B5669D8C0C56}"/>
          </ac:grpSpMkLst>
        </pc:grpChg>
        <pc:grpChg chg="mod">
          <ac:chgData name="Berger, Martin" userId="2dce5e24-1af4-4f49-bc50-80b59c8dc36b" providerId="ADAL" clId="{B1A8B41A-6079-43D2-B54F-50518D136075}" dt="2024-10-16T07:51:16.664" v="403"/>
          <ac:grpSpMkLst>
            <pc:docMk/>
            <pc:sldMk cId="250808240" sldId="2147138246"/>
            <ac:grpSpMk id="37" creationId="{DEBC262B-BFBE-1333-813F-1919BA44CF41}"/>
          </ac:grpSpMkLst>
        </pc:grpChg>
        <pc:grpChg chg="mod">
          <ac:chgData name="Berger, Martin" userId="2dce5e24-1af4-4f49-bc50-80b59c8dc36b" providerId="ADAL" clId="{B1A8B41A-6079-43D2-B54F-50518D136075}" dt="2024-10-16T07:51:16.664" v="403"/>
          <ac:grpSpMkLst>
            <pc:docMk/>
            <pc:sldMk cId="250808240" sldId="2147138246"/>
            <ac:grpSpMk id="38" creationId="{C045D217-FAF0-A446-9717-568D0D697016}"/>
          </ac:grpSpMkLst>
        </pc:grpChg>
        <pc:grpChg chg="add mod">
          <ac:chgData name="Berger, Martin" userId="2dce5e24-1af4-4f49-bc50-80b59c8dc36b" providerId="ADAL" clId="{B1A8B41A-6079-43D2-B54F-50518D136075}" dt="2024-10-16T08:37:50.991" v="773" actId="1076"/>
          <ac:grpSpMkLst>
            <pc:docMk/>
            <pc:sldMk cId="250808240" sldId="2147138246"/>
            <ac:grpSpMk id="48" creationId="{14C0731A-C3B1-64E7-409A-0071AC88CAF2}"/>
          </ac:grpSpMkLst>
        </pc:grpChg>
        <pc:grpChg chg="mod">
          <ac:chgData name="Berger, Martin" userId="2dce5e24-1af4-4f49-bc50-80b59c8dc36b" providerId="ADAL" clId="{B1A8B41A-6079-43D2-B54F-50518D136075}" dt="2024-10-16T07:51:16.664" v="403"/>
          <ac:grpSpMkLst>
            <pc:docMk/>
            <pc:sldMk cId="250808240" sldId="2147138246"/>
            <ac:grpSpMk id="49" creationId="{BB03C5B8-AA56-E47B-8D3A-B66633F274FB}"/>
          </ac:grpSpMkLst>
        </pc:grpChg>
        <pc:grpChg chg="mod">
          <ac:chgData name="Berger, Martin" userId="2dce5e24-1af4-4f49-bc50-80b59c8dc36b" providerId="ADAL" clId="{B1A8B41A-6079-43D2-B54F-50518D136075}" dt="2024-10-16T07:51:16.664" v="403"/>
          <ac:grpSpMkLst>
            <pc:docMk/>
            <pc:sldMk cId="250808240" sldId="2147138246"/>
            <ac:grpSpMk id="50" creationId="{C91C0735-11E8-6E4E-A85D-951C3CE88E6B}"/>
          </ac:grpSpMkLst>
        </pc:grpChg>
        <pc:grpChg chg="add mod">
          <ac:chgData name="Berger, Martin" userId="2dce5e24-1af4-4f49-bc50-80b59c8dc36b" providerId="ADAL" clId="{B1A8B41A-6079-43D2-B54F-50518D136075}" dt="2024-10-16T08:37:50.991" v="773" actId="1076"/>
          <ac:grpSpMkLst>
            <pc:docMk/>
            <pc:sldMk cId="250808240" sldId="2147138246"/>
            <ac:grpSpMk id="71" creationId="{E0B03CF5-E19E-56AE-5620-E2C50FA453CE}"/>
          </ac:grpSpMkLst>
        </pc:grpChg>
        <pc:grpChg chg="mod">
          <ac:chgData name="Berger, Martin" userId="2dce5e24-1af4-4f49-bc50-80b59c8dc36b" providerId="ADAL" clId="{B1A8B41A-6079-43D2-B54F-50518D136075}" dt="2024-10-16T07:51:16.664" v="403"/>
          <ac:grpSpMkLst>
            <pc:docMk/>
            <pc:sldMk cId="250808240" sldId="2147138246"/>
            <ac:grpSpMk id="72" creationId="{BBE2A60B-971F-7364-1CFD-33BD21E83A55}"/>
          </ac:grpSpMkLst>
        </pc:grpChg>
        <pc:grpChg chg="mod">
          <ac:chgData name="Berger, Martin" userId="2dce5e24-1af4-4f49-bc50-80b59c8dc36b" providerId="ADAL" clId="{B1A8B41A-6079-43D2-B54F-50518D136075}" dt="2024-10-16T07:51:16.664" v="403"/>
          <ac:grpSpMkLst>
            <pc:docMk/>
            <pc:sldMk cId="250808240" sldId="2147138246"/>
            <ac:grpSpMk id="73" creationId="{432C4D3D-2D67-0F47-C90A-AA240678C2CB}"/>
          </ac:grpSpMkLst>
        </pc:grpChg>
        <pc:grpChg chg="add mod">
          <ac:chgData name="Berger, Martin" userId="2dce5e24-1af4-4f49-bc50-80b59c8dc36b" providerId="ADAL" clId="{B1A8B41A-6079-43D2-B54F-50518D136075}" dt="2024-10-16T08:37:50.991" v="773" actId="1076"/>
          <ac:grpSpMkLst>
            <pc:docMk/>
            <pc:sldMk cId="250808240" sldId="2147138246"/>
            <ac:grpSpMk id="103" creationId="{60C5F8BF-780A-D916-0816-9BE16C470019}"/>
          </ac:grpSpMkLst>
        </pc:grpChg>
        <pc:grpChg chg="mod">
          <ac:chgData name="Berger, Martin" userId="2dce5e24-1af4-4f49-bc50-80b59c8dc36b" providerId="ADAL" clId="{B1A8B41A-6079-43D2-B54F-50518D136075}" dt="2024-10-16T07:51:16.664" v="403"/>
          <ac:grpSpMkLst>
            <pc:docMk/>
            <pc:sldMk cId="250808240" sldId="2147138246"/>
            <ac:grpSpMk id="104" creationId="{70C58FDB-3207-FF6F-27D2-67E3B28EAAEA}"/>
          </ac:grpSpMkLst>
        </pc:grpChg>
        <pc:grpChg chg="mod">
          <ac:chgData name="Berger, Martin" userId="2dce5e24-1af4-4f49-bc50-80b59c8dc36b" providerId="ADAL" clId="{B1A8B41A-6079-43D2-B54F-50518D136075}" dt="2024-10-16T07:51:16.664" v="403"/>
          <ac:grpSpMkLst>
            <pc:docMk/>
            <pc:sldMk cId="250808240" sldId="2147138246"/>
            <ac:grpSpMk id="105" creationId="{4FD0AB42-064D-331F-8C77-499A9A09D089}"/>
          </ac:grpSpMkLst>
        </pc:grpChg>
        <pc:grpChg chg="add mod">
          <ac:chgData name="Berger, Martin" userId="2dce5e24-1af4-4f49-bc50-80b59c8dc36b" providerId="ADAL" clId="{B1A8B41A-6079-43D2-B54F-50518D136075}" dt="2024-10-16T08:37:50.991" v="773" actId="1076"/>
          <ac:grpSpMkLst>
            <pc:docMk/>
            <pc:sldMk cId="250808240" sldId="2147138246"/>
            <ac:grpSpMk id="115" creationId="{0B181470-8759-342B-670B-1BD87E5D9871}"/>
          </ac:grpSpMkLst>
        </pc:grpChg>
        <pc:grpChg chg="mod">
          <ac:chgData name="Berger, Martin" userId="2dce5e24-1af4-4f49-bc50-80b59c8dc36b" providerId="ADAL" clId="{B1A8B41A-6079-43D2-B54F-50518D136075}" dt="2024-10-16T07:51:16.664" v="403"/>
          <ac:grpSpMkLst>
            <pc:docMk/>
            <pc:sldMk cId="250808240" sldId="2147138246"/>
            <ac:grpSpMk id="116" creationId="{5A731FD4-D6A9-523F-0F8F-AB58E2D77D47}"/>
          </ac:grpSpMkLst>
        </pc:grpChg>
        <pc:grpChg chg="mod">
          <ac:chgData name="Berger, Martin" userId="2dce5e24-1af4-4f49-bc50-80b59c8dc36b" providerId="ADAL" clId="{B1A8B41A-6079-43D2-B54F-50518D136075}" dt="2024-10-16T07:51:16.664" v="403"/>
          <ac:grpSpMkLst>
            <pc:docMk/>
            <pc:sldMk cId="250808240" sldId="2147138246"/>
            <ac:grpSpMk id="117" creationId="{3A1FFE43-427B-CA8C-C70F-1E566A4F414B}"/>
          </ac:grpSpMkLst>
        </pc:grpChg>
        <pc:picChg chg="add mod">
          <ac:chgData name="Berger, Martin" userId="2dce5e24-1af4-4f49-bc50-80b59c8dc36b" providerId="ADAL" clId="{B1A8B41A-6079-43D2-B54F-50518D136075}" dt="2024-10-16T08:37:50.991" v="773" actId="1076"/>
          <ac:picMkLst>
            <pc:docMk/>
            <pc:sldMk cId="250808240" sldId="2147138246"/>
            <ac:picMk id="46" creationId="{6AB0678F-B204-2138-FC87-70E375185BBC}"/>
          </ac:picMkLst>
        </pc:picChg>
        <pc:picChg chg="add mod">
          <ac:chgData name="Berger, Martin" userId="2dce5e24-1af4-4f49-bc50-80b59c8dc36b" providerId="ADAL" clId="{B1A8B41A-6079-43D2-B54F-50518D136075}" dt="2024-10-16T08:37:50.991" v="773" actId="1076"/>
          <ac:picMkLst>
            <pc:docMk/>
            <pc:sldMk cId="250808240" sldId="2147138246"/>
            <ac:picMk id="47" creationId="{01D65CBC-4607-55B5-90CE-6F2F92D44147}"/>
          </ac:picMkLst>
        </pc:picChg>
        <pc:picChg chg="add mod">
          <ac:chgData name="Berger, Martin" userId="2dce5e24-1af4-4f49-bc50-80b59c8dc36b" providerId="ADAL" clId="{B1A8B41A-6079-43D2-B54F-50518D136075}" dt="2024-10-16T08:37:50.991" v="773" actId="1076"/>
          <ac:picMkLst>
            <pc:docMk/>
            <pc:sldMk cId="250808240" sldId="2147138246"/>
            <ac:picMk id="98" creationId="{DBDDF4A7-D7E1-B5E4-F8E6-2F4F0068997F}"/>
          </ac:picMkLst>
        </pc:picChg>
        <pc:picChg chg="add mod">
          <ac:chgData name="Berger, Martin" userId="2dce5e24-1af4-4f49-bc50-80b59c8dc36b" providerId="ADAL" clId="{B1A8B41A-6079-43D2-B54F-50518D136075}" dt="2024-10-16T08:37:50.991" v="773" actId="1076"/>
          <ac:picMkLst>
            <pc:docMk/>
            <pc:sldMk cId="250808240" sldId="2147138246"/>
            <ac:picMk id="102" creationId="{3AAFAF5C-6350-01A1-F56B-3C4C3EFD95A8}"/>
          </ac:picMkLst>
        </pc:picChg>
        <pc:picChg chg="add mod">
          <ac:chgData name="Berger, Martin" userId="2dce5e24-1af4-4f49-bc50-80b59c8dc36b" providerId="ADAL" clId="{B1A8B41A-6079-43D2-B54F-50518D136075}" dt="2024-10-16T08:37:50.991" v="773" actId="1076"/>
          <ac:picMkLst>
            <pc:docMk/>
            <pc:sldMk cId="250808240" sldId="2147138246"/>
            <ac:picMk id="141" creationId="{F4616B4D-7A69-5364-DF38-04C7C42CDAB8}"/>
          </ac:picMkLst>
        </pc:picChg>
        <pc:picChg chg="add mod">
          <ac:chgData name="Berger, Martin" userId="2dce5e24-1af4-4f49-bc50-80b59c8dc36b" providerId="ADAL" clId="{B1A8B41A-6079-43D2-B54F-50518D136075}" dt="2024-10-16T08:37:50.991" v="773" actId="1076"/>
          <ac:picMkLst>
            <pc:docMk/>
            <pc:sldMk cId="250808240" sldId="2147138246"/>
            <ac:picMk id="143" creationId="{272313C6-65C4-21F9-D1F0-D0EA5DF7C457}"/>
          </ac:picMkLst>
        </pc:picChg>
      </pc:sldChg>
      <pc:sldChg chg="modSp new del mod">
        <pc:chgData name="Berger, Martin" userId="2dce5e24-1af4-4f49-bc50-80b59c8dc36b" providerId="ADAL" clId="{B1A8B41A-6079-43D2-B54F-50518D136075}" dt="2024-10-16T13:09:52.526" v="2420" actId="47"/>
        <pc:sldMkLst>
          <pc:docMk/>
          <pc:sldMk cId="3446137778" sldId="2147138247"/>
        </pc:sldMkLst>
        <pc:spChg chg="mod">
          <ac:chgData name="Berger, Martin" userId="2dce5e24-1af4-4f49-bc50-80b59c8dc36b" providerId="ADAL" clId="{B1A8B41A-6079-43D2-B54F-50518D136075}" dt="2024-10-16T08:57:01.793" v="1228" actId="20577"/>
          <ac:spMkLst>
            <pc:docMk/>
            <pc:sldMk cId="3446137778" sldId="2147138247"/>
            <ac:spMk id="2" creationId="{749028D3-983D-60BE-7D43-FDC44A486FCA}"/>
          </ac:spMkLst>
        </pc:spChg>
        <pc:spChg chg="mod">
          <ac:chgData name="Berger, Martin" userId="2dce5e24-1af4-4f49-bc50-80b59c8dc36b" providerId="ADAL" clId="{B1A8B41A-6079-43D2-B54F-50518D136075}" dt="2024-10-16T08:57:03.040" v="1229"/>
          <ac:spMkLst>
            <pc:docMk/>
            <pc:sldMk cId="3446137778" sldId="2147138247"/>
            <ac:spMk id="3" creationId="{D314A566-9388-43EF-0115-E52978EE101A}"/>
          </ac:spMkLst>
        </pc:spChg>
      </pc:sldChg>
      <pc:sldChg chg="addSp delSp modSp new mod">
        <pc:chgData name="Berger, Martin" userId="2dce5e24-1af4-4f49-bc50-80b59c8dc36b" providerId="ADAL" clId="{B1A8B41A-6079-43D2-B54F-50518D136075}" dt="2024-10-16T12:01:07.315" v="1321" actId="1076"/>
        <pc:sldMkLst>
          <pc:docMk/>
          <pc:sldMk cId="3935612487" sldId="2147138248"/>
        </pc:sldMkLst>
        <pc:spChg chg="mod">
          <ac:chgData name="Berger, Martin" userId="2dce5e24-1af4-4f49-bc50-80b59c8dc36b" providerId="ADAL" clId="{B1A8B41A-6079-43D2-B54F-50518D136075}" dt="2024-10-16T11:56:51.502" v="1263" actId="20577"/>
          <ac:spMkLst>
            <pc:docMk/>
            <pc:sldMk cId="3935612487" sldId="2147138248"/>
            <ac:spMk id="2" creationId="{B227F691-EDEC-28A5-53A3-9677B0A7E2BA}"/>
          </ac:spMkLst>
        </pc:spChg>
        <pc:spChg chg="mod">
          <ac:chgData name="Berger, Martin" userId="2dce5e24-1af4-4f49-bc50-80b59c8dc36b" providerId="ADAL" clId="{B1A8B41A-6079-43D2-B54F-50518D136075}" dt="2024-10-16T12:00:01.534" v="1312" actId="20577"/>
          <ac:spMkLst>
            <pc:docMk/>
            <pc:sldMk cId="3935612487" sldId="2147138248"/>
            <ac:spMk id="3" creationId="{55049C61-BDAC-FC3E-F056-414614EF02C4}"/>
          </ac:spMkLst>
        </pc:spChg>
        <pc:spChg chg="add del">
          <ac:chgData name="Berger, Martin" userId="2dce5e24-1af4-4f49-bc50-80b59c8dc36b" providerId="ADAL" clId="{B1A8B41A-6079-43D2-B54F-50518D136075}" dt="2024-10-16T12:00:53.531" v="1314" actId="478"/>
          <ac:spMkLst>
            <pc:docMk/>
            <pc:sldMk cId="3935612487" sldId="2147138248"/>
            <ac:spMk id="7" creationId="{5D170A86-CAF4-EE6D-373D-9067DE028DAA}"/>
          </ac:spMkLst>
        </pc:spChg>
        <pc:picChg chg="add mod">
          <ac:chgData name="Berger, Martin" userId="2dce5e24-1af4-4f49-bc50-80b59c8dc36b" providerId="ADAL" clId="{B1A8B41A-6079-43D2-B54F-50518D136075}" dt="2024-10-16T12:01:07.315" v="1321" actId="1076"/>
          <ac:picMkLst>
            <pc:docMk/>
            <pc:sldMk cId="3935612487" sldId="2147138248"/>
            <ac:picMk id="9" creationId="{AA3C629E-09F3-176C-B978-069672E19B9E}"/>
          </ac:picMkLst>
        </pc:picChg>
      </pc:sldChg>
      <pc:sldChg chg="modSp new mod">
        <pc:chgData name="Berger, Martin" userId="2dce5e24-1af4-4f49-bc50-80b59c8dc36b" providerId="ADAL" clId="{B1A8B41A-6079-43D2-B54F-50518D136075}" dt="2024-10-16T11:58:03.566" v="1284"/>
        <pc:sldMkLst>
          <pc:docMk/>
          <pc:sldMk cId="1528712845" sldId="2147138249"/>
        </pc:sldMkLst>
        <pc:spChg chg="mod">
          <ac:chgData name="Berger, Martin" userId="2dce5e24-1af4-4f49-bc50-80b59c8dc36b" providerId="ADAL" clId="{B1A8B41A-6079-43D2-B54F-50518D136075}" dt="2024-10-16T11:58:02.669" v="1283" actId="20577"/>
          <ac:spMkLst>
            <pc:docMk/>
            <pc:sldMk cId="1528712845" sldId="2147138249"/>
            <ac:spMk id="2" creationId="{45F04419-C632-2A92-74F3-231015EDC3D2}"/>
          </ac:spMkLst>
        </pc:spChg>
        <pc:spChg chg="mod">
          <ac:chgData name="Berger, Martin" userId="2dce5e24-1af4-4f49-bc50-80b59c8dc36b" providerId="ADAL" clId="{B1A8B41A-6079-43D2-B54F-50518D136075}" dt="2024-10-16T11:58:03.566" v="1284"/>
          <ac:spMkLst>
            <pc:docMk/>
            <pc:sldMk cId="1528712845" sldId="2147138249"/>
            <ac:spMk id="3" creationId="{5FB33E6E-C293-4105-E748-EAD20DF1B7B0}"/>
          </ac:spMkLst>
        </pc:spChg>
      </pc:sldChg>
      <pc:sldChg chg="addSp modSp new mod">
        <pc:chgData name="Berger, Martin" userId="2dce5e24-1af4-4f49-bc50-80b59c8dc36b" providerId="ADAL" clId="{B1A8B41A-6079-43D2-B54F-50518D136075}" dt="2024-10-16T12:24:11.264" v="1603" actId="20577"/>
        <pc:sldMkLst>
          <pc:docMk/>
          <pc:sldMk cId="2455756589" sldId="2147138250"/>
        </pc:sldMkLst>
        <pc:spChg chg="mod">
          <ac:chgData name="Berger, Martin" userId="2dce5e24-1af4-4f49-bc50-80b59c8dc36b" providerId="ADAL" clId="{B1A8B41A-6079-43D2-B54F-50518D136075}" dt="2024-10-16T12:21:49.483" v="1354" actId="20577"/>
          <ac:spMkLst>
            <pc:docMk/>
            <pc:sldMk cId="2455756589" sldId="2147138250"/>
            <ac:spMk id="2" creationId="{0D52BAAF-36A2-7982-0B40-A982D0CA866D}"/>
          </ac:spMkLst>
        </pc:spChg>
        <pc:spChg chg="mod">
          <ac:chgData name="Berger, Martin" userId="2dce5e24-1af4-4f49-bc50-80b59c8dc36b" providerId="ADAL" clId="{B1A8B41A-6079-43D2-B54F-50518D136075}" dt="2024-10-16T12:24:11.264" v="1603" actId="20577"/>
          <ac:spMkLst>
            <pc:docMk/>
            <pc:sldMk cId="2455756589" sldId="2147138250"/>
            <ac:spMk id="3" creationId="{62BC3EF3-2261-2E87-8358-BB547ED67E9F}"/>
          </ac:spMkLst>
        </pc:spChg>
        <pc:picChg chg="add mod">
          <ac:chgData name="Berger, Martin" userId="2dce5e24-1af4-4f49-bc50-80b59c8dc36b" providerId="ADAL" clId="{B1A8B41A-6079-43D2-B54F-50518D136075}" dt="2024-10-16T12:23:22.454" v="1561" actId="1076"/>
          <ac:picMkLst>
            <pc:docMk/>
            <pc:sldMk cId="2455756589" sldId="2147138250"/>
            <ac:picMk id="7" creationId="{882DDEEE-79E8-38EF-BC84-C7FCFCC03F71}"/>
          </ac:picMkLst>
        </pc:picChg>
        <pc:picChg chg="add mod">
          <ac:chgData name="Berger, Martin" userId="2dce5e24-1af4-4f49-bc50-80b59c8dc36b" providerId="ADAL" clId="{B1A8B41A-6079-43D2-B54F-50518D136075}" dt="2024-10-16T12:23:57.837" v="1565" actId="208"/>
          <ac:picMkLst>
            <pc:docMk/>
            <pc:sldMk cId="2455756589" sldId="2147138250"/>
            <ac:picMk id="9" creationId="{4EA68A04-9F93-65DE-DC4D-DB42720A3E5D}"/>
          </ac:picMkLst>
        </pc:picChg>
      </pc:sldChg>
      <pc:sldChg chg="addSp modSp new mod">
        <pc:chgData name="Berger, Martin" userId="2dce5e24-1af4-4f49-bc50-80b59c8dc36b" providerId="ADAL" clId="{B1A8B41A-6079-43D2-B54F-50518D136075}" dt="2024-10-16T12:30:04.566" v="1685" actId="208"/>
        <pc:sldMkLst>
          <pc:docMk/>
          <pc:sldMk cId="234035560" sldId="2147138251"/>
        </pc:sldMkLst>
        <pc:spChg chg="mod">
          <ac:chgData name="Berger, Martin" userId="2dce5e24-1af4-4f49-bc50-80b59c8dc36b" providerId="ADAL" clId="{B1A8B41A-6079-43D2-B54F-50518D136075}" dt="2024-10-16T12:24:27.914" v="1617" actId="20577"/>
          <ac:spMkLst>
            <pc:docMk/>
            <pc:sldMk cId="234035560" sldId="2147138251"/>
            <ac:spMk id="2" creationId="{E17FF005-9445-7A65-E1D4-47B1B1993FA3}"/>
          </ac:spMkLst>
        </pc:spChg>
        <pc:spChg chg="mod">
          <ac:chgData name="Berger, Martin" userId="2dce5e24-1af4-4f49-bc50-80b59c8dc36b" providerId="ADAL" clId="{B1A8B41A-6079-43D2-B54F-50518D136075}" dt="2024-10-16T12:29:58.493" v="1683" actId="113"/>
          <ac:spMkLst>
            <pc:docMk/>
            <pc:sldMk cId="234035560" sldId="2147138251"/>
            <ac:spMk id="3" creationId="{C6CA7AF0-A63C-4604-7F0C-9E589AC69F49}"/>
          </ac:spMkLst>
        </pc:spChg>
        <pc:graphicFrameChg chg="add mod">
          <ac:chgData name="Berger, Martin" userId="2dce5e24-1af4-4f49-bc50-80b59c8dc36b" providerId="ADAL" clId="{B1A8B41A-6079-43D2-B54F-50518D136075}" dt="2024-10-16T12:25:52.242" v="1623"/>
          <ac:graphicFrameMkLst>
            <pc:docMk/>
            <pc:sldMk cId="234035560" sldId="2147138251"/>
            <ac:graphicFrameMk id="6" creationId="{40016BCD-5EB3-A4FF-85E4-44C6ED56F905}"/>
          </ac:graphicFrameMkLst>
        </pc:graphicFrameChg>
        <pc:graphicFrameChg chg="add mod">
          <ac:chgData name="Berger, Martin" userId="2dce5e24-1af4-4f49-bc50-80b59c8dc36b" providerId="ADAL" clId="{B1A8B41A-6079-43D2-B54F-50518D136075}" dt="2024-10-16T12:26:23.721" v="1640"/>
          <ac:graphicFrameMkLst>
            <pc:docMk/>
            <pc:sldMk cId="234035560" sldId="2147138251"/>
            <ac:graphicFrameMk id="7" creationId="{77BB1E04-D13D-FDE6-7867-6FE8CCB0D5E3}"/>
          </ac:graphicFrameMkLst>
        </pc:graphicFrameChg>
        <pc:graphicFrameChg chg="add mod">
          <ac:chgData name="Berger, Martin" userId="2dce5e24-1af4-4f49-bc50-80b59c8dc36b" providerId="ADAL" clId="{B1A8B41A-6079-43D2-B54F-50518D136075}" dt="2024-10-16T12:26:34.040" v="1643"/>
          <ac:graphicFrameMkLst>
            <pc:docMk/>
            <pc:sldMk cId="234035560" sldId="2147138251"/>
            <ac:graphicFrameMk id="8" creationId="{59247FCB-2A5F-1C10-A773-56D8E51E6C57}"/>
          </ac:graphicFrameMkLst>
        </pc:graphicFrameChg>
        <pc:picChg chg="add mod">
          <ac:chgData name="Berger, Martin" userId="2dce5e24-1af4-4f49-bc50-80b59c8dc36b" providerId="ADAL" clId="{B1A8B41A-6079-43D2-B54F-50518D136075}" dt="2024-10-16T12:30:04.566" v="1685" actId="208"/>
          <ac:picMkLst>
            <pc:docMk/>
            <pc:sldMk cId="234035560" sldId="2147138251"/>
            <ac:picMk id="10" creationId="{5889014A-DE6E-5352-6315-4BA2D4710798}"/>
          </ac:picMkLst>
        </pc:picChg>
      </pc:sldChg>
      <pc:sldChg chg="addSp delSp modSp new mod modClrScheme chgLayout">
        <pc:chgData name="Berger, Martin" userId="2dce5e24-1af4-4f49-bc50-80b59c8dc36b" providerId="ADAL" clId="{B1A8B41A-6079-43D2-B54F-50518D136075}" dt="2024-10-16T12:42:38.337" v="1849" actId="120"/>
        <pc:sldMkLst>
          <pc:docMk/>
          <pc:sldMk cId="182080551" sldId="2147138252"/>
        </pc:sldMkLst>
        <pc:spChg chg="mod ord">
          <ac:chgData name="Berger, Martin" userId="2dce5e24-1af4-4f49-bc50-80b59c8dc36b" providerId="ADAL" clId="{B1A8B41A-6079-43D2-B54F-50518D136075}" dt="2024-10-16T12:36:12.255" v="1747" actId="700"/>
          <ac:spMkLst>
            <pc:docMk/>
            <pc:sldMk cId="182080551" sldId="2147138252"/>
            <ac:spMk id="2" creationId="{9EF03685-E909-E772-CA4B-977FEF3D3B28}"/>
          </ac:spMkLst>
        </pc:spChg>
        <pc:spChg chg="mod ord">
          <ac:chgData name="Berger, Martin" userId="2dce5e24-1af4-4f49-bc50-80b59c8dc36b" providerId="ADAL" clId="{B1A8B41A-6079-43D2-B54F-50518D136075}" dt="2024-10-16T12:41:37.528" v="1848" actId="20577"/>
          <ac:spMkLst>
            <pc:docMk/>
            <pc:sldMk cId="182080551" sldId="2147138252"/>
            <ac:spMk id="3" creationId="{DA07060D-2D34-DEAA-3C47-C5CD027EFCEB}"/>
          </ac:spMkLst>
        </pc:spChg>
        <pc:spChg chg="mod ord">
          <ac:chgData name="Berger, Martin" userId="2dce5e24-1af4-4f49-bc50-80b59c8dc36b" providerId="ADAL" clId="{B1A8B41A-6079-43D2-B54F-50518D136075}" dt="2024-10-16T12:36:12.255" v="1747" actId="700"/>
          <ac:spMkLst>
            <pc:docMk/>
            <pc:sldMk cId="182080551" sldId="2147138252"/>
            <ac:spMk id="4" creationId="{F79DC221-8C28-FF2A-4DE3-AEE1987BA070}"/>
          </ac:spMkLst>
        </pc:spChg>
        <pc:spChg chg="mod ord">
          <ac:chgData name="Berger, Martin" userId="2dce5e24-1af4-4f49-bc50-80b59c8dc36b" providerId="ADAL" clId="{B1A8B41A-6079-43D2-B54F-50518D136075}" dt="2024-10-16T12:36:12.255" v="1747" actId="700"/>
          <ac:spMkLst>
            <pc:docMk/>
            <pc:sldMk cId="182080551" sldId="2147138252"/>
            <ac:spMk id="5" creationId="{B001E647-121B-BFB3-5228-C2D1A4F4CBF3}"/>
          </ac:spMkLst>
        </pc:spChg>
        <pc:spChg chg="add del mod ord">
          <ac:chgData name="Berger, Martin" userId="2dce5e24-1af4-4f49-bc50-80b59c8dc36b" providerId="ADAL" clId="{B1A8B41A-6079-43D2-B54F-50518D136075}" dt="2024-10-16T12:36:12.255" v="1747" actId="700"/>
          <ac:spMkLst>
            <pc:docMk/>
            <pc:sldMk cId="182080551" sldId="2147138252"/>
            <ac:spMk id="6" creationId="{B6D034A6-E66F-4427-E24E-B3BB942BE0E2}"/>
          </ac:spMkLst>
        </pc:spChg>
        <pc:spChg chg="add mod ord">
          <ac:chgData name="Berger, Martin" userId="2dce5e24-1af4-4f49-bc50-80b59c8dc36b" providerId="ADAL" clId="{B1A8B41A-6079-43D2-B54F-50518D136075}" dt="2024-10-16T12:42:38.337" v="1849" actId="120"/>
          <ac:spMkLst>
            <pc:docMk/>
            <pc:sldMk cId="182080551" sldId="2147138252"/>
            <ac:spMk id="7" creationId="{650E04BA-1F3D-7936-8089-246FDF0D7913}"/>
          </ac:spMkLst>
        </pc:spChg>
        <pc:picChg chg="add mod">
          <ac:chgData name="Berger, Martin" userId="2dce5e24-1af4-4f49-bc50-80b59c8dc36b" providerId="ADAL" clId="{B1A8B41A-6079-43D2-B54F-50518D136075}" dt="2024-10-16T12:37:53.187" v="1845" actId="208"/>
          <ac:picMkLst>
            <pc:docMk/>
            <pc:sldMk cId="182080551" sldId="2147138252"/>
            <ac:picMk id="9" creationId="{138126EA-2821-63C6-67F8-F70BC24AD15B}"/>
          </ac:picMkLst>
        </pc:picChg>
      </pc:sldChg>
      <pc:sldChg chg="addSp delSp modSp new mod modClrScheme chgLayout">
        <pc:chgData name="Berger, Martin" userId="2dce5e24-1af4-4f49-bc50-80b59c8dc36b" providerId="ADAL" clId="{B1A8B41A-6079-43D2-B54F-50518D136075}" dt="2024-10-16T13:06:35.034" v="2326" actId="1076"/>
        <pc:sldMkLst>
          <pc:docMk/>
          <pc:sldMk cId="1352604903" sldId="2147138253"/>
        </pc:sldMkLst>
        <pc:spChg chg="del mod ord">
          <ac:chgData name="Berger, Martin" userId="2dce5e24-1af4-4f49-bc50-80b59c8dc36b" providerId="ADAL" clId="{B1A8B41A-6079-43D2-B54F-50518D136075}" dt="2024-10-16T12:45:42.494" v="1851" actId="700"/>
          <ac:spMkLst>
            <pc:docMk/>
            <pc:sldMk cId="1352604903" sldId="2147138253"/>
            <ac:spMk id="2" creationId="{A2F53EFE-5012-0B14-7BE9-A484369EFE69}"/>
          </ac:spMkLst>
        </pc:spChg>
        <pc:spChg chg="del mod ord">
          <ac:chgData name="Berger, Martin" userId="2dce5e24-1af4-4f49-bc50-80b59c8dc36b" providerId="ADAL" clId="{B1A8B41A-6079-43D2-B54F-50518D136075}" dt="2024-10-16T12:45:42.494" v="1851" actId="700"/>
          <ac:spMkLst>
            <pc:docMk/>
            <pc:sldMk cId="1352604903" sldId="2147138253"/>
            <ac:spMk id="3" creationId="{A9AB0495-CCF7-2359-2F22-3EBAA61CCBC9}"/>
          </ac:spMkLst>
        </pc:spChg>
        <pc:spChg chg="del">
          <ac:chgData name="Berger, Martin" userId="2dce5e24-1af4-4f49-bc50-80b59c8dc36b" providerId="ADAL" clId="{B1A8B41A-6079-43D2-B54F-50518D136075}" dt="2024-10-16T12:45:42.494" v="1851" actId="700"/>
          <ac:spMkLst>
            <pc:docMk/>
            <pc:sldMk cId="1352604903" sldId="2147138253"/>
            <ac:spMk id="4" creationId="{0BC4F054-B530-76CF-A00B-9BAC1838CBEE}"/>
          </ac:spMkLst>
        </pc:spChg>
        <pc:spChg chg="mod ord">
          <ac:chgData name="Berger, Martin" userId="2dce5e24-1af4-4f49-bc50-80b59c8dc36b" providerId="ADAL" clId="{B1A8B41A-6079-43D2-B54F-50518D136075}" dt="2024-10-16T12:45:42.494" v="1851" actId="700"/>
          <ac:spMkLst>
            <pc:docMk/>
            <pc:sldMk cId="1352604903" sldId="2147138253"/>
            <ac:spMk id="5" creationId="{8223B6E2-6E61-7710-C703-42B5855D2ED5}"/>
          </ac:spMkLst>
        </pc:spChg>
        <pc:spChg chg="mod ord">
          <ac:chgData name="Berger, Martin" userId="2dce5e24-1af4-4f49-bc50-80b59c8dc36b" providerId="ADAL" clId="{B1A8B41A-6079-43D2-B54F-50518D136075}" dt="2024-10-16T12:45:42.494" v="1851" actId="700"/>
          <ac:spMkLst>
            <pc:docMk/>
            <pc:sldMk cId="1352604903" sldId="2147138253"/>
            <ac:spMk id="6" creationId="{3405E9BB-5ABE-F33E-DF95-6B27BB562FB4}"/>
          </ac:spMkLst>
        </pc:spChg>
        <pc:spChg chg="del">
          <ac:chgData name="Berger, Martin" userId="2dce5e24-1af4-4f49-bc50-80b59c8dc36b" providerId="ADAL" clId="{B1A8B41A-6079-43D2-B54F-50518D136075}" dt="2024-10-16T12:45:42.494" v="1851" actId="700"/>
          <ac:spMkLst>
            <pc:docMk/>
            <pc:sldMk cId="1352604903" sldId="2147138253"/>
            <ac:spMk id="7" creationId="{4A66B76A-8A3D-63EC-E23B-960E19982D36}"/>
          </ac:spMkLst>
        </pc:spChg>
        <pc:spChg chg="add mod ord">
          <ac:chgData name="Berger, Martin" userId="2dce5e24-1af4-4f49-bc50-80b59c8dc36b" providerId="ADAL" clId="{B1A8B41A-6079-43D2-B54F-50518D136075}" dt="2024-10-16T12:45:59.536" v="1916" actId="20577"/>
          <ac:spMkLst>
            <pc:docMk/>
            <pc:sldMk cId="1352604903" sldId="2147138253"/>
            <ac:spMk id="8" creationId="{9A674AFE-5512-1542-41A3-194815669B48}"/>
          </ac:spMkLst>
        </pc:spChg>
        <pc:spChg chg="add mod ord">
          <ac:chgData name="Berger, Martin" userId="2dce5e24-1af4-4f49-bc50-80b59c8dc36b" providerId="ADAL" clId="{B1A8B41A-6079-43D2-B54F-50518D136075}" dt="2024-10-16T12:47:32.410" v="1925" actId="113"/>
          <ac:spMkLst>
            <pc:docMk/>
            <pc:sldMk cId="1352604903" sldId="2147138253"/>
            <ac:spMk id="9" creationId="{7FB0F095-79D3-F7C6-215C-E7619C91839A}"/>
          </ac:spMkLst>
        </pc:spChg>
        <pc:picChg chg="add mod">
          <ac:chgData name="Berger, Martin" userId="2dce5e24-1af4-4f49-bc50-80b59c8dc36b" providerId="ADAL" clId="{B1A8B41A-6079-43D2-B54F-50518D136075}" dt="2024-10-16T13:06:35.034" v="2326" actId="1076"/>
          <ac:picMkLst>
            <pc:docMk/>
            <pc:sldMk cId="1352604903" sldId="2147138253"/>
            <ac:picMk id="11" creationId="{0E6B69C8-D752-8192-165A-D0F3C99A3772}"/>
          </ac:picMkLst>
        </pc:picChg>
      </pc:sldChg>
      <pc:sldChg chg="addSp delSp modSp new mod">
        <pc:chgData name="Berger, Martin" userId="2dce5e24-1af4-4f49-bc50-80b59c8dc36b" providerId="ADAL" clId="{B1A8B41A-6079-43D2-B54F-50518D136075}" dt="2024-10-16T13:54:20.820" v="2592" actId="1076"/>
        <pc:sldMkLst>
          <pc:docMk/>
          <pc:sldMk cId="2520885415" sldId="2147138254"/>
        </pc:sldMkLst>
        <pc:spChg chg="mod">
          <ac:chgData name="Berger, Martin" userId="2dce5e24-1af4-4f49-bc50-80b59c8dc36b" providerId="ADAL" clId="{B1A8B41A-6079-43D2-B54F-50518D136075}" dt="2024-10-16T12:56:56.748" v="1963" actId="20577"/>
          <ac:spMkLst>
            <pc:docMk/>
            <pc:sldMk cId="2520885415" sldId="2147138254"/>
            <ac:spMk id="2" creationId="{DD356132-B12D-E754-2680-968A210E0DD6}"/>
          </ac:spMkLst>
        </pc:spChg>
        <pc:spChg chg="del mod">
          <ac:chgData name="Berger, Martin" userId="2dce5e24-1af4-4f49-bc50-80b59c8dc36b" providerId="ADAL" clId="{B1A8B41A-6079-43D2-B54F-50518D136075}" dt="2024-10-16T13:54:17.024" v="2589" actId="478"/>
          <ac:spMkLst>
            <pc:docMk/>
            <pc:sldMk cId="2520885415" sldId="2147138254"/>
            <ac:spMk id="3" creationId="{C3C17B4B-6ABB-DD50-1246-5C413D8F0127}"/>
          </ac:spMkLst>
        </pc:spChg>
        <pc:spChg chg="add">
          <ac:chgData name="Berger, Martin" userId="2dce5e24-1af4-4f49-bc50-80b59c8dc36b" providerId="ADAL" clId="{B1A8B41A-6079-43D2-B54F-50518D136075}" dt="2024-10-16T12:57:00.270" v="1964"/>
          <ac:spMkLst>
            <pc:docMk/>
            <pc:sldMk cId="2520885415" sldId="2147138254"/>
            <ac:spMk id="6" creationId="{61FD1267-256C-8886-1A84-84527EF2E48C}"/>
          </ac:spMkLst>
        </pc:spChg>
        <pc:picChg chg="add del mod">
          <ac:chgData name="Berger, Martin" userId="2dce5e24-1af4-4f49-bc50-80b59c8dc36b" providerId="ADAL" clId="{B1A8B41A-6079-43D2-B54F-50518D136075}" dt="2024-10-16T13:54:14.386" v="2587" actId="478"/>
          <ac:picMkLst>
            <pc:docMk/>
            <pc:sldMk cId="2520885415" sldId="2147138254"/>
            <ac:picMk id="7" creationId="{AD00FC69-393D-2613-EC5E-4A2089CFE2C7}"/>
          </ac:picMkLst>
        </pc:picChg>
        <pc:picChg chg="add mod">
          <ac:chgData name="Berger, Martin" userId="2dce5e24-1af4-4f49-bc50-80b59c8dc36b" providerId="ADAL" clId="{B1A8B41A-6079-43D2-B54F-50518D136075}" dt="2024-10-16T13:54:20.820" v="2592" actId="1076"/>
          <ac:picMkLst>
            <pc:docMk/>
            <pc:sldMk cId="2520885415" sldId="2147138254"/>
            <ac:picMk id="9" creationId="{87B80071-D6C7-C222-CDB2-ADA125949684}"/>
          </ac:picMkLst>
        </pc:picChg>
      </pc:sldChg>
      <pc:sldChg chg="delSp modSp add mod">
        <pc:chgData name="Berger, Martin" userId="2dce5e24-1af4-4f49-bc50-80b59c8dc36b" providerId="ADAL" clId="{B1A8B41A-6079-43D2-B54F-50518D136075}" dt="2024-10-16T13:07:24.956" v="2395" actId="20577"/>
        <pc:sldMkLst>
          <pc:docMk/>
          <pc:sldMk cId="4165949870" sldId="2147138255"/>
        </pc:sldMkLst>
        <pc:spChg chg="mod">
          <ac:chgData name="Berger, Martin" userId="2dce5e24-1af4-4f49-bc50-80b59c8dc36b" providerId="ADAL" clId="{B1A8B41A-6079-43D2-B54F-50518D136075}" dt="2024-10-16T13:07:24.956" v="2395" actId="20577"/>
          <ac:spMkLst>
            <pc:docMk/>
            <pc:sldMk cId="4165949870" sldId="2147138255"/>
            <ac:spMk id="2" creationId="{1E6E8C83-5604-6800-8503-08C9674A39D3}"/>
          </ac:spMkLst>
        </pc:spChg>
        <pc:spChg chg="mod">
          <ac:chgData name="Berger, Martin" userId="2dce5e24-1af4-4f49-bc50-80b59c8dc36b" providerId="ADAL" clId="{B1A8B41A-6079-43D2-B54F-50518D136075}" dt="2024-10-16T13:04:35.671" v="2283" actId="20577"/>
          <ac:spMkLst>
            <pc:docMk/>
            <pc:sldMk cId="4165949870" sldId="2147138255"/>
            <ac:spMk id="3" creationId="{998C4BBF-A242-24EA-B3CA-4B13BF528F10}"/>
          </ac:spMkLst>
        </pc:spChg>
        <pc:picChg chg="del">
          <ac:chgData name="Berger, Martin" userId="2dce5e24-1af4-4f49-bc50-80b59c8dc36b" providerId="ADAL" clId="{B1A8B41A-6079-43D2-B54F-50518D136075}" dt="2024-10-16T13:02:06.162" v="2041" actId="478"/>
          <ac:picMkLst>
            <pc:docMk/>
            <pc:sldMk cId="4165949870" sldId="2147138255"/>
            <ac:picMk id="9" creationId="{E713D9D8-2982-7A7F-0B93-482C175EF053}"/>
          </ac:picMkLst>
        </pc:picChg>
      </pc:sldChg>
      <pc:sldChg chg="addSp modSp add mod">
        <pc:chgData name="Berger, Martin" userId="2dce5e24-1af4-4f49-bc50-80b59c8dc36b" providerId="ADAL" clId="{B1A8B41A-6079-43D2-B54F-50518D136075}" dt="2024-10-16T13:08:52.788" v="2414" actId="208"/>
        <pc:sldMkLst>
          <pc:docMk/>
          <pc:sldMk cId="65773009" sldId="2147138256"/>
        </pc:sldMkLst>
        <pc:spChg chg="mod">
          <ac:chgData name="Berger, Martin" userId="2dce5e24-1af4-4f49-bc50-80b59c8dc36b" providerId="ADAL" clId="{B1A8B41A-6079-43D2-B54F-50518D136075}" dt="2024-10-16T13:07:48.423" v="2405" actId="20577"/>
          <ac:spMkLst>
            <pc:docMk/>
            <pc:sldMk cId="65773009" sldId="2147138256"/>
            <ac:spMk id="2" creationId="{1E6E8C83-5604-6800-8503-08C9674A39D3}"/>
          </ac:spMkLst>
        </pc:spChg>
        <pc:spChg chg="mod">
          <ac:chgData name="Berger, Martin" userId="2dce5e24-1af4-4f49-bc50-80b59c8dc36b" providerId="ADAL" clId="{B1A8B41A-6079-43D2-B54F-50518D136075}" dt="2024-10-16T13:08:18.864" v="2410" actId="12"/>
          <ac:spMkLst>
            <pc:docMk/>
            <pc:sldMk cId="65773009" sldId="2147138256"/>
            <ac:spMk id="3" creationId="{998C4BBF-A242-24EA-B3CA-4B13BF528F10}"/>
          </ac:spMkLst>
        </pc:spChg>
        <pc:picChg chg="add mod">
          <ac:chgData name="Berger, Martin" userId="2dce5e24-1af4-4f49-bc50-80b59c8dc36b" providerId="ADAL" clId="{B1A8B41A-6079-43D2-B54F-50518D136075}" dt="2024-10-16T13:08:52.788" v="2414" actId="208"/>
          <ac:picMkLst>
            <pc:docMk/>
            <pc:sldMk cId="65773009" sldId="2147138256"/>
            <ac:picMk id="7" creationId="{B955477A-BC47-F1F2-6FDD-DC1B72A2BF52}"/>
          </ac:picMkLst>
        </pc:picChg>
      </pc:sldChg>
      <pc:sldChg chg="addSp modSp new mod">
        <pc:chgData name="Berger, Martin" userId="2dce5e24-1af4-4f49-bc50-80b59c8dc36b" providerId="ADAL" clId="{B1A8B41A-6079-43D2-B54F-50518D136075}" dt="2024-10-16T13:43:12.680" v="2586" actId="208"/>
        <pc:sldMkLst>
          <pc:docMk/>
          <pc:sldMk cId="2353612658" sldId="2147138257"/>
        </pc:sldMkLst>
        <pc:spChg chg="mod">
          <ac:chgData name="Berger, Martin" userId="2dce5e24-1af4-4f49-bc50-80b59c8dc36b" providerId="ADAL" clId="{B1A8B41A-6079-43D2-B54F-50518D136075}" dt="2024-10-16T13:10:07.427" v="2442" actId="20577"/>
          <ac:spMkLst>
            <pc:docMk/>
            <pc:sldMk cId="2353612658" sldId="2147138257"/>
            <ac:spMk id="2" creationId="{64B54B36-73C4-B2B5-336D-A5E2BFB8A430}"/>
          </ac:spMkLst>
        </pc:spChg>
        <pc:spChg chg="mod">
          <ac:chgData name="Berger, Martin" userId="2dce5e24-1af4-4f49-bc50-80b59c8dc36b" providerId="ADAL" clId="{B1A8B41A-6079-43D2-B54F-50518D136075}" dt="2024-10-16T13:39:31.202" v="2582" actId="20577"/>
          <ac:spMkLst>
            <pc:docMk/>
            <pc:sldMk cId="2353612658" sldId="2147138257"/>
            <ac:spMk id="3" creationId="{D233D7DD-3C1E-9338-6F72-2A70EE081CBE}"/>
          </ac:spMkLst>
        </pc:spChg>
        <pc:picChg chg="add mod">
          <ac:chgData name="Berger, Martin" userId="2dce5e24-1af4-4f49-bc50-80b59c8dc36b" providerId="ADAL" clId="{B1A8B41A-6079-43D2-B54F-50518D136075}" dt="2024-10-16T13:39:34.209" v="2583" actId="1076"/>
          <ac:picMkLst>
            <pc:docMk/>
            <pc:sldMk cId="2353612658" sldId="2147138257"/>
            <ac:picMk id="7" creationId="{5F4633AF-7103-1F41-C09F-D0C751FB5E2E}"/>
          </ac:picMkLst>
        </pc:picChg>
        <pc:picChg chg="add mod">
          <ac:chgData name="Berger, Martin" userId="2dce5e24-1af4-4f49-bc50-80b59c8dc36b" providerId="ADAL" clId="{B1A8B41A-6079-43D2-B54F-50518D136075}" dt="2024-10-16T13:43:12.680" v="2586" actId="208"/>
          <ac:picMkLst>
            <pc:docMk/>
            <pc:sldMk cId="2353612658" sldId="2147138257"/>
            <ac:picMk id="9" creationId="{A98C4A56-1E2C-D798-561C-68A00988E684}"/>
          </ac:picMkLst>
        </pc:picChg>
      </pc:sldChg>
    </pc:docChg>
  </pc:docChgLst>
  <pc:docChgLst>
    <pc:chgData name="Oehrli, Stefan" userId="3f36891e-f853-43e7-bcbc-2879a2513833" providerId="ADAL" clId="{09BEBDDE-AF5B-9146-8B18-471724E5E3DD}"/>
    <pc:docChg chg="undo custSel addSld delSld modSld sldOrd modSection">
      <pc:chgData name="Oehrli, Stefan" userId="3f36891e-f853-43e7-bcbc-2879a2513833" providerId="ADAL" clId="{09BEBDDE-AF5B-9146-8B18-471724E5E3DD}" dt="2023-11-23T21:01:48.502" v="7106" actId="700"/>
      <pc:docMkLst>
        <pc:docMk/>
      </pc:docMkLst>
      <pc:sldChg chg="modSp mod">
        <pc:chgData name="Oehrli, Stefan" userId="3f36891e-f853-43e7-bcbc-2879a2513833" providerId="ADAL" clId="{09BEBDDE-AF5B-9146-8B18-471724E5E3DD}" dt="2023-11-11T22:47:21.290" v="120"/>
        <pc:sldMkLst>
          <pc:docMk/>
          <pc:sldMk cId="217193527" sldId="308"/>
        </pc:sldMkLst>
        <pc:spChg chg="mod">
          <ac:chgData name="Oehrli, Stefan" userId="3f36891e-f853-43e7-bcbc-2879a2513833" providerId="ADAL" clId="{09BEBDDE-AF5B-9146-8B18-471724E5E3DD}" dt="2023-11-11T22:47:10.658" v="117" actId="20577"/>
          <ac:spMkLst>
            <pc:docMk/>
            <pc:sldMk cId="217193527" sldId="308"/>
            <ac:spMk id="2" creationId="{632E2813-969E-AAAD-3C7C-2C1A14B7363A}"/>
          </ac:spMkLst>
        </pc:spChg>
        <pc:spChg chg="mod">
          <ac:chgData name="Oehrli, Stefan" userId="3f36891e-f853-43e7-bcbc-2879a2513833" providerId="ADAL" clId="{09BEBDDE-AF5B-9146-8B18-471724E5E3DD}" dt="2023-11-11T22:47:04.893" v="109" actId="20577"/>
          <ac:spMkLst>
            <pc:docMk/>
            <pc:sldMk cId="217193527" sldId="308"/>
            <ac:spMk id="3" creationId="{EDFB5035-7C72-43BF-A8DB-A7280ED54461}"/>
          </ac:spMkLst>
        </pc:spChg>
        <pc:spChg chg="mod">
          <ac:chgData name="Oehrli, Stefan" userId="3f36891e-f853-43e7-bcbc-2879a2513833" providerId="ADAL" clId="{09BEBDDE-AF5B-9146-8B18-471724E5E3DD}" dt="2023-11-11T22:47:21.290" v="120"/>
          <ac:spMkLst>
            <pc:docMk/>
            <pc:sldMk cId="217193527" sldId="308"/>
            <ac:spMk id="6" creationId="{61244AFF-6411-4B84-BA88-9244C012597F}"/>
          </ac:spMkLst>
        </pc:spChg>
      </pc:sldChg>
      <pc:sldChg chg="modSp mod">
        <pc:chgData name="Oehrli, Stefan" userId="3f36891e-f853-43e7-bcbc-2879a2513833" providerId="ADAL" clId="{09BEBDDE-AF5B-9146-8B18-471724E5E3DD}" dt="2023-11-20T22:17:20.083" v="547" actId="20577"/>
        <pc:sldMkLst>
          <pc:docMk/>
          <pc:sldMk cId="988469291" sldId="332"/>
        </pc:sldMkLst>
        <pc:spChg chg="mod">
          <ac:chgData name="Oehrli, Stefan" userId="3f36891e-f853-43e7-bcbc-2879a2513833" providerId="ADAL" clId="{09BEBDDE-AF5B-9146-8B18-471724E5E3DD}" dt="2023-11-20T22:17:20.083" v="547" actId="20577"/>
          <ac:spMkLst>
            <pc:docMk/>
            <pc:sldMk cId="988469291" sldId="332"/>
            <ac:spMk id="2" creationId="{6B7D050A-F3DB-4B0A-8C3E-8F4D3EE9CC12}"/>
          </ac:spMkLst>
        </pc:spChg>
      </pc:sldChg>
      <pc:sldChg chg="addSp delSp modSp mod">
        <pc:chgData name="Oehrli, Stefan" userId="3f36891e-f853-43e7-bcbc-2879a2513833" providerId="ADAL" clId="{09BEBDDE-AF5B-9146-8B18-471724E5E3DD}" dt="2023-11-20T23:25:53.554" v="1255"/>
        <pc:sldMkLst>
          <pc:docMk/>
          <pc:sldMk cId="3447450657" sldId="344"/>
        </pc:sldMkLst>
        <pc:spChg chg="mod">
          <ac:chgData name="Oehrli, Stefan" userId="3f36891e-f853-43e7-bcbc-2879a2513833" providerId="ADAL" clId="{09BEBDDE-AF5B-9146-8B18-471724E5E3DD}" dt="2023-11-11T22:54:54.268" v="147"/>
          <ac:spMkLst>
            <pc:docMk/>
            <pc:sldMk cId="3447450657" sldId="344"/>
            <ac:spMk id="5" creationId="{4D1089D9-B568-BC09-13D3-75786BE4D9BC}"/>
          </ac:spMkLst>
        </pc:spChg>
        <pc:spChg chg="mod">
          <ac:chgData name="Oehrli, Stefan" userId="3f36891e-f853-43e7-bcbc-2879a2513833" providerId="ADAL" clId="{09BEBDDE-AF5B-9146-8B18-471724E5E3DD}" dt="2023-11-11T22:55:11.873" v="149"/>
          <ac:spMkLst>
            <pc:docMk/>
            <pc:sldMk cId="3447450657" sldId="344"/>
            <ac:spMk id="6" creationId="{FB352734-A1FB-38C6-2A1D-F73070E0CD10}"/>
          </ac:spMkLst>
        </pc:spChg>
        <pc:spChg chg="mod">
          <ac:chgData name="Oehrli, Stefan" userId="3f36891e-f853-43e7-bcbc-2879a2513833" providerId="ADAL" clId="{09BEBDDE-AF5B-9146-8B18-471724E5E3DD}" dt="2023-11-11T22:55:26.575" v="152"/>
          <ac:spMkLst>
            <pc:docMk/>
            <pc:sldMk cId="3447450657" sldId="344"/>
            <ac:spMk id="7" creationId="{D9F6E433-F286-B428-87FF-D12488F81E35}"/>
          </ac:spMkLst>
        </pc:spChg>
        <pc:spChg chg="mod">
          <ac:chgData name="Oehrli, Stefan" userId="3f36891e-f853-43e7-bcbc-2879a2513833" providerId="ADAL" clId="{09BEBDDE-AF5B-9146-8B18-471724E5E3DD}" dt="2023-11-11T22:55:35.676" v="154"/>
          <ac:spMkLst>
            <pc:docMk/>
            <pc:sldMk cId="3447450657" sldId="344"/>
            <ac:spMk id="8" creationId="{3B72ACB7-875F-88E1-8FF9-E339AB5CEA90}"/>
          </ac:spMkLst>
        </pc:spChg>
        <pc:spChg chg="mod">
          <ac:chgData name="Oehrli, Stefan" userId="3f36891e-f853-43e7-bcbc-2879a2513833" providerId="ADAL" clId="{09BEBDDE-AF5B-9146-8B18-471724E5E3DD}" dt="2023-11-11T22:55:46.755" v="155"/>
          <ac:spMkLst>
            <pc:docMk/>
            <pc:sldMk cId="3447450657" sldId="344"/>
            <ac:spMk id="9" creationId="{4722DDC2-84AC-744A-549D-84D37EC6E174}"/>
          </ac:spMkLst>
        </pc:spChg>
        <pc:spChg chg="mod">
          <ac:chgData name="Oehrli, Stefan" userId="3f36891e-f853-43e7-bcbc-2879a2513833" providerId="ADAL" clId="{09BEBDDE-AF5B-9146-8B18-471724E5E3DD}" dt="2023-11-20T23:25:53.554" v="1255"/>
          <ac:spMkLst>
            <pc:docMk/>
            <pc:sldMk cId="3447450657" sldId="344"/>
            <ac:spMk id="10" creationId="{2510B16E-5797-8D5D-1A8B-7AEBFCCACEC2}"/>
          </ac:spMkLst>
        </pc:spChg>
        <pc:spChg chg="add del">
          <ac:chgData name="Oehrli, Stefan" userId="3f36891e-f853-43e7-bcbc-2879a2513833" providerId="ADAL" clId="{09BEBDDE-AF5B-9146-8B18-471724E5E3DD}" dt="2023-11-11T22:57:51.144" v="161" actId="22"/>
          <ac:spMkLst>
            <pc:docMk/>
            <pc:sldMk cId="3447450657" sldId="344"/>
            <ac:spMk id="39" creationId="{157C21D1-6702-C755-04F4-116C30EAE27F}"/>
          </ac:spMkLst>
        </pc:spChg>
      </pc:sldChg>
      <pc:sldChg chg="modSp del mod">
        <pc:chgData name="Oehrli, Stefan" userId="3f36891e-f853-43e7-bcbc-2879a2513833" providerId="ADAL" clId="{09BEBDDE-AF5B-9146-8B18-471724E5E3DD}" dt="2023-11-20T23:25:49.326" v="1254" actId="2696"/>
        <pc:sldMkLst>
          <pc:docMk/>
          <pc:sldMk cId="1089911166" sldId="460"/>
        </pc:sldMkLst>
        <pc:picChg chg="mod">
          <ac:chgData name="Oehrli, Stefan" userId="3f36891e-f853-43e7-bcbc-2879a2513833" providerId="ADAL" clId="{09BEBDDE-AF5B-9146-8B18-471724E5E3DD}" dt="2023-11-11T22:48:53.382" v="122" actId="1076"/>
          <ac:picMkLst>
            <pc:docMk/>
            <pc:sldMk cId="1089911166" sldId="460"/>
            <ac:picMk id="20" creationId="{F9A27A75-13C8-8DF7-897B-0C1C1AE44858}"/>
          </ac:picMkLst>
        </pc:picChg>
      </pc:sldChg>
      <pc:sldChg chg="modSp mod">
        <pc:chgData name="Oehrli, Stefan" userId="3f36891e-f853-43e7-bcbc-2879a2513833" providerId="ADAL" clId="{09BEBDDE-AF5B-9146-8B18-471724E5E3DD}" dt="2023-11-20T21:55:58.379" v="310"/>
        <pc:sldMkLst>
          <pc:docMk/>
          <pc:sldMk cId="809413988" sldId="461"/>
        </pc:sldMkLst>
        <pc:spChg chg="mod">
          <ac:chgData name="Oehrli, Stefan" userId="3f36891e-f853-43e7-bcbc-2879a2513833" providerId="ADAL" clId="{09BEBDDE-AF5B-9146-8B18-471724E5E3DD}" dt="2023-11-20T21:55:58.379" v="310"/>
          <ac:spMkLst>
            <pc:docMk/>
            <pc:sldMk cId="809413988" sldId="461"/>
            <ac:spMk id="40" creationId="{F812FB05-C283-CDA9-B557-B5415BD2668A}"/>
          </ac:spMkLst>
        </pc:spChg>
      </pc:sldChg>
      <pc:sldChg chg="modSp mod modAnim">
        <pc:chgData name="Oehrli, Stefan" userId="3f36891e-f853-43e7-bcbc-2879a2513833" providerId="ADAL" clId="{09BEBDDE-AF5B-9146-8B18-471724E5E3DD}" dt="2023-11-20T22:11:06.217" v="525"/>
        <pc:sldMkLst>
          <pc:docMk/>
          <pc:sldMk cId="1153880397" sldId="470"/>
        </pc:sldMkLst>
        <pc:spChg chg="mod">
          <ac:chgData name="Oehrli, Stefan" userId="3f36891e-f853-43e7-bcbc-2879a2513833" providerId="ADAL" clId="{09BEBDDE-AF5B-9146-8B18-471724E5E3DD}" dt="2023-11-20T22:09:58.414" v="518" actId="948"/>
          <ac:spMkLst>
            <pc:docMk/>
            <pc:sldMk cId="1153880397" sldId="470"/>
            <ac:spMk id="2" creationId="{C0801084-F41C-99CB-6C15-5F3EDECF1FC3}"/>
          </ac:spMkLst>
        </pc:spChg>
        <pc:spChg chg="mod">
          <ac:chgData name="Oehrli, Stefan" userId="3f36891e-f853-43e7-bcbc-2879a2513833" providerId="ADAL" clId="{09BEBDDE-AF5B-9146-8B18-471724E5E3DD}" dt="2023-11-11T16:44:36.538" v="2"/>
          <ac:spMkLst>
            <pc:docMk/>
            <pc:sldMk cId="1153880397" sldId="470"/>
            <ac:spMk id="13" creationId="{9EEEFBE2-D58B-0304-1EEF-C6A93EAE2FDB}"/>
          </ac:spMkLst>
        </pc:spChg>
        <pc:picChg chg="mod">
          <ac:chgData name="Oehrli, Stefan" userId="3f36891e-f853-43e7-bcbc-2879a2513833" providerId="ADAL" clId="{09BEBDDE-AF5B-9146-8B18-471724E5E3DD}" dt="2023-11-20T22:10:47.558" v="524" actId="14100"/>
          <ac:picMkLst>
            <pc:docMk/>
            <pc:sldMk cId="1153880397" sldId="470"/>
            <ac:picMk id="9" creationId="{A61FEC2F-D7C6-91D8-7B41-414E7F4BD194}"/>
          </ac:picMkLst>
        </pc:picChg>
      </pc:sldChg>
      <pc:sldChg chg="modSp add del mod">
        <pc:chgData name="Oehrli, Stefan" userId="3f36891e-f853-43e7-bcbc-2879a2513833" providerId="ADAL" clId="{09BEBDDE-AF5B-9146-8B18-471724E5E3DD}" dt="2023-11-21T07:21:52.827" v="4202" actId="2696"/>
        <pc:sldMkLst>
          <pc:docMk/>
          <pc:sldMk cId="4239886515" sldId="480"/>
        </pc:sldMkLst>
        <pc:spChg chg="mod">
          <ac:chgData name="Oehrli, Stefan" userId="3f36891e-f853-43e7-bcbc-2879a2513833" providerId="ADAL" clId="{09BEBDDE-AF5B-9146-8B18-471724E5E3DD}" dt="2023-11-20T22:11:39.205" v="529" actId="20577"/>
          <ac:spMkLst>
            <pc:docMk/>
            <pc:sldMk cId="4239886515" sldId="480"/>
            <ac:spMk id="4" creationId="{F4D16C22-C1BC-AD85-0A01-6D918C31FBC0}"/>
          </ac:spMkLst>
        </pc:spChg>
      </pc:sldChg>
      <pc:sldChg chg="modSp add mod">
        <pc:chgData name="Oehrli, Stefan" userId="3f36891e-f853-43e7-bcbc-2879a2513833" providerId="ADAL" clId="{09BEBDDE-AF5B-9146-8B18-471724E5E3DD}" dt="2023-11-11T22:51:42.321" v="136" actId="18131"/>
        <pc:sldMkLst>
          <pc:docMk/>
          <pc:sldMk cId="2241462360" sldId="2147138091"/>
        </pc:sldMkLst>
        <pc:picChg chg="mod modCrop">
          <ac:chgData name="Oehrli, Stefan" userId="3f36891e-f853-43e7-bcbc-2879a2513833" providerId="ADAL" clId="{09BEBDDE-AF5B-9146-8B18-471724E5E3DD}" dt="2023-11-11T22:51:42.321" v="136" actId="18131"/>
          <ac:picMkLst>
            <pc:docMk/>
            <pc:sldMk cId="2241462360" sldId="2147138091"/>
            <ac:picMk id="20" creationId="{F9A27A75-13C8-8DF7-897B-0C1C1AE44858}"/>
          </ac:picMkLst>
        </pc:picChg>
      </pc:sldChg>
      <pc:sldChg chg="modSp add del mod">
        <pc:chgData name="Oehrli, Stefan" userId="3f36891e-f853-43e7-bcbc-2879a2513833" providerId="ADAL" clId="{09BEBDDE-AF5B-9146-8B18-471724E5E3DD}" dt="2023-11-20T23:25:47.572" v="1253" actId="2696"/>
        <pc:sldMkLst>
          <pc:docMk/>
          <pc:sldMk cId="2287636559" sldId="2147138092"/>
        </pc:sldMkLst>
        <pc:picChg chg="mod modCrop">
          <ac:chgData name="Oehrli, Stefan" userId="3f36891e-f853-43e7-bcbc-2879a2513833" providerId="ADAL" clId="{09BEBDDE-AF5B-9146-8B18-471724E5E3DD}" dt="2023-11-11T22:59:41.363" v="169" actId="18131"/>
          <ac:picMkLst>
            <pc:docMk/>
            <pc:sldMk cId="2287636559" sldId="2147138092"/>
            <ac:picMk id="20" creationId="{F9A27A75-13C8-8DF7-897B-0C1C1AE44858}"/>
          </ac:picMkLst>
        </pc:picChg>
      </pc:sldChg>
      <pc:sldChg chg="addSp delSp modSp new mod modAnim chgLayout">
        <pc:chgData name="Oehrli, Stefan" userId="3f36891e-f853-43e7-bcbc-2879a2513833" providerId="ADAL" clId="{09BEBDDE-AF5B-9146-8B18-471724E5E3DD}" dt="2023-11-21T10:27:32.592" v="7080"/>
        <pc:sldMkLst>
          <pc:docMk/>
          <pc:sldMk cId="1940722524" sldId="2147138093"/>
        </pc:sldMkLst>
        <pc:spChg chg="del mod ord">
          <ac:chgData name="Oehrli, Stefan" userId="3f36891e-f853-43e7-bcbc-2879a2513833" providerId="ADAL" clId="{09BEBDDE-AF5B-9146-8B18-471724E5E3DD}" dt="2023-11-20T11:18:10.667" v="171" actId="700"/>
          <ac:spMkLst>
            <pc:docMk/>
            <pc:sldMk cId="1940722524" sldId="2147138093"/>
            <ac:spMk id="2" creationId="{06E1057A-E14B-06A2-2DC5-4C99D2166FFD}"/>
          </ac:spMkLst>
        </pc:spChg>
        <pc:spChg chg="add mod ord">
          <ac:chgData name="Oehrli, Stefan" userId="3f36891e-f853-43e7-bcbc-2879a2513833" providerId="ADAL" clId="{09BEBDDE-AF5B-9146-8B18-471724E5E3DD}" dt="2023-11-21T10:18:50.663" v="6880"/>
          <ac:spMkLst>
            <pc:docMk/>
            <pc:sldMk cId="1940722524" sldId="2147138093"/>
            <ac:spMk id="3" creationId="{2896F9B9-7557-8356-E91D-65337D7EEC8C}"/>
          </ac:spMkLst>
        </pc:spChg>
        <pc:spChg chg="add mod ord">
          <ac:chgData name="Oehrli, Stefan" userId="3f36891e-f853-43e7-bcbc-2879a2513833" providerId="ADAL" clId="{09BEBDDE-AF5B-9146-8B18-471724E5E3DD}" dt="2023-11-21T10:27:13.613" v="7077" actId="113"/>
          <ac:spMkLst>
            <pc:docMk/>
            <pc:sldMk cId="1940722524" sldId="2147138093"/>
            <ac:spMk id="4" creationId="{698A75A3-F15B-FBF6-3BA2-AA1CAFD139F5}"/>
          </ac:spMkLst>
        </pc:spChg>
        <pc:spChg chg="add mod ord">
          <ac:chgData name="Oehrli, Stefan" userId="3f36891e-f853-43e7-bcbc-2879a2513833" providerId="ADAL" clId="{09BEBDDE-AF5B-9146-8B18-471724E5E3DD}" dt="2023-11-21T10:19:27.767" v="6903" actId="5793"/>
          <ac:spMkLst>
            <pc:docMk/>
            <pc:sldMk cId="1940722524" sldId="2147138093"/>
            <ac:spMk id="5" creationId="{B9E8DA0E-446D-8305-58A2-9E0B0033D674}"/>
          </ac:spMkLst>
        </pc:spChg>
      </pc:sldChg>
      <pc:sldChg chg="addSp delSp modSp new del mod chgLayout">
        <pc:chgData name="Oehrli, Stefan" userId="3f36891e-f853-43e7-bcbc-2879a2513833" providerId="ADAL" clId="{09BEBDDE-AF5B-9146-8B18-471724E5E3DD}" dt="2023-11-21T05:26:30.321" v="2573" actId="2696"/>
        <pc:sldMkLst>
          <pc:docMk/>
          <pc:sldMk cId="2448084781" sldId="2147138094"/>
        </pc:sldMkLst>
        <pc:spChg chg="del mod ord">
          <ac:chgData name="Oehrli, Stefan" userId="3f36891e-f853-43e7-bcbc-2879a2513833" providerId="ADAL" clId="{09BEBDDE-AF5B-9146-8B18-471724E5E3DD}" dt="2023-11-20T11:24:25.657" v="173" actId="700"/>
          <ac:spMkLst>
            <pc:docMk/>
            <pc:sldMk cId="2448084781" sldId="2147138094"/>
            <ac:spMk id="2" creationId="{577197AB-FB88-BCC3-28CF-2CC3214C3BE1}"/>
          </ac:spMkLst>
        </pc:spChg>
        <pc:spChg chg="add mod ord">
          <ac:chgData name="Oehrli, Stefan" userId="3f36891e-f853-43e7-bcbc-2879a2513833" providerId="ADAL" clId="{09BEBDDE-AF5B-9146-8B18-471724E5E3DD}" dt="2023-11-20T11:24:25.657" v="173" actId="700"/>
          <ac:spMkLst>
            <pc:docMk/>
            <pc:sldMk cId="2448084781" sldId="2147138094"/>
            <ac:spMk id="3" creationId="{CEAFCAE0-F842-34F2-EB92-1D60C03884E7}"/>
          </ac:spMkLst>
        </pc:spChg>
        <pc:spChg chg="add mod ord">
          <ac:chgData name="Oehrli, Stefan" userId="3f36891e-f853-43e7-bcbc-2879a2513833" providerId="ADAL" clId="{09BEBDDE-AF5B-9146-8B18-471724E5E3DD}" dt="2023-11-20T11:24:27.850" v="174"/>
          <ac:spMkLst>
            <pc:docMk/>
            <pc:sldMk cId="2448084781" sldId="2147138094"/>
            <ac:spMk id="4" creationId="{946CA6F4-9448-6AD4-6D2E-3FBD4BF7C6FB}"/>
          </ac:spMkLst>
        </pc:spChg>
        <pc:spChg chg="add mod ord">
          <ac:chgData name="Oehrli, Stefan" userId="3f36891e-f853-43e7-bcbc-2879a2513833" providerId="ADAL" clId="{09BEBDDE-AF5B-9146-8B18-471724E5E3DD}" dt="2023-11-20T11:24:25.657" v="173" actId="700"/>
          <ac:spMkLst>
            <pc:docMk/>
            <pc:sldMk cId="2448084781" sldId="2147138094"/>
            <ac:spMk id="5" creationId="{9784D766-D1AA-1F79-C449-899A26544C05}"/>
          </ac:spMkLst>
        </pc:spChg>
      </pc:sldChg>
      <pc:sldChg chg="addSp modSp add mod ord modClrScheme chgLayout">
        <pc:chgData name="Oehrli, Stefan" userId="3f36891e-f853-43e7-bcbc-2879a2513833" providerId="ADAL" clId="{09BEBDDE-AF5B-9146-8B18-471724E5E3DD}" dt="2023-11-21T10:33:23.826" v="7098" actId="14100"/>
        <pc:sldMkLst>
          <pc:docMk/>
          <pc:sldMk cId="2229416787" sldId="2147138095"/>
        </pc:sldMkLst>
        <pc:spChg chg="add mod ord">
          <ac:chgData name="Oehrli, Stefan" userId="3f36891e-f853-43e7-bcbc-2879a2513833" providerId="ADAL" clId="{09BEBDDE-AF5B-9146-8B18-471724E5E3DD}" dt="2023-11-21T06:59:02.188" v="3896" actId="14100"/>
          <ac:spMkLst>
            <pc:docMk/>
            <pc:sldMk cId="2229416787" sldId="2147138095"/>
            <ac:spMk id="2" creationId="{FB74AED1-4003-E9C6-8D3B-2D77752399C3}"/>
          </ac:spMkLst>
        </pc:spChg>
        <pc:spChg chg="mod ord">
          <ac:chgData name="Oehrli, Stefan" userId="3f36891e-f853-43e7-bcbc-2879a2513833" providerId="ADAL" clId="{09BEBDDE-AF5B-9146-8B18-471724E5E3DD}" dt="2023-11-21T06:57:50.695" v="3890" actId="700"/>
          <ac:spMkLst>
            <pc:docMk/>
            <pc:sldMk cId="2229416787" sldId="2147138095"/>
            <ac:spMk id="3" creationId="{CEAFCAE0-F842-34F2-EB92-1D60C03884E7}"/>
          </ac:spMkLst>
        </pc:spChg>
        <pc:spChg chg="mod ord">
          <ac:chgData name="Oehrli, Stefan" userId="3f36891e-f853-43e7-bcbc-2879a2513833" providerId="ADAL" clId="{09BEBDDE-AF5B-9146-8B18-471724E5E3DD}" dt="2023-11-21T10:33:23.826" v="7098" actId="14100"/>
          <ac:spMkLst>
            <pc:docMk/>
            <pc:sldMk cId="2229416787" sldId="2147138095"/>
            <ac:spMk id="4" creationId="{946CA6F4-9448-6AD4-6D2E-3FBD4BF7C6FB}"/>
          </ac:spMkLst>
        </pc:spChg>
        <pc:spChg chg="mod ord">
          <ac:chgData name="Oehrli, Stefan" userId="3f36891e-f853-43e7-bcbc-2879a2513833" providerId="ADAL" clId="{09BEBDDE-AF5B-9146-8B18-471724E5E3DD}" dt="2023-11-21T06:57:50.695" v="3890" actId="700"/>
          <ac:spMkLst>
            <pc:docMk/>
            <pc:sldMk cId="2229416787" sldId="2147138095"/>
            <ac:spMk id="5" creationId="{9784D766-D1AA-1F79-C449-899A26544C05}"/>
          </ac:spMkLst>
        </pc:spChg>
      </pc:sldChg>
      <pc:sldChg chg="addSp modSp add mod ord modClrScheme modAnim chgLayout">
        <pc:chgData name="Oehrli, Stefan" userId="3f36891e-f853-43e7-bcbc-2879a2513833" providerId="ADAL" clId="{09BEBDDE-AF5B-9146-8B18-471724E5E3DD}" dt="2023-11-21T10:18:21.022" v="6869"/>
        <pc:sldMkLst>
          <pc:docMk/>
          <pc:sldMk cId="3058612435" sldId="2147138096"/>
        </pc:sldMkLst>
        <pc:spChg chg="add mod ord">
          <ac:chgData name="Oehrli, Stefan" userId="3f36891e-f853-43e7-bcbc-2879a2513833" providerId="ADAL" clId="{09BEBDDE-AF5B-9146-8B18-471724E5E3DD}" dt="2023-11-21T10:15:20.573" v="6795" actId="20577"/>
          <ac:spMkLst>
            <pc:docMk/>
            <pc:sldMk cId="3058612435" sldId="2147138096"/>
            <ac:spMk id="2" creationId="{08333D85-B01D-BAAB-A450-15576A159BC7}"/>
          </ac:spMkLst>
        </pc:spChg>
        <pc:spChg chg="mod ord">
          <ac:chgData name="Oehrli, Stefan" userId="3f36891e-f853-43e7-bcbc-2879a2513833" providerId="ADAL" clId="{09BEBDDE-AF5B-9146-8B18-471724E5E3DD}" dt="2023-11-21T10:14:46.649" v="6748" actId="700"/>
          <ac:spMkLst>
            <pc:docMk/>
            <pc:sldMk cId="3058612435" sldId="2147138096"/>
            <ac:spMk id="3" creationId="{CEAFCAE0-F842-34F2-EB92-1D60C03884E7}"/>
          </ac:spMkLst>
        </pc:spChg>
        <pc:spChg chg="mod ord">
          <ac:chgData name="Oehrli, Stefan" userId="3f36891e-f853-43e7-bcbc-2879a2513833" providerId="ADAL" clId="{09BEBDDE-AF5B-9146-8B18-471724E5E3DD}" dt="2023-11-21T10:17:59.460" v="6865" actId="14100"/>
          <ac:spMkLst>
            <pc:docMk/>
            <pc:sldMk cId="3058612435" sldId="2147138096"/>
            <ac:spMk id="4" creationId="{946CA6F4-9448-6AD4-6D2E-3FBD4BF7C6FB}"/>
          </ac:spMkLst>
        </pc:spChg>
        <pc:spChg chg="mod ord">
          <ac:chgData name="Oehrli, Stefan" userId="3f36891e-f853-43e7-bcbc-2879a2513833" providerId="ADAL" clId="{09BEBDDE-AF5B-9146-8B18-471724E5E3DD}" dt="2023-11-21T10:14:46.649" v="6748" actId="700"/>
          <ac:spMkLst>
            <pc:docMk/>
            <pc:sldMk cId="3058612435" sldId="2147138096"/>
            <ac:spMk id="5" creationId="{9784D766-D1AA-1F79-C449-899A26544C05}"/>
          </ac:spMkLst>
        </pc:spChg>
      </pc:sldChg>
      <pc:sldChg chg="addSp delSp modSp add mod ord modClrScheme modAnim chgLayout">
        <pc:chgData name="Oehrli, Stefan" userId="3f36891e-f853-43e7-bcbc-2879a2513833" providerId="ADAL" clId="{09BEBDDE-AF5B-9146-8B18-471724E5E3DD}" dt="2023-11-21T08:33:35.380" v="4718" actId="20577"/>
        <pc:sldMkLst>
          <pc:docMk/>
          <pc:sldMk cId="379875072" sldId="2147138097"/>
        </pc:sldMkLst>
        <pc:spChg chg="add mod ord">
          <ac:chgData name="Oehrli, Stefan" userId="3f36891e-f853-43e7-bcbc-2879a2513833" providerId="ADAL" clId="{09BEBDDE-AF5B-9146-8B18-471724E5E3DD}" dt="2023-11-21T07:52:23.575" v="4506" actId="5793"/>
          <ac:spMkLst>
            <pc:docMk/>
            <pc:sldMk cId="379875072" sldId="2147138097"/>
            <ac:spMk id="2" creationId="{D66543F3-1597-EDB1-C2E4-7B045DFC583D}"/>
          </ac:spMkLst>
        </pc:spChg>
        <pc:spChg chg="mod ord">
          <ac:chgData name="Oehrli, Stefan" userId="3f36891e-f853-43e7-bcbc-2879a2513833" providerId="ADAL" clId="{09BEBDDE-AF5B-9146-8B18-471724E5E3DD}" dt="2023-11-21T07:50:23.179" v="4435" actId="700"/>
          <ac:spMkLst>
            <pc:docMk/>
            <pc:sldMk cId="379875072" sldId="2147138097"/>
            <ac:spMk id="3" creationId="{CEAFCAE0-F842-34F2-EB92-1D60C03884E7}"/>
          </ac:spMkLst>
        </pc:spChg>
        <pc:spChg chg="mod ord">
          <ac:chgData name="Oehrli, Stefan" userId="3f36891e-f853-43e7-bcbc-2879a2513833" providerId="ADAL" clId="{09BEBDDE-AF5B-9146-8B18-471724E5E3DD}" dt="2023-11-21T07:53:01.932" v="4560" actId="14100"/>
          <ac:spMkLst>
            <pc:docMk/>
            <pc:sldMk cId="379875072" sldId="2147138097"/>
            <ac:spMk id="4" creationId="{946CA6F4-9448-6AD4-6D2E-3FBD4BF7C6FB}"/>
          </ac:spMkLst>
        </pc:spChg>
        <pc:spChg chg="del mod ord">
          <ac:chgData name="Oehrli, Stefan" userId="3f36891e-f853-43e7-bcbc-2879a2513833" providerId="ADAL" clId="{09BEBDDE-AF5B-9146-8B18-471724E5E3DD}" dt="2023-11-21T07:50:23.179" v="4435" actId="700"/>
          <ac:spMkLst>
            <pc:docMk/>
            <pc:sldMk cId="379875072" sldId="2147138097"/>
            <ac:spMk id="5" creationId="{9784D766-D1AA-1F79-C449-899A26544C05}"/>
          </ac:spMkLst>
        </pc:spChg>
        <pc:spChg chg="add mod ord">
          <ac:chgData name="Oehrli, Stefan" userId="3f36891e-f853-43e7-bcbc-2879a2513833" providerId="ADAL" clId="{09BEBDDE-AF5B-9146-8B18-471724E5E3DD}" dt="2023-11-21T07:54:24.809" v="4572" actId="113"/>
          <ac:spMkLst>
            <pc:docMk/>
            <pc:sldMk cId="379875072" sldId="2147138097"/>
            <ac:spMk id="6" creationId="{DA7E0BEC-6699-E0C2-0132-2E94D6F271B0}"/>
          </ac:spMkLst>
        </pc:spChg>
        <pc:spChg chg="add mod">
          <ac:chgData name="Oehrli, Stefan" userId="3f36891e-f853-43e7-bcbc-2879a2513833" providerId="ADAL" clId="{09BEBDDE-AF5B-9146-8B18-471724E5E3DD}" dt="2023-11-21T08:33:35.380" v="4718" actId="20577"/>
          <ac:spMkLst>
            <pc:docMk/>
            <pc:sldMk cId="379875072" sldId="2147138097"/>
            <ac:spMk id="7" creationId="{009A78AF-0E02-423D-A0B5-10A84699916F}"/>
          </ac:spMkLst>
        </pc:spChg>
      </pc:sldChg>
      <pc:sldChg chg="addSp modSp add mod ord modAnim modNotesTx">
        <pc:chgData name="Oehrli, Stefan" userId="3f36891e-f853-43e7-bcbc-2879a2513833" providerId="ADAL" clId="{09BEBDDE-AF5B-9146-8B18-471724E5E3DD}" dt="2023-11-21T08:57:27.436" v="5340" actId="14100"/>
        <pc:sldMkLst>
          <pc:docMk/>
          <pc:sldMk cId="3474791128" sldId="2147138098"/>
        </pc:sldMkLst>
        <pc:spChg chg="mod">
          <ac:chgData name="Oehrli, Stefan" userId="3f36891e-f853-43e7-bcbc-2879a2513833" providerId="ADAL" clId="{09BEBDDE-AF5B-9146-8B18-471724E5E3DD}" dt="2023-11-21T08:42:36.582" v="4962" actId="20577"/>
          <ac:spMkLst>
            <pc:docMk/>
            <pc:sldMk cId="3474791128" sldId="2147138098"/>
            <ac:spMk id="3" creationId="{CEAFCAE0-F842-34F2-EB92-1D60C03884E7}"/>
          </ac:spMkLst>
        </pc:spChg>
        <pc:spChg chg="mod">
          <ac:chgData name="Oehrli, Stefan" userId="3f36891e-f853-43e7-bcbc-2879a2513833" providerId="ADAL" clId="{09BEBDDE-AF5B-9146-8B18-471724E5E3DD}" dt="2023-11-21T08:56:31.560" v="5326" actId="5793"/>
          <ac:spMkLst>
            <pc:docMk/>
            <pc:sldMk cId="3474791128" sldId="2147138098"/>
            <ac:spMk id="4" creationId="{946CA6F4-9448-6AD4-6D2E-3FBD4BF7C6FB}"/>
          </ac:spMkLst>
        </pc:spChg>
        <pc:spChg chg="mod">
          <ac:chgData name="Oehrli, Stefan" userId="3f36891e-f853-43e7-bcbc-2879a2513833" providerId="ADAL" clId="{09BEBDDE-AF5B-9146-8B18-471724E5E3DD}" dt="2023-11-21T08:43:59.571" v="4994"/>
          <ac:spMkLst>
            <pc:docMk/>
            <pc:sldMk cId="3474791128" sldId="2147138098"/>
            <ac:spMk id="5" creationId="{9784D766-D1AA-1F79-C449-899A26544C05}"/>
          </ac:spMkLst>
        </pc:spChg>
        <pc:picChg chg="add mod">
          <ac:chgData name="Oehrli, Stefan" userId="3f36891e-f853-43e7-bcbc-2879a2513833" providerId="ADAL" clId="{09BEBDDE-AF5B-9146-8B18-471724E5E3DD}" dt="2023-11-21T08:57:27.436" v="5340" actId="14100"/>
          <ac:picMkLst>
            <pc:docMk/>
            <pc:sldMk cId="3474791128" sldId="2147138098"/>
            <ac:picMk id="2" creationId="{C9255526-B010-A4D9-BA1F-1F6E2E401430}"/>
          </ac:picMkLst>
        </pc:picChg>
      </pc:sldChg>
      <pc:sldChg chg="modSp new del mod">
        <pc:chgData name="Oehrli, Stefan" userId="3f36891e-f853-43e7-bcbc-2879a2513833" providerId="ADAL" clId="{09BEBDDE-AF5B-9146-8B18-471724E5E3DD}" dt="2023-11-21T10:21:13.747" v="6906" actId="2696"/>
        <pc:sldMkLst>
          <pc:docMk/>
          <pc:sldMk cId="3985428786" sldId="2147138099"/>
        </pc:sldMkLst>
        <pc:spChg chg="mod">
          <ac:chgData name="Oehrli, Stefan" userId="3f36891e-f853-43e7-bcbc-2879a2513833" providerId="ADAL" clId="{09BEBDDE-AF5B-9146-8B18-471724E5E3DD}" dt="2023-11-21T10:21:12.405" v="6905" actId="21"/>
          <ac:spMkLst>
            <pc:docMk/>
            <pc:sldMk cId="3985428786" sldId="2147138099"/>
            <ac:spMk id="3" creationId="{BE93259D-2817-6205-1BBB-8832D4F9943A}"/>
          </ac:spMkLst>
        </pc:spChg>
      </pc:sldChg>
      <pc:sldChg chg="addSp delSp modSp new mod modAnim chgLayout">
        <pc:chgData name="Oehrli, Stefan" userId="3f36891e-f853-43e7-bcbc-2879a2513833" providerId="ADAL" clId="{09BEBDDE-AF5B-9146-8B18-471724E5E3DD}" dt="2023-11-20T21:29:34.645" v="267"/>
        <pc:sldMkLst>
          <pc:docMk/>
          <pc:sldMk cId="3843352936" sldId="2147138100"/>
        </pc:sldMkLst>
        <pc:spChg chg="del mod ord">
          <ac:chgData name="Oehrli, Stefan" userId="3f36891e-f853-43e7-bcbc-2879a2513833" providerId="ADAL" clId="{09BEBDDE-AF5B-9146-8B18-471724E5E3DD}" dt="2023-11-20T21:15:12.599" v="192" actId="700"/>
          <ac:spMkLst>
            <pc:docMk/>
            <pc:sldMk cId="3843352936" sldId="2147138100"/>
            <ac:spMk id="2" creationId="{397D16A4-1BF4-0CF3-F636-326291B20C5A}"/>
          </ac:spMkLst>
        </pc:spChg>
        <pc:spChg chg="del mod ord">
          <ac:chgData name="Oehrli, Stefan" userId="3f36891e-f853-43e7-bcbc-2879a2513833" providerId="ADAL" clId="{09BEBDDE-AF5B-9146-8B18-471724E5E3DD}" dt="2023-11-20T21:15:12.599" v="192" actId="700"/>
          <ac:spMkLst>
            <pc:docMk/>
            <pc:sldMk cId="3843352936" sldId="2147138100"/>
            <ac:spMk id="3" creationId="{EF12B41E-E3B3-6E3E-DD35-9F05BEE497F8}"/>
          </ac:spMkLst>
        </pc:spChg>
        <pc:spChg chg="del mod ord">
          <ac:chgData name="Oehrli, Stefan" userId="3f36891e-f853-43e7-bcbc-2879a2513833" providerId="ADAL" clId="{09BEBDDE-AF5B-9146-8B18-471724E5E3DD}" dt="2023-11-20T21:15:12.599" v="192" actId="700"/>
          <ac:spMkLst>
            <pc:docMk/>
            <pc:sldMk cId="3843352936" sldId="2147138100"/>
            <ac:spMk id="4" creationId="{053F0230-0127-6B77-0399-01FBF958BD7E}"/>
          </ac:spMkLst>
        </pc:spChg>
        <pc:spChg chg="mod ord">
          <ac:chgData name="Oehrli, Stefan" userId="3f36891e-f853-43e7-bcbc-2879a2513833" providerId="ADAL" clId="{09BEBDDE-AF5B-9146-8B18-471724E5E3DD}" dt="2023-11-20T21:15:12.599" v="192" actId="700"/>
          <ac:spMkLst>
            <pc:docMk/>
            <pc:sldMk cId="3843352936" sldId="2147138100"/>
            <ac:spMk id="5" creationId="{A9039FAF-E31B-478F-BB0D-D09170DECFD8}"/>
          </ac:spMkLst>
        </pc:spChg>
        <pc:spChg chg="mod ord">
          <ac:chgData name="Oehrli, Stefan" userId="3f36891e-f853-43e7-bcbc-2879a2513833" providerId="ADAL" clId="{09BEBDDE-AF5B-9146-8B18-471724E5E3DD}" dt="2023-11-20T21:15:12.599" v="192" actId="700"/>
          <ac:spMkLst>
            <pc:docMk/>
            <pc:sldMk cId="3843352936" sldId="2147138100"/>
            <ac:spMk id="6" creationId="{E379787E-358B-DA30-D858-5D0E0223AA30}"/>
          </ac:spMkLst>
        </pc:spChg>
        <pc:spChg chg="add mod ord">
          <ac:chgData name="Oehrli, Stefan" userId="3f36891e-f853-43e7-bcbc-2879a2513833" providerId="ADAL" clId="{09BEBDDE-AF5B-9146-8B18-471724E5E3DD}" dt="2023-11-20T21:24:57.916" v="250" actId="20577"/>
          <ac:spMkLst>
            <pc:docMk/>
            <pc:sldMk cId="3843352936" sldId="2147138100"/>
            <ac:spMk id="7" creationId="{CAFE7976-17D6-692E-D734-F2D286653FAC}"/>
          </ac:spMkLst>
        </pc:spChg>
        <pc:spChg chg="add del mod ord">
          <ac:chgData name="Oehrli, Stefan" userId="3f36891e-f853-43e7-bcbc-2879a2513833" providerId="ADAL" clId="{09BEBDDE-AF5B-9146-8B18-471724E5E3DD}" dt="2023-11-20T21:23:41.429" v="193"/>
          <ac:spMkLst>
            <pc:docMk/>
            <pc:sldMk cId="3843352936" sldId="2147138100"/>
            <ac:spMk id="8" creationId="{C0B98C9F-4EA5-B8A9-70CD-7C9CA01E697B}"/>
          </ac:spMkLst>
        </pc:spChg>
        <pc:spChg chg="add mod ord">
          <ac:chgData name="Oehrli, Stefan" userId="3f36891e-f853-43e7-bcbc-2879a2513833" providerId="ADAL" clId="{09BEBDDE-AF5B-9146-8B18-471724E5E3DD}" dt="2023-11-20T21:29:34.645" v="267"/>
          <ac:spMkLst>
            <pc:docMk/>
            <pc:sldMk cId="3843352936" sldId="2147138100"/>
            <ac:spMk id="9" creationId="{6865BB4D-871D-6C55-5CA1-11DC3FDC1291}"/>
          </ac:spMkLst>
        </pc:spChg>
        <pc:picChg chg="add mod">
          <ac:chgData name="Oehrli, Stefan" userId="3f36891e-f853-43e7-bcbc-2879a2513833" providerId="ADAL" clId="{09BEBDDE-AF5B-9146-8B18-471724E5E3DD}" dt="2023-11-20T21:23:47.522" v="194" actId="14100"/>
          <ac:picMkLst>
            <pc:docMk/>
            <pc:sldMk cId="3843352936" sldId="2147138100"/>
            <ac:picMk id="10" creationId="{ED412094-1908-3F9A-F9B9-E2C15AC731C5}"/>
          </ac:picMkLst>
        </pc:picChg>
        <pc:picChg chg="add mod">
          <ac:chgData name="Oehrli, Stefan" userId="3f36891e-f853-43e7-bcbc-2879a2513833" providerId="ADAL" clId="{09BEBDDE-AF5B-9146-8B18-471724E5E3DD}" dt="2023-11-20T21:29:13.393" v="266" actId="1076"/>
          <ac:picMkLst>
            <pc:docMk/>
            <pc:sldMk cId="3843352936" sldId="2147138100"/>
            <ac:picMk id="11" creationId="{D877CA97-1685-A632-3CF6-9641F5B2E675}"/>
          </ac:picMkLst>
        </pc:picChg>
      </pc:sldChg>
      <pc:sldChg chg="addSp delSp modSp new mod modClrScheme modAnim chgLayout">
        <pc:chgData name="Oehrli, Stefan" userId="3f36891e-f853-43e7-bcbc-2879a2513833" providerId="ADAL" clId="{09BEBDDE-AF5B-9146-8B18-471724E5E3DD}" dt="2023-11-20T22:18:14.545" v="558" actId="1076"/>
        <pc:sldMkLst>
          <pc:docMk/>
          <pc:sldMk cId="288964143" sldId="2147138101"/>
        </pc:sldMkLst>
        <pc:spChg chg="del mod ord">
          <ac:chgData name="Oehrli, Stefan" userId="3f36891e-f853-43e7-bcbc-2879a2513833" providerId="ADAL" clId="{09BEBDDE-AF5B-9146-8B18-471724E5E3DD}" dt="2023-11-20T21:36:33.792" v="269" actId="700"/>
          <ac:spMkLst>
            <pc:docMk/>
            <pc:sldMk cId="288964143" sldId="2147138101"/>
            <ac:spMk id="2" creationId="{9DC40D08-D85E-B63B-B435-B69A552BC031}"/>
          </ac:spMkLst>
        </pc:spChg>
        <pc:spChg chg="del mod ord">
          <ac:chgData name="Oehrli, Stefan" userId="3f36891e-f853-43e7-bcbc-2879a2513833" providerId="ADAL" clId="{09BEBDDE-AF5B-9146-8B18-471724E5E3DD}" dt="2023-11-20T21:36:33.792" v="269" actId="700"/>
          <ac:spMkLst>
            <pc:docMk/>
            <pc:sldMk cId="288964143" sldId="2147138101"/>
            <ac:spMk id="3" creationId="{6B7D7EB9-D880-4170-A741-035DEC78D996}"/>
          </ac:spMkLst>
        </pc:spChg>
        <pc:spChg chg="del mod ord">
          <ac:chgData name="Oehrli, Stefan" userId="3f36891e-f853-43e7-bcbc-2879a2513833" providerId="ADAL" clId="{09BEBDDE-AF5B-9146-8B18-471724E5E3DD}" dt="2023-11-20T21:36:33.792" v="269" actId="700"/>
          <ac:spMkLst>
            <pc:docMk/>
            <pc:sldMk cId="288964143" sldId="2147138101"/>
            <ac:spMk id="4" creationId="{891B061F-EA83-5D67-CAB3-ED4CAA5C7E61}"/>
          </ac:spMkLst>
        </pc:spChg>
        <pc:spChg chg="mod ord">
          <ac:chgData name="Oehrli, Stefan" userId="3f36891e-f853-43e7-bcbc-2879a2513833" providerId="ADAL" clId="{09BEBDDE-AF5B-9146-8B18-471724E5E3DD}" dt="2023-11-20T21:36:33.792" v="269" actId="700"/>
          <ac:spMkLst>
            <pc:docMk/>
            <pc:sldMk cId="288964143" sldId="2147138101"/>
            <ac:spMk id="5" creationId="{FBED16AA-2BD8-4FE4-9CF4-A325892E16C4}"/>
          </ac:spMkLst>
        </pc:spChg>
        <pc:spChg chg="mod ord">
          <ac:chgData name="Oehrli, Stefan" userId="3f36891e-f853-43e7-bcbc-2879a2513833" providerId="ADAL" clId="{09BEBDDE-AF5B-9146-8B18-471724E5E3DD}" dt="2023-11-20T21:36:33.792" v="269" actId="700"/>
          <ac:spMkLst>
            <pc:docMk/>
            <pc:sldMk cId="288964143" sldId="2147138101"/>
            <ac:spMk id="6" creationId="{25230E4C-E435-B20C-44B4-3C65D4FF6B0D}"/>
          </ac:spMkLst>
        </pc:spChg>
        <pc:spChg chg="add mod ord">
          <ac:chgData name="Oehrli, Stefan" userId="3f36891e-f853-43e7-bcbc-2879a2513833" providerId="ADAL" clId="{09BEBDDE-AF5B-9146-8B18-471724E5E3DD}" dt="2023-11-20T21:56:21.776" v="324" actId="20577"/>
          <ac:spMkLst>
            <pc:docMk/>
            <pc:sldMk cId="288964143" sldId="2147138101"/>
            <ac:spMk id="7" creationId="{28248BDE-A26B-54FA-B253-9CF5A732A84D}"/>
          </ac:spMkLst>
        </pc:spChg>
        <pc:spChg chg="add mod ord">
          <ac:chgData name="Oehrli, Stefan" userId="3f36891e-f853-43e7-bcbc-2879a2513833" providerId="ADAL" clId="{09BEBDDE-AF5B-9146-8B18-471724E5E3DD}" dt="2023-11-20T22:03:27.120" v="474" actId="1076"/>
          <ac:spMkLst>
            <pc:docMk/>
            <pc:sldMk cId="288964143" sldId="2147138101"/>
            <ac:spMk id="8" creationId="{5EE79F3A-A0A9-701D-5D8B-7F8B130B5732}"/>
          </ac:spMkLst>
        </pc:spChg>
        <pc:spChg chg="add mod ord">
          <ac:chgData name="Oehrli, Stefan" userId="3f36891e-f853-43e7-bcbc-2879a2513833" providerId="ADAL" clId="{09BEBDDE-AF5B-9146-8B18-471724E5E3DD}" dt="2023-11-20T21:52:07.026" v="280" actId="20577"/>
          <ac:spMkLst>
            <pc:docMk/>
            <pc:sldMk cId="288964143" sldId="2147138101"/>
            <ac:spMk id="9" creationId="{8E05A5F2-330F-6A6B-804D-BBD24C560B2E}"/>
          </ac:spMkLst>
        </pc:spChg>
        <pc:spChg chg="add del mod ord">
          <ac:chgData name="Oehrli, Stefan" userId="3f36891e-f853-43e7-bcbc-2879a2513833" providerId="ADAL" clId="{09BEBDDE-AF5B-9146-8B18-471724E5E3DD}" dt="2023-11-20T21:36:50.480" v="272"/>
          <ac:spMkLst>
            <pc:docMk/>
            <pc:sldMk cId="288964143" sldId="2147138101"/>
            <ac:spMk id="10" creationId="{17AAD477-8E4D-36F4-5779-95BB52FD66AA}"/>
          </ac:spMkLst>
        </pc:spChg>
        <pc:picChg chg="add mod">
          <ac:chgData name="Oehrli, Stefan" userId="3f36891e-f853-43e7-bcbc-2879a2513833" providerId="ADAL" clId="{09BEBDDE-AF5B-9146-8B18-471724E5E3DD}" dt="2023-11-20T22:18:14.545" v="558" actId="1076"/>
          <ac:picMkLst>
            <pc:docMk/>
            <pc:sldMk cId="288964143" sldId="2147138101"/>
            <ac:picMk id="1026" creationId="{09E4F1EC-4904-591E-3466-0DD9F42C0E18}"/>
          </ac:picMkLst>
        </pc:picChg>
      </pc:sldChg>
      <pc:sldChg chg="addSp delSp modSp new mod ord modClrScheme chgLayout">
        <pc:chgData name="Oehrli, Stefan" userId="3f36891e-f853-43e7-bcbc-2879a2513833" providerId="ADAL" clId="{09BEBDDE-AF5B-9146-8B18-471724E5E3DD}" dt="2023-11-21T08:41:22.009" v="4920" actId="790"/>
        <pc:sldMkLst>
          <pc:docMk/>
          <pc:sldMk cId="3530393607" sldId="2147138102"/>
        </pc:sldMkLst>
        <pc:spChg chg="del mod ord">
          <ac:chgData name="Oehrli, Stefan" userId="3f36891e-f853-43e7-bcbc-2879a2513833" providerId="ADAL" clId="{09BEBDDE-AF5B-9146-8B18-471724E5E3DD}" dt="2023-11-20T22:01:45.566" v="379" actId="700"/>
          <ac:spMkLst>
            <pc:docMk/>
            <pc:sldMk cId="3530393607" sldId="2147138102"/>
            <ac:spMk id="2" creationId="{B725A59C-5EE5-EED2-C30F-C86F8DB4DEFA}"/>
          </ac:spMkLst>
        </pc:spChg>
        <pc:spChg chg="del mod ord">
          <ac:chgData name="Oehrli, Stefan" userId="3f36891e-f853-43e7-bcbc-2879a2513833" providerId="ADAL" clId="{09BEBDDE-AF5B-9146-8B18-471724E5E3DD}" dt="2023-11-20T22:01:45.566" v="379" actId="700"/>
          <ac:spMkLst>
            <pc:docMk/>
            <pc:sldMk cId="3530393607" sldId="2147138102"/>
            <ac:spMk id="3" creationId="{221C840E-3ED2-EE86-DB00-CF6B1A3D9F55}"/>
          </ac:spMkLst>
        </pc:spChg>
        <pc:spChg chg="del mod ord">
          <ac:chgData name="Oehrli, Stefan" userId="3f36891e-f853-43e7-bcbc-2879a2513833" providerId="ADAL" clId="{09BEBDDE-AF5B-9146-8B18-471724E5E3DD}" dt="2023-11-20T22:01:45.566" v="379" actId="700"/>
          <ac:spMkLst>
            <pc:docMk/>
            <pc:sldMk cId="3530393607" sldId="2147138102"/>
            <ac:spMk id="4" creationId="{81D0726C-02D5-49D0-F1A1-A397D0CE4451}"/>
          </ac:spMkLst>
        </pc:spChg>
        <pc:spChg chg="del">
          <ac:chgData name="Oehrli, Stefan" userId="3f36891e-f853-43e7-bcbc-2879a2513833" providerId="ADAL" clId="{09BEBDDE-AF5B-9146-8B18-471724E5E3DD}" dt="2023-11-20T22:01:45.566" v="379" actId="700"/>
          <ac:spMkLst>
            <pc:docMk/>
            <pc:sldMk cId="3530393607" sldId="2147138102"/>
            <ac:spMk id="5" creationId="{65D4C040-3AA8-2192-5BF9-00F7E61B9609}"/>
          </ac:spMkLst>
        </pc:spChg>
        <pc:spChg chg="del">
          <ac:chgData name="Oehrli, Stefan" userId="3f36891e-f853-43e7-bcbc-2879a2513833" providerId="ADAL" clId="{09BEBDDE-AF5B-9146-8B18-471724E5E3DD}" dt="2023-11-20T22:01:45.566" v="379" actId="700"/>
          <ac:spMkLst>
            <pc:docMk/>
            <pc:sldMk cId="3530393607" sldId="2147138102"/>
            <ac:spMk id="6" creationId="{3F464746-DC42-175B-A796-BB8D9AA17F98}"/>
          </ac:spMkLst>
        </pc:spChg>
        <pc:spChg chg="del">
          <ac:chgData name="Oehrli, Stefan" userId="3f36891e-f853-43e7-bcbc-2879a2513833" providerId="ADAL" clId="{09BEBDDE-AF5B-9146-8B18-471724E5E3DD}" dt="2023-11-20T22:01:45.566" v="379" actId="700"/>
          <ac:spMkLst>
            <pc:docMk/>
            <pc:sldMk cId="3530393607" sldId="2147138102"/>
            <ac:spMk id="7" creationId="{2D5893CE-CD9F-8C63-94C7-C8D0318C52D2}"/>
          </ac:spMkLst>
        </pc:spChg>
        <pc:spChg chg="del">
          <ac:chgData name="Oehrli, Stefan" userId="3f36891e-f853-43e7-bcbc-2879a2513833" providerId="ADAL" clId="{09BEBDDE-AF5B-9146-8B18-471724E5E3DD}" dt="2023-11-20T22:01:45.566" v="379" actId="700"/>
          <ac:spMkLst>
            <pc:docMk/>
            <pc:sldMk cId="3530393607" sldId="2147138102"/>
            <ac:spMk id="8" creationId="{6DE532B2-A280-2A0A-B792-62FAD594DC0D}"/>
          </ac:spMkLst>
        </pc:spChg>
        <pc:spChg chg="del">
          <ac:chgData name="Oehrli, Stefan" userId="3f36891e-f853-43e7-bcbc-2879a2513833" providerId="ADAL" clId="{09BEBDDE-AF5B-9146-8B18-471724E5E3DD}" dt="2023-11-20T22:01:45.566" v="379" actId="700"/>
          <ac:spMkLst>
            <pc:docMk/>
            <pc:sldMk cId="3530393607" sldId="2147138102"/>
            <ac:spMk id="9" creationId="{C090F2D2-2A69-D450-D37E-96483989A66F}"/>
          </ac:spMkLst>
        </pc:spChg>
        <pc:spChg chg="del">
          <ac:chgData name="Oehrli, Stefan" userId="3f36891e-f853-43e7-bcbc-2879a2513833" providerId="ADAL" clId="{09BEBDDE-AF5B-9146-8B18-471724E5E3DD}" dt="2023-11-20T22:01:45.566" v="379" actId="700"/>
          <ac:spMkLst>
            <pc:docMk/>
            <pc:sldMk cId="3530393607" sldId="2147138102"/>
            <ac:spMk id="10" creationId="{81A66C25-67D2-6CEE-C540-A29D79E0BE18}"/>
          </ac:spMkLst>
        </pc:spChg>
        <pc:spChg chg="del">
          <ac:chgData name="Oehrli, Stefan" userId="3f36891e-f853-43e7-bcbc-2879a2513833" providerId="ADAL" clId="{09BEBDDE-AF5B-9146-8B18-471724E5E3DD}" dt="2023-11-20T22:01:45.566" v="379" actId="700"/>
          <ac:spMkLst>
            <pc:docMk/>
            <pc:sldMk cId="3530393607" sldId="2147138102"/>
            <ac:spMk id="11" creationId="{702A5669-03B6-0CA8-D041-5C59DB41C154}"/>
          </ac:spMkLst>
        </pc:spChg>
        <pc:spChg chg="del">
          <ac:chgData name="Oehrli, Stefan" userId="3f36891e-f853-43e7-bcbc-2879a2513833" providerId="ADAL" clId="{09BEBDDE-AF5B-9146-8B18-471724E5E3DD}" dt="2023-11-20T22:01:45.566" v="379" actId="700"/>
          <ac:spMkLst>
            <pc:docMk/>
            <pc:sldMk cId="3530393607" sldId="2147138102"/>
            <ac:spMk id="12" creationId="{84CACA44-7A82-F25D-2544-144007395B95}"/>
          </ac:spMkLst>
        </pc:spChg>
        <pc:spChg chg="del">
          <ac:chgData name="Oehrli, Stefan" userId="3f36891e-f853-43e7-bcbc-2879a2513833" providerId="ADAL" clId="{09BEBDDE-AF5B-9146-8B18-471724E5E3DD}" dt="2023-11-20T22:01:45.566" v="379" actId="700"/>
          <ac:spMkLst>
            <pc:docMk/>
            <pc:sldMk cId="3530393607" sldId="2147138102"/>
            <ac:spMk id="13" creationId="{FCD7DCFA-7D39-A8CE-A46E-14E2D4B699FC}"/>
          </ac:spMkLst>
        </pc:spChg>
        <pc:spChg chg="del">
          <ac:chgData name="Oehrli, Stefan" userId="3f36891e-f853-43e7-bcbc-2879a2513833" providerId="ADAL" clId="{09BEBDDE-AF5B-9146-8B18-471724E5E3DD}" dt="2023-11-20T22:01:45.566" v="379" actId="700"/>
          <ac:spMkLst>
            <pc:docMk/>
            <pc:sldMk cId="3530393607" sldId="2147138102"/>
            <ac:spMk id="14" creationId="{A4D96B0A-0BBA-9C42-4D49-9586FC5A5D74}"/>
          </ac:spMkLst>
        </pc:spChg>
        <pc:spChg chg="del">
          <ac:chgData name="Oehrli, Stefan" userId="3f36891e-f853-43e7-bcbc-2879a2513833" providerId="ADAL" clId="{09BEBDDE-AF5B-9146-8B18-471724E5E3DD}" dt="2023-11-20T22:01:45.566" v="379" actId="700"/>
          <ac:spMkLst>
            <pc:docMk/>
            <pc:sldMk cId="3530393607" sldId="2147138102"/>
            <ac:spMk id="15" creationId="{0E2B5E38-E1CA-C183-C6CE-C8F49FEA004C}"/>
          </ac:spMkLst>
        </pc:spChg>
        <pc:spChg chg="del">
          <ac:chgData name="Oehrli, Stefan" userId="3f36891e-f853-43e7-bcbc-2879a2513833" providerId="ADAL" clId="{09BEBDDE-AF5B-9146-8B18-471724E5E3DD}" dt="2023-11-20T22:01:45.566" v="379" actId="700"/>
          <ac:spMkLst>
            <pc:docMk/>
            <pc:sldMk cId="3530393607" sldId="2147138102"/>
            <ac:spMk id="16" creationId="{E90447D0-CF44-189E-2E83-9ED26381EF2F}"/>
          </ac:spMkLst>
        </pc:spChg>
        <pc:spChg chg="del">
          <ac:chgData name="Oehrli, Stefan" userId="3f36891e-f853-43e7-bcbc-2879a2513833" providerId="ADAL" clId="{09BEBDDE-AF5B-9146-8B18-471724E5E3DD}" dt="2023-11-20T22:01:45.566" v="379" actId="700"/>
          <ac:spMkLst>
            <pc:docMk/>
            <pc:sldMk cId="3530393607" sldId="2147138102"/>
            <ac:spMk id="17" creationId="{58D8813E-8E72-D79C-3ADB-E27A9FC463FA}"/>
          </ac:spMkLst>
        </pc:spChg>
        <pc:spChg chg="del">
          <ac:chgData name="Oehrli, Stefan" userId="3f36891e-f853-43e7-bcbc-2879a2513833" providerId="ADAL" clId="{09BEBDDE-AF5B-9146-8B18-471724E5E3DD}" dt="2023-11-20T22:01:45.566" v="379" actId="700"/>
          <ac:spMkLst>
            <pc:docMk/>
            <pc:sldMk cId="3530393607" sldId="2147138102"/>
            <ac:spMk id="18" creationId="{04947D4F-D9F8-2533-7210-C1834D37D2D8}"/>
          </ac:spMkLst>
        </pc:spChg>
        <pc:spChg chg="del">
          <ac:chgData name="Oehrli, Stefan" userId="3f36891e-f853-43e7-bcbc-2879a2513833" providerId="ADAL" clId="{09BEBDDE-AF5B-9146-8B18-471724E5E3DD}" dt="2023-11-20T22:01:45.566" v="379" actId="700"/>
          <ac:spMkLst>
            <pc:docMk/>
            <pc:sldMk cId="3530393607" sldId="2147138102"/>
            <ac:spMk id="19" creationId="{F5A74507-E9CC-6154-653C-31DB44D6DDA2}"/>
          </ac:spMkLst>
        </pc:spChg>
        <pc:spChg chg="del">
          <ac:chgData name="Oehrli, Stefan" userId="3f36891e-f853-43e7-bcbc-2879a2513833" providerId="ADAL" clId="{09BEBDDE-AF5B-9146-8B18-471724E5E3DD}" dt="2023-11-20T22:01:45.566" v="379" actId="700"/>
          <ac:spMkLst>
            <pc:docMk/>
            <pc:sldMk cId="3530393607" sldId="2147138102"/>
            <ac:spMk id="20" creationId="{F433989C-1CDA-B854-EC03-8568CCCF80C5}"/>
          </ac:spMkLst>
        </pc:spChg>
        <pc:spChg chg="del">
          <ac:chgData name="Oehrli, Stefan" userId="3f36891e-f853-43e7-bcbc-2879a2513833" providerId="ADAL" clId="{09BEBDDE-AF5B-9146-8B18-471724E5E3DD}" dt="2023-11-20T22:01:45.566" v="379" actId="700"/>
          <ac:spMkLst>
            <pc:docMk/>
            <pc:sldMk cId="3530393607" sldId="2147138102"/>
            <ac:spMk id="21" creationId="{D217B024-8D71-1D08-8F4D-55E7EB4AE788}"/>
          </ac:spMkLst>
        </pc:spChg>
        <pc:spChg chg="del">
          <ac:chgData name="Oehrli, Stefan" userId="3f36891e-f853-43e7-bcbc-2879a2513833" providerId="ADAL" clId="{09BEBDDE-AF5B-9146-8B18-471724E5E3DD}" dt="2023-11-20T22:01:45.566" v="379" actId="700"/>
          <ac:spMkLst>
            <pc:docMk/>
            <pc:sldMk cId="3530393607" sldId="2147138102"/>
            <ac:spMk id="22" creationId="{A27DB1EB-94BC-8E2F-8F80-E53AE59006A6}"/>
          </ac:spMkLst>
        </pc:spChg>
        <pc:spChg chg="del">
          <ac:chgData name="Oehrli, Stefan" userId="3f36891e-f853-43e7-bcbc-2879a2513833" providerId="ADAL" clId="{09BEBDDE-AF5B-9146-8B18-471724E5E3DD}" dt="2023-11-20T22:01:45.566" v="379" actId="700"/>
          <ac:spMkLst>
            <pc:docMk/>
            <pc:sldMk cId="3530393607" sldId="2147138102"/>
            <ac:spMk id="23" creationId="{7C2F61FA-9C8B-A482-C67F-481598C45CDF}"/>
          </ac:spMkLst>
        </pc:spChg>
        <pc:spChg chg="del">
          <ac:chgData name="Oehrli, Stefan" userId="3f36891e-f853-43e7-bcbc-2879a2513833" providerId="ADAL" clId="{09BEBDDE-AF5B-9146-8B18-471724E5E3DD}" dt="2023-11-20T22:01:45.566" v="379" actId="700"/>
          <ac:spMkLst>
            <pc:docMk/>
            <pc:sldMk cId="3530393607" sldId="2147138102"/>
            <ac:spMk id="24" creationId="{04885FDB-9107-1F76-BE7E-B385C42C981F}"/>
          </ac:spMkLst>
        </pc:spChg>
        <pc:spChg chg="del">
          <ac:chgData name="Oehrli, Stefan" userId="3f36891e-f853-43e7-bcbc-2879a2513833" providerId="ADAL" clId="{09BEBDDE-AF5B-9146-8B18-471724E5E3DD}" dt="2023-11-20T22:01:45.566" v="379" actId="700"/>
          <ac:spMkLst>
            <pc:docMk/>
            <pc:sldMk cId="3530393607" sldId="2147138102"/>
            <ac:spMk id="25" creationId="{0E32CAC0-2206-25E5-767F-E42FFC904402}"/>
          </ac:spMkLst>
        </pc:spChg>
        <pc:spChg chg="del">
          <ac:chgData name="Oehrli, Stefan" userId="3f36891e-f853-43e7-bcbc-2879a2513833" providerId="ADAL" clId="{09BEBDDE-AF5B-9146-8B18-471724E5E3DD}" dt="2023-11-20T22:01:45.566" v="379" actId="700"/>
          <ac:spMkLst>
            <pc:docMk/>
            <pc:sldMk cId="3530393607" sldId="2147138102"/>
            <ac:spMk id="26" creationId="{AF535127-0360-755E-DDA4-9438C81AF1C5}"/>
          </ac:spMkLst>
        </pc:spChg>
        <pc:spChg chg="del">
          <ac:chgData name="Oehrli, Stefan" userId="3f36891e-f853-43e7-bcbc-2879a2513833" providerId="ADAL" clId="{09BEBDDE-AF5B-9146-8B18-471724E5E3DD}" dt="2023-11-20T22:01:45.566" v="379" actId="700"/>
          <ac:spMkLst>
            <pc:docMk/>
            <pc:sldMk cId="3530393607" sldId="2147138102"/>
            <ac:spMk id="27" creationId="{219AC70D-D840-128F-EFED-6DDE0A82F3F0}"/>
          </ac:spMkLst>
        </pc:spChg>
        <pc:spChg chg="del">
          <ac:chgData name="Oehrli, Stefan" userId="3f36891e-f853-43e7-bcbc-2879a2513833" providerId="ADAL" clId="{09BEBDDE-AF5B-9146-8B18-471724E5E3DD}" dt="2023-11-20T22:01:45.566" v="379" actId="700"/>
          <ac:spMkLst>
            <pc:docMk/>
            <pc:sldMk cId="3530393607" sldId="2147138102"/>
            <ac:spMk id="28" creationId="{061100A9-903F-10B6-9922-8B21FF613CAA}"/>
          </ac:spMkLst>
        </pc:spChg>
        <pc:spChg chg="del">
          <ac:chgData name="Oehrli, Stefan" userId="3f36891e-f853-43e7-bcbc-2879a2513833" providerId="ADAL" clId="{09BEBDDE-AF5B-9146-8B18-471724E5E3DD}" dt="2023-11-20T22:01:45.566" v="379" actId="700"/>
          <ac:spMkLst>
            <pc:docMk/>
            <pc:sldMk cId="3530393607" sldId="2147138102"/>
            <ac:spMk id="29" creationId="{95065D16-CCD5-D1BF-2F08-6F2C14C046D7}"/>
          </ac:spMkLst>
        </pc:spChg>
        <pc:spChg chg="del">
          <ac:chgData name="Oehrli, Stefan" userId="3f36891e-f853-43e7-bcbc-2879a2513833" providerId="ADAL" clId="{09BEBDDE-AF5B-9146-8B18-471724E5E3DD}" dt="2023-11-20T22:01:45.566" v="379" actId="700"/>
          <ac:spMkLst>
            <pc:docMk/>
            <pc:sldMk cId="3530393607" sldId="2147138102"/>
            <ac:spMk id="30" creationId="{2B22EABC-C222-B6A8-92A6-9794D27E8251}"/>
          </ac:spMkLst>
        </pc:spChg>
        <pc:spChg chg="del">
          <ac:chgData name="Oehrli, Stefan" userId="3f36891e-f853-43e7-bcbc-2879a2513833" providerId="ADAL" clId="{09BEBDDE-AF5B-9146-8B18-471724E5E3DD}" dt="2023-11-20T22:01:45.566" v="379" actId="700"/>
          <ac:spMkLst>
            <pc:docMk/>
            <pc:sldMk cId="3530393607" sldId="2147138102"/>
            <ac:spMk id="31" creationId="{CA23ADD6-869E-71EF-70A1-FDCD5824445D}"/>
          </ac:spMkLst>
        </pc:spChg>
        <pc:spChg chg="del">
          <ac:chgData name="Oehrli, Stefan" userId="3f36891e-f853-43e7-bcbc-2879a2513833" providerId="ADAL" clId="{09BEBDDE-AF5B-9146-8B18-471724E5E3DD}" dt="2023-11-20T22:01:45.566" v="379" actId="700"/>
          <ac:spMkLst>
            <pc:docMk/>
            <pc:sldMk cId="3530393607" sldId="2147138102"/>
            <ac:spMk id="32" creationId="{A9FCC6BF-3954-A81D-A4E2-2B2B0653CF2B}"/>
          </ac:spMkLst>
        </pc:spChg>
        <pc:spChg chg="del">
          <ac:chgData name="Oehrli, Stefan" userId="3f36891e-f853-43e7-bcbc-2879a2513833" providerId="ADAL" clId="{09BEBDDE-AF5B-9146-8B18-471724E5E3DD}" dt="2023-11-20T22:01:45.566" v="379" actId="700"/>
          <ac:spMkLst>
            <pc:docMk/>
            <pc:sldMk cId="3530393607" sldId="2147138102"/>
            <ac:spMk id="33" creationId="{1ECA9F6B-D54C-0FFC-C4B3-14171FDD470A}"/>
          </ac:spMkLst>
        </pc:spChg>
        <pc:spChg chg="del">
          <ac:chgData name="Oehrli, Stefan" userId="3f36891e-f853-43e7-bcbc-2879a2513833" providerId="ADAL" clId="{09BEBDDE-AF5B-9146-8B18-471724E5E3DD}" dt="2023-11-20T22:01:45.566" v="379" actId="700"/>
          <ac:spMkLst>
            <pc:docMk/>
            <pc:sldMk cId="3530393607" sldId="2147138102"/>
            <ac:spMk id="34" creationId="{49437AE3-1F54-81D7-58F4-F92F56BBD261}"/>
          </ac:spMkLst>
        </pc:spChg>
        <pc:spChg chg="del">
          <ac:chgData name="Oehrli, Stefan" userId="3f36891e-f853-43e7-bcbc-2879a2513833" providerId="ADAL" clId="{09BEBDDE-AF5B-9146-8B18-471724E5E3DD}" dt="2023-11-20T22:01:45.566" v="379" actId="700"/>
          <ac:spMkLst>
            <pc:docMk/>
            <pc:sldMk cId="3530393607" sldId="2147138102"/>
            <ac:spMk id="35" creationId="{97B8ED26-8E19-A40E-408D-74F3B9B229E1}"/>
          </ac:spMkLst>
        </pc:spChg>
        <pc:spChg chg="mod ord">
          <ac:chgData name="Oehrli, Stefan" userId="3f36891e-f853-43e7-bcbc-2879a2513833" providerId="ADAL" clId="{09BEBDDE-AF5B-9146-8B18-471724E5E3DD}" dt="2023-11-21T08:34:35.164" v="4743" actId="700"/>
          <ac:spMkLst>
            <pc:docMk/>
            <pc:sldMk cId="3530393607" sldId="2147138102"/>
            <ac:spMk id="36" creationId="{B356ACC4-B1A4-2B3D-AE38-8C211E141379}"/>
          </ac:spMkLst>
        </pc:spChg>
        <pc:spChg chg="mod ord">
          <ac:chgData name="Oehrli, Stefan" userId="3f36891e-f853-43e7-bcbc-2879a2513833" providerId="ADAL" clId="{09BEBDDE-AF5B-9146-8B18-471724E5E3DD}" dt="2023-11-21T08:34:35.164" v="4743" actId="700"/>
          <ac:spMkLst>
            <pc:docMk/>
            <pc:sldMk cId="3530393607" sldId="2147138102"/>
            <ac:spMk id="37" creationId="{CF9ECD87-6D39-64D5-ABAF-1407F6605633}"/>
          </ac:spMkLst>
        </pc:spChg>
        <pc:spChg chg="add mod ord">
          <ac:chgData name="Oehrli, Stefan" userId="3f36891e-f853-43e7-bcbc-2879a2513833" providerId="ADAL" clId="{09BEBDDE-AF5B-9146-8B18-471724E5E3DD}" dt="2023-11-21T08:34:35.164" v="4743" actId="700"/>
          <ac:spMkLst>
            <pc:docMk/>
            <pc:sldMk cId="3530393607" sldId="2147138102"/>
            <ac:spMk id="38" creationId="{1C7172E5-703F-CEF5-2B4D-DE80091CCEF2}"/>
          </ac:spMkLst>
        </pc:spChg>
        <pc:spChg chg="add mod ord">
          <ac:chgData name="Oehrli, Stefan" userId="3f36891e-f853-43e7-bcbc-2879a2513833" providerId="ADAL" clId="{09BEBDDE-AF5B-9146-8B18-471724E5E3DD}" dt="2023-11-21T08:37:25.656" v="4809" actId="14100"/>
          <ac:spMkLst>
            <pc:docMk/>
            <pc:sldMk cId="3530393607" sldId="2147138102"/>
            <ac:spMk id="39" creationId="{04CDB3C4-2895-1BFF-7736-2228CAF73C42}"/>
          </ac:spMkLst>
        </pc:spChg>
        <pc:spChg chg="add mod ord">
          <ac:chgData name="Oehrli, Stefan" userId="3f36891e-f853-43e7-bcbc-2879a2513833" providerId="ADAL" clId="{09BEBDDE-AF5B-9146-8B18-471724E5E3DD}" dt="2023-11-21T08:34:35.164" v="4743" actId="700"/>
          <ac:spMkLst>
            <pc:docMk/>
            <pc:sldMk cId="3530393607" sldId="2147138102"/>
            <ac:spMk id="40" creationId="{AB692460-2053-132D-1E2B-D2FCE06BA224}"/>
          </ac:spMkLst>
        </pc:spChg>
        <pc:spChg chg="add mod ord">
          <ac:chgData name="Oehrli, Stefan" userId="3f36891e-f853-43e7-bcbc-2879a2513833" providerId="ADAL" clId="{09BEBDDE-AF5B-9146-8B18-471724E5E3DD}" dt="2023-11-21T08:40:34.771" v="4868" actId="1035"/>
          <ac:spMkLst>
            <pc:docMk/>
            <pc:sldMk cId="3530393607" sldId="2147138102"/>
            <ac:spMk id="41" creationId="{1D43990D-6B4D-889F-9B90-7852483CF0A6}"/>
          </ac:spMkLst>
        </pc:spChg>
        <pc:spChg chg="add mod ord">
          <ac:chgData name="Oehrli, Stefan" userId="3f36891e-f853-43e7-bcbc-2879a2513833" providerId="ADAL" clId="{09BEBDDE-AF5B-9146-8B18-471724E5E3DD}" dt="2023-11-21T08:40:31.173" v="4862" actId="14100"/>
          <ac:spMkLst>
            <pc:docMk/>
            <pc:sldMk cId="3530393607" sldId="2147138102"/>
            <ac:spMk id="42" creationId="{45A0FC11-71C4-D284-6D87-D048A40EC049}"/>
          </ac:spMkLst>
        </pc:spChg>
        <pc:spChg chg="add mod ord">
          <ac:chgData name="Oehrli, Stefan" userId="3f36891e-f853-43e7-bcbc-2879a2513833" providerId="ADAL" clId="{09BEBDDE-AF5B-9146-8B18-471724E5E3DD}" dt="2023-11-21T08:40:39.817" v="4870" actId="1076"/>
          <ac:spMkLst>
            <pc:docMk/>
            <pc:sldMk cId="3530393607" sldId="2147138102"/>
            <ac:spMk id="43" creationId="{19BF6C6C-D67B-F0A3-2DF9-18B9A00590AB}"/>
          </ac:spMkLst>
        </pc:spChg>
        <pc:spChg chg="add mod">
          <ac:chgData name="Oehrli, Stefan" userId="3f36891e-f853-43e7-bcbc-2879a2513833" providerId="ADAL" clId="{09BEBDDE-AF5B-9146-8B18-471724E5E3DD}" dt="2023-11-21T08:41:22.009" v="4920" actId="790"/>
          <ac:spMkLst>
            <pc:docMk/>
            <pc:sldMk cId="3530393607" sldId="2147138102"/>
            <ac:spMk id="44" creationId="{DB9DCE41-AC99-767A-F95B-444A1DD64DB7}"/>
          </ac:spMkLst>
        </pc:spChg>
      </pc:sldChg>
      <pc:sldChg chg="addSp delSp modSp new del mod ord modClrScheme chgLayout modNotesTx">
        <pc:chgData name="Oehrli, Stefan" userId="3f36891e-f853-43e7-bcbc-2879a2513833" providerId="ADAL" clId="{09BEBDDE-AF5B-9146-8B18-471724E5E3DD}" dt="2023-11-21T04:02:10.581" v="1704" actId="2696"/>
        <pc:sldMkLst>
          <pc:docMk/>
          <pc:sldMk cId="1694193373" sldId="2147138103"/>
        </pc:sldMkLst>
        <pc:spChg chg="del mod ord">
          <ac:chgData name="Oehrli, Stefan" userId="3f36891e-f853-43e7-bcbc-2879a2513833" providerId="ADAL" clId="{09BEBDDE-AF5B-9146-8B18-471724E5E3DD}" dt="2023-11-20T22:57:39.445" v="561" actId="700"/>
          <ac:spMkLst>
            <pc:docMk/>
            <pc:sldMk cId="1694193373" sldId="2147138103"/>
            <ac:spMk id="2" creationId="{14A6295E-93A9-420C-462E-F1EA02FC93FD}"/>
          </ac:spMkLst>
        </pc:spChg>
        <pc:spChg chg="del mod ord">
          <ac:chgData name="Oehrli, Stefan" userId="3f36891e-f853-43e7-bcbc-2879a2513833" providerId="ADAL" clId="{09BEBDDE-AF5B-9146-8B18-471724E5E3DD}" dt="2023-11-20T22:57:39.445" v="561" actId="700"/>
          <ac:spMkLst>
            <pc:docMk/>
            <pc:sldMk cId="1694193373" sldId="2147138103"/>
            <ac:spMk id="3" creationId="{33291B38-1FBA-0370-6ECA-53704BF339D7}"/>
          </ac:spMkLst>
        </pc:spChg>
        <pc:spChg chg="del mod ord">
          <ac:chgData name="Oehrli, Stefan" userId="3f36891e-f853-43e7-bcbc-2879a2513833" providerId="ADAL" clId="{09BEBDDE-AF5B-9146-8B18-471724E5E3DD}" dt="2023-11-20T22:57:39.445" v="561" actId="700"/>
          <ac:spMkLst>
            <pc:docMk/>
            <pc:sldMk cId="1694193373" sldId="2147138103"/>
            <ac:spMk id="4" creationId="{BD156B50-A534-0885-2EA8-5ECFE02C5B95}"/>
          </ac:spMkLst>
        </pc:spChg>
        <pc:spChg chg="mod ord">
          <ac:chgData name="Oehrli, Stefan" userId="3f36891e-f853-43e7-bcbc-2879a2513833" providerId="ADAL" clId="{09BEBDDE-AF5B-9146-8B18-471724E5E3DD}" dt="2023-11-20T22:57:39.445" v="561" actId="700"/>
          <ac:spMkLst>
            <pc:docMk/>
            <pc:sldMk cId="1694193373" sldId="2147138103"/>
            <ac:spMk id="5" creationId="{1B0184CC-8A21-794A-68F5-5AB27FE2553B}"/>
          </ac:spMkLst>
        </pc:spChg>
        <pc:spChg chg="mod ord">
          <ac:chgData name="Oehrli, Stefan" userId="3f36891e-f853-43e7-bcbc-2879a2513833" providerId="ADAL" clId="{09BEBDDE-AF5B-9146-8B18-471724E5E3DD}" dt="2023-11-20T22:57:39.445" v="561" actId="700"/>
          <ac:spMkLst>
            <pc:docMk/>
            <pc:sldMk cId="1694193373" sldId="2147138103"/>
            <ac:spMk id="6" creationId="{266D2535-0BAA-2EB9-016E-490ED699618C}"/>
          </ac:spMkLst>
        </pc:spChg>
        <pc:spChg chg="add mod ord">
          <ac:chgData name="Oehrli, Stefan" userId="3f36891e-f853-43e7-bcbc-2879a2513833" providerId="ADAL" clId="{09BEBDDE-AF5B-9146-8B18-471724E5E3DD}" dt="2023-11-20T22:57:52.840" v="583" actId="20577"/>
          <ac:spMkLst>
            <pc:docMk/>
            <pc:sldMk cId="1694193373" sldId="2147138103"/>
            <ac:spMk id="7" creationId="{0014EE75-CA28-29B2-5BC6-0C276CE8F832}"/>
          </ac:spMkLst>
        </pc:spChg>
        <pc:spChg chg="add mod ord">
          <ac:chgData name="Oehrli, Stefan" userId="3f36891e-f853-43e7-bcbc-2879a2513833" providerId="ADAL" clId="{09BEBDDE-AF5B-9146-8B18-471724E5E3DD}" dt="2023-11-20T23:03:51.797" v="607" actId="20577"/>
          <ac:spMkLst>
            <pc:docMk/>
            <pc:sldMk cId="1694193373" sldId="2147138103"/>
            <ac:spMk id="8" creationId="{09AB6E8E-F6AC-C7D9-21F9-78AE22A992C8}"/>
          </ac:spMkLst>
        </pc:spChg>
        <pc:spChg chg="add mod ord">
          <ac:chgData name="Oehrli, Stefan" userId="3f36891e-f853-43e7-bcbc-2879a2513833" providerId="ADAL" clId="{09BEBDDE-AF5B-9146-8B18-471724E5E3DD}" dt="2023-11-20T22:57:39.445" v="561" actId="700"/>
          <ac:spMkLst>
            <pc:docMk/>
            <pc:sldMk cId="1694193373" sldId="2147138103"/>
            <ac:spMk id="9" creationId="{19E66B63-774F-8366-F7F6-654F9C15E5BE}"/>
          </ac:spMkLst>
        </pc:spChg>
        <pc:spChg chg="add del mod ord">
          <ac:chgData name="Oehrli, Stefan" userId="3f36891e-f853-43e7-bcbc-2879a2513833" providerId="ADAL" clId="{09BEBDDE-AF5B-9146-8B18-471724E5E3DD}" dt="2023-11-20T22:57:41.141" v="562"/>
          <ac:spMkLst>
            <pc:docMk/>
            <pc:sldMk cId="1694193373" sldId="2147138103"/>
            <ac:spMk id="10" creationId="{7D1C921F-3229-DB7E-3F62-58118ACB9D8C}"/>
          </ac:spMkLst>
        </pc:spChg>
        <pc:picChg chg="add mod">
          <ac:chgData name="Oehrli, Stefan" userId="3f36891e-f853-43e7-bcbc-2879a2513833" providerId="ADAL" clId="{09BEBDDE-AF5B-9146-8B18-471724E5E3DD}" dt="2023-11-20T23:03:00.334" v="590" actId="1076"/>
          <ac:picMkLst>
            <pc:docMk/>
            <pc:sldMk cId="1694193373" sldId="2147138103"/>
            <ac:picMk id="11" creationId="{FB11F142-E6D4-5A0D-0FF1-92D143F96044}"/>
          </ac:picMkLst>
        </pc:picChg>
      </pc:sldChg>
      <pc:sldChg chg="addSp delSp modSp new del mod ord modClrScheme chgLayout">
        <pc:chgData name="Oehrli, Stefan" userId="3f36891e-f853-43e7-bcbc-2879a2513833" providerId="ADAL" clId="{09BEBDDE-AF5B-9146-8B18-471724E5E3DD}" dt="2023-11-21T05:00:18.885" v="2046" actId="2696"/>
        <pc:sldMkLst>
          <pc:docMk/>
          <pc:sldMk cId="2332192118" sldId="2147138104"/>
        </pc:sldMkLst>
        <pc:spChg chg="del mod ord">
          <ac:chgData name="Oehrli, Stefan" userId="3f36891e-f853-43e7-bcbc-2879a2513833" providerId="ADAL" clId="{09BEBDDE-AF5B-9146-8B18-471724E5E3DD}" dt="2023-11-20T23:04:29.126" v="610" actId="700"/>
          <ac:spMkLst>
            <pc:docMk/>
            <pc:sldMk cId="2332192118" sldId="2147138104"/>
            <ac:spMk id="2" creationId="{E2C4DA1A-C8F1-6E69-0E26-CF1A76B7B352}"/>
          </ac:spMkLst>
        </pc:spChg>
        <pc:spChg chg="del mod ord">
          <ac:chgData name="Oehrli, Stefan" userId="3f36891e-f853-43e7-bcbc-2879a2513833" providerId="ADAL" clId="{09BEBDDE-AF5B-9146-8B18-471724E5E3DD}" dt="2023-11-20T23:04:29.126" v="610" actId="700"/>
          <ac:spMkLst>
            <pc:docMk/>
            <pc:sldMk cId="2332192118" sldId="2147138104"/>
            <ac:spMk id="3" creationId="{CED97462-8069-3FB2-0013-83A37EC13964}"/>
          </ac:spMkLst>
        </pc:spChg>
        <pc:spChg chg="del">
          <ac:chgData name="Oehrli, Stefan" userId="3f36891e-f853-43e7-bcbc-2879a2513833" providerId="ADAL" clId="{09BEBDDE-AF5B-9146-8B18-471724E5E3DD}" dt="2023-11-20T23:04:29.126" v="610" actId="700"/>
          <ac:spMkLst>
            <pc:docMk/>
            <pc:sldMk cId="2332192118" sldId="2147138104"/>
            <ac:spMk id="4" creationId="{178E30B7-DD8D-0A64-120D-84E36AE18BD5}"/>
          </ac:spMkLst>
        </pc:spChg>
        <pc:spChg chg="mod ord">
          <ac:chgData name="Oehrli, Stefan" userId="3f36891e-f853-43e7-bcbc-2879a2513833" providerId="ADAL" clId="{09BEBDDE-AF5B-9146-8B18-471724E5E3DD}" dt="2023-11-20T23:04:29.126" v="610" actId="700"/>
          <ac:spMkLst>
            <pc:docMk/>
            <pc:sldMk cId="2332192118" sldId="2147138104"/>
            <ac:spMk id="5" creationId="{87C5915C-8769-B231-F6E3-970E4B4ACA6F}"/>
          </ac:spMkLst>
        </pc:spChg>
        <pc:spChg chg="del mod ord">
          <ac:chgData name="Oehrli, Stefan" userId="3f36891e-f853-43e7-bcbc-2879a2513833" providerId="ADAL" clId="{09BEBDDE-AF5B-9146-8B18-471724E5E3DD}" dt="2023-11-20T23:04:29.126" v="610" actId="700"/>
          <ac:spMkLst>
            <pc:docMk/>
            <pc:sldMk cId="2332192118" sldId="2147138104"/>
            <ac:spMk id="6" creationId="{3DC2748B-434E-3839-08FF-F0F4DA0F8269}"/>
          </ac:spMkLst>
        </pc:spChg>
        <pc:spChg chg="mod ord">
          <ac:chgData name="Oehrli, Stefan" userId="3f36891e-f853-43e7-bcbc-2879a2513833" providerId="ADAL" clId="{09BEBDDE-AF5B-9146-8B18-471724E5E3DD}" dt="2023-11-20T23:04:29.126" v="610" actId="700"/>
          <ac:spMkLst>
            <pc:docMk/>
            <pc:sldMk cId="2332192118" sldId="2147138104"/>
            <ac:spMk id="7" creationId="{8C28121F-69F9-FEB3-AC51-FEC1269D425B}"/>
          </ac:spMkLst>
        </pc:spChg>
        <pc:spChg chg="add mod ord">
          <ac:chgData name="Oehrli, Stefan" userId="3f36891e-f853-43e7-bcbc-2879a2513833" providerId="ADAL" clId="{09BEBDDE-AF5B-9146-8B18-471724E5E3DD}" dt="2023-11-20T23:04:29.126" v="610" actId="700"/>
          <ac:spMkLst>
            <pc:docMk/>
            <pc:sldMk cId="2332192118" sldId="2147138104"/>
            <ac:spMk id="8" creationId="{1D2E9DBC-D25D-45B8-E496-AE20F829BB4F}"/>
          </ac:spMkLst>
        </pc:spChg>
        <pc:spChg chg="add mod ord">
          <ac:chgData name="Oehrli, Stefan" userId="3f36891e-f853-43e7-bcbc-2879a2513833" providerId="ADAL" clId="{09BEBDDE-AF5B-9146-8B18-471724E5E3DD}" dt="2023-11-20T23:04:50.970" v="616" actId="20577"/>
          <ac:spMkLst>
            <pc:docMk/>
            <pc:sldMk cId="2332192118" sldId="2147138104"/>
            <ac:spMk id="9" creationId="{E9C2071A-9FE1-1658-0688-22C71C68A8A7}"/>
          </ac:spMkLst>
        </pc:spChg>
        <pc:spChg chg="add mod ord">
          <ac:chgData name="Oehrli, Stefan" userId="3f36891e-f853-43e7-bcbc-2879a2513833" providerId="ADAL" clId="{09BEBDDE-AF5B-9146-8B18-471724E5E3DD}" dt="2023-11-20T23:04:29.126" v="610" actId="700"/>
          <ac:spMkLst>
            <pc:docMk/>
            <pc:sldMk cId="2332192118" sldId="2147138104"/>
            <ac:spMk id="10" creationId="{4A98C24A-C4A0-20E0-C065-4F66036824EA}"/>
          </ac:spMkLst>
        </pc:spChg>
      </pc:sldChg>
      <pc:sldChg chg="addSp delSp modSp new mod ord modClrScheme modAnim chgLayout">
        <pc:chgData name="Oehrli, Stefan" userId="3f36891e-f853-43e7-bcbc-2879a2513833" providerId="ADAL" clId="{09BEBDDE-AF5B-9146-8B18-471724E5E3DD}" dt="2023-11-21T04:02:02.020" v="1703" actId="20577"/>
        <pc:sldMkLst>
          <pc:docMk/>
          <pc:sldMk cId="2475241319" sldId="2147138105"/>
        </pc:sldMkLst>
        <pc:spChg chg="del mod ord">
          <ac:chgData name="Oehrli, Stefan" userId="3f36891e-f853-43e7-bcbc-2879a2513833" providerId="ADAL" clId="{09BEBDDE-AF5B-9146-8B18-471724E5E3DD}" dt="2023-11-20T23:05:06.431" v="618" actId="700"/>
          <ac:spMkLst>
            <pc:docMk/>
            <pc:sldMk cId="2475241319" sldId="2147138105"/>
            <ac:spMk id="2" creationId="{529C94DF-02DA-13D9-0B98-405F34C0CE25}"/>
          </ac:spMkLst>
        </pc:spChg>
        <pc:spChg chg="del mod ord">
          <ac:chgData name="Oehrli, Stefan" userId="3f36891e-f853-43e7-bcbc-2879a2513833" providerId="ADAL" clId="{09BEBDDE-AF5B-9146-8B18-471724E5E3DD}" dt="2023-11-20T23:05:06.431" v="618" actId="700"/>
          <ac:spMkLst>
            <pc:docMk/>
            <pc:sldMk cId="2475241319" sldId="2147138105"/>
            <ac:spMk id="3" creationId="{90B78CAD-9F4C-E595-3544-6FD8C4F12BFD}"/>
          </ac:spMkLst>
        </pc:spChg>
        <pc:spChg chg="del">
          <ac:chgData name="Oehrli, Stefan" userId="3f36891e-f853-43e7-bcbc-2879a2513833" providerId="ADAL" clId="{09BEBDDE-AF5B-9146-8B18-471724E5E3DD}" dt="2023-11-20T23:05:06.431" v="618" actId="700"/>
          <ac:spMkLst>
            <pc:docMk/>
            <pc:sldMk cId="2475241319" sldId="2147138105"/>
            <ac:spMk id="4" creationId="{FC8BDFF6-E6BB-E4A8-1C88-9BD95C63D47A}"/>
          </ac:spMkLst>
        </pc:spChg>
        <pc:spChg chg="mod ord">
          <ac:chgData name="Oehrli, Stefan" userId="3f36891e-f853-43e7-bcbc-2879a2513833" providerId="ADAL" clId="{09BEBDDE-AF5B-9146-8B18-471724E5E3DD}" dt="2023-11-20T23:05:06.431" v="618" actId="700"/>
          <ac:spMkLst>
            <pc:docMk/>
            <pc:sldMk cId="2475241319" sldId="2147138105"/>
            <ac:spMk id="5" creationId="{3D7F45EE-BA73-A422-CE1F-D4DC06209B58}"/>
          </ac:spMkLst>
        </pc:spChg>
        <pc:spChg chg="del mod ord">
          <ac:chgData name="Oehrli, Stefan" userId="3f36891e-f853-43e7-bcbc-2879a2513833" providerId="ADAL" clId="{09BEBDDE-AF5B-9146-8B18-471724E5E3DD}" dt="2023-11-20T23:05:06.431" v="618" actId="700"/>
          <ac:spMkLst>
            <pc:docMk/>
            <pc:sldMk cId="2475241319" sldId="2147138105"/>
            <ac:spMk id="6" creationId="{E29644A5-DAD3-BC69-DCD3-F0CB5E712C75}"/>
          </ac:spMkLst>
        </pc:spChg>
        <pc:spChg chg="mod ord">
          <ac:chgData name="Oehrli, Stefan" userId="3f36891e-f853-43e7-bcbc-2879a2513833" providerId="ADAL" clId="{09BEBDDE-AF5B-9146-8B18-471724E5E3DD}" dt="2023-11-20T23:05:06.431" v="618" actId="700"/>
          <ac:spMkLst>
            <pc:docMk/>
            <pc:sldMk cId="2475241319" sldId="2147138105"/>
            <ac:spMk id="7" creationId="{89044E24-A45A-7A0B-F3B8-C24968E77FD6}"/>
          </ac:spMkLst>
        </pc:spChg>
        <pc:spChg chg="add mod ord">
          <ac:chgData name="Oehrli, Stefan" userId="3f36891e-f853-43e7-bcbc-2879a2513833" providerId="ADAL" clId="{09BEBDDE-AF5B-9146-8B18-471724E5E3DD}" dt="2023-11-21T03:17:22.502" v="1263"/>
          <ac:spMkLst>
            <pc:docMk/>
            <pc:sldMk cId="2475241319" sldId="2147138105"/>
            <ac:spMk id="8" creationId="{11095482-1C48-477A-8085-00A480960AB0}"/>
          </ac:spMkLst>
        </pc:spChg>
        <pc:spChg chg="add mod ord">
          <ac:chgData name="Oehrli, Stefan" userId="3f36891e-f853-43e7-bcbc-2879a2513833" providerId="ADAL" clId="{09BEBDDE-AF5B-9146-8B18-471724E5E3DD}" dt="2023-11-21T04:02:02.020" v="1703" actId="20577"/>
          <ac:spMkLst>
            <pc:docMk/>
            <pc:sldMk cId="2475241319" sldId="2147138105"/>
            <ac:spMk id="9" creationId="{C7347C64-0348-3831-8B5A-25F65080DF73}"/>
          </ac:spMkLst>
        </pc:spChg>
        <pc:spChg chg="add mod ord">
          <ac:chgData name="Oehrli, Stefan" userId="3f36891e-f853-43e7-bcbc-2879a2513833" providerId="ADAL" clId="{09BEBDDE-AF5B-9146-8B18-471724E5E3DD}" dt="2023-11-21T03:17:16.304" v="1262" actId="20577"/>
          <ac:spMkLst>
            <pc:docMk/>
            <pc:sldMk cId="2475241319" sldId="2147138105"/>
            <ac:spMk id="10" creationId="{A1F0767F-EF95-3D78-8C45-26ADDE420EBC}"/>
          </ac:spMkLst>
        </pc:spChg>
        <pc:picChg chg="add mod">
          <ac:chgData name="Oehrli, Stefan" userId="3f36891e-f853-43e7-bcbc-2879a2513833" providerId="ADAL" clId="{09BEBDDE-AF5B-9146-8B18-471724E5E3DD}" dt="2023-11-21T04:00:01.021" v="1666" actId="1076"/>
          <ac:picMkLst>
            <pc:docMk/>
            <pc:sldMk cId="2475241319" sldId="2147138105"/>
            <ac:picMk id="11" creationId="{9D7918C6-DADD-7B4B-F03A-3B51E790D399}"/>
          </ac:picMkLst>
        </pc:picChg>
      </pc:sldChg>
      <pc:sldChg chg="modSp new del mod">
        <pc:chgData name="Oehrli, Stefan" userId="3f36891e-f853-43e7-bcbc-2879a2513833" providerId="ADAL" clId="{09BEBDDE-AF5B-9146-8B18-471724E5E3DD}" dt="2023-11-21T05:56:17.990" v="3305" actId="2696"/>
        <pc:sldMkLst>
          <pc:docMk/>
          <pc:sldMk cId="24819970" sldId="2147138106"/>
        </pc:sldMkLst>
        <pc:spChg chg="mod">
          <ac:chgData name="Oehrli, Stefan" userId="3f36891e-f853-43e7-bcbc-2879a2513833" providerId="ADAL" clId="{09BEBDDE-AF5B-9146-8B18-471724E5E3DD}" dt="2023-11-20T23:05:30.504" v="679" actId="20577"/>
          <ac:spMkLst>
            <pc:docMk/>
            <pc:sldMk cId="24819970" sldId="2147138106"/>
            <ac:spMk id="3" creationId="{5C3AA801-0B07-2FC3-FC44-DD1F4AE2AB46}"/>
          </ac:spMkLst>
        </pc:spChg>
      </pc:sldChg>
      <pc:sldChg chg="modSp new del mod ord">
        <pc:chgData name="Oehrli, Stefan" userId="3f36891e-f853-43e7-bcbc-2879a2513833" providerId="ADAL" clId="{09BEBDDE-AF5B-9146-8B18-471724E5E3DD}" dt="2023-11-21T05:56:19.644" v="3306" actId="2696"/>
        <pc:sldMkLst>
          <pc:docMk/>
          <pc:sldMk cId="583801763" sldId="2147138107"/>
        </pc:sldMkLst>
        <pc:spChg chg="mod">
          <ac:chgData name="Oehrli, Stefan" userId="3f36891e-f853-43e7-bcbc-2879a2513833" providerId="ADAL" clId="{09BEBDDE-AF5B-9146-8B18-471724E5E3DD}" dt="2023-11-20T23:05:44.602" v="686" actId="5793"/>
          <ac:spMkLst>
            <pc:docMk/>
            <pc:sldMk cId="583801763" sldId="2147138107"/>
            <ac:spMk id="3" creationId="{08C98366-039C-80F5-1C8B-19BBBE71266C}"/>
          </ac:spMkLst>
        </pc:spChg>
      </pc:sldChg>
      <pc:sldChg chg="modSp new del mod ord">
        <pc:chgData name="Oehrli, Stefan" userId="3f36891e-f853-43e7-bcbc-2879a2513833" providerId="ADAL" clId="{09BEBDDE-AF5B-9146-8B18-471724E5E3DD}" dt="2023-11-21T05:00:23.418" v="2048" actId="2696"/>
        <pc:sldMkLst>
          <pc:docMk/>
          <pc:sldMk cId="3996096580" sldId="2147138108"/>
        </pc:sldMkLst>
        <pc:spChg chg="mod">
          <ac:chgData name="Oehrli, Stefan" userId="3f36891e-f853-43e7-bcbc-2879a2513833" providerId="ADAL" clId="{09BEBDDE-AF5B-9146-8B18-471724E5E3DD}" dt="2023-11-20T23:05:49.174" v="693" actId="20577"/>
          <ac:spMkLst>
            <pc:docMk/>
            <pc:sldMk cId="3996096580" sldId="2147138108"/>
            <ac:spMk id="3" creationId="{937DE279-BF53-3D3C-B2C1-21BF619A6300}"/>
          </ac:spMkLst>
        </pc:spChg>
      </pc:sldChg>
      <pc:sldChg chg="modSp new mod ord modAnim">
        <pc:chgData name="Oehrli, Stefan" userId="3f36891e-f853-43e7-bcbc-2879a2513833" providerId="ADAL" clId="{09BEBDDE-AF5B-9146-8B18-471724E5E3DD}" dt="2023-11-21T10:33:09.670" v="7097"/>
        <pc:sldMkLst>
          <pc:docMk/>
          <pc:sldMk cId="3368936083" sldId="2147138109"/>
        </pc:sldMkLst>
        <pc:spChg chg="mod">
          <ac:chgData name="Oehrli, Stefan" userId="3f36891e-f853-43e7-bcbc-2879a2513833" providerId="ADAL" clId="{09BEBDDE-AF5B-9146-8B18-471724E5E3DD}" dt="2023-11-21T05:15:54.169" v="2207" actId="20577"/>
          <ac:spMkLst>
            <pc:docMk/>
            <pc:sldMk cId="3368936083" sldId="2147138109"/>
            <ac:spMk id="2" creationId="{16497407-374A-8C5A-3077-5D39A5116E11}"/>
          </ac:spMkLst>
        </pc:spChg>
        <pc:spChg chg="mod">
          <ac:chgData name="Oehrli, Stefan" userId="3f36891e-f853-43e7-bcbc-2879a2513833" providerId="ADAL" clId="{09BEBDDE-AF5B-9146-8B18-471724E5E3DD}" dt="2023-11-21T05:26:22.190" v="2572" actId="2711"/>
          <ac:spMkLst>
            <pc:docMk/>
            <pc:sldMk cId="3368936083" sldId="2147138109"/>
            <ac:spMk id="3" creationId="{9C018C55-05F7-440F-D0D1-4C23FD52D6AF}"/>
          </ac:spMkLst>
        </pc:spChg>
        <pc:spChg chg="mod">
          <ac:chgData name="Oehrli, Stefan" userId="3f36891e-f853-43e7-bcbc-2879a2513833" providerId="ADAL" clId="{09BEBDDE-AF5B-9146-8B18-471724E5E3DD}" dt="2023-11-21T05:15:18.372" v="2204"/>
          <ac:spMkLst>
            <pc:docMk/>
            <pc:sldMk cId="3368936083" sldId="2147138109"/>
            <ac:spMk id="4" creationId="{B7F48254-FE32-1B35-62F2-B09B1DDB3F50}"/>
          </ac:spMkLst>
        </pc:spChg>
      </pc:sldChg>
      <pc:sldChg chg="addSp delSp modSp new mod modClrScheme chgLayout">
        <pc:chgData name="Oehrli, Stefan" userId="3f36891e-f853-43e7-bcbc-2879a2513833" providerId="ADAL" clId="{09BEBDDE-AF5B-9146-8B18-471724E5E3DD}" dt="2023-11-20T23:16:36.729" v="1058" actId="1076"/>
        <pc:sldMkLst>
          <pc:docMk/>
          <pc:sldMk cId="4159375980" sldId="2147138110"/>
        </pc:sldMkLst>
        <pc:spChg chg="del mod ord">
          <ac:chgData name="Oehrli, Stefan" userId="3f36891e-f853-43e7-bcbc-2879a2513833" providerId="ADAL" clId="{09BEBDDE-AF5B-9146-8B18-471724E5E3DD}" dt="2023-11-20T23:09:43.039" v="762" actId="700"/>
          <ac:spMkLst>
            <pc:docMk/>
            <pc:sldMk cId="4159375980" sldId="2147138110"/>
            <ac:spMk id="2" creationId="{A3608CF7-84A5-A60A-2A0A-E8AB11EA3060}"/>
          </ac:spMkLst>
        </pc:spChg>
        <pc:spChg chg="del mod ord">
          <ac:chgData name="Oehrli, Stefan" userId="3f36891e-f853-43e7-bcbc-2879a2513833" providerId="ADAL" clId="{09BEBDDE-AF5B-9146-8B18-471724E5E3DD}" dt="2023-11-20T23:09:43.039" v="762" actId="700"/>
          <ac:spMkLst>
            <pc:docMk/>
            <pc:sldMk cId="4159375980" sldId="2147138110"/>
            <ac:spMk id="3" creationId="{1ACAFBD2-53B3-E9E0-8B47-4DD9FC10B0A2}"/>
          </ac:spMkLst>
        </pc:spChg>
        <pc:spChg chg="del mod ord">
          <ac:chgData name="Oehrli, Stefan" userId="3f36891e-f853-43e7-bcbc-2879a2513833" providerId="ADAL" clId="{09BEBDDE-AF5B-9146-8B18-471724E5E3DD}" dt="2023-11-20T23:09:43.039" v="762" actId="700"/>
          <ac:spMkLst>
            <pc:docMk/>
            <pc:sldMk cId="4159375980" sldId="2147138110"/>
            <ac:spMk id="4" creationId="{21B32A94-FBB2-E56B-27B5-851FA2E7B2C7}"/>
          </ac:spMkLst>
        </pc:spChg>
        <pc:spChg chg="mod ord">
          <ac:chgData name="Oehrli, Stefan" userId="3f36891e-f853-43e7-bcbc-2879a2513833" providerId="ADAL" clId="{09BEBDDE-AF5B-9146-8B18-471724E5E3DD}" dt="2023-11-20T23:09:43.039" v="762" actId="700"/>
          <ac:spMkLst>
            <pc:docMk/>
            <pc:sldMk cId="4159375980" sldId="2147138110"/>
            <ac:spMk id="5" creationId="{5DB04688-A81C-633E-5A4C-0BA670A1797C}"/>
          </ac:spMkLst>
        </pc:spChg>
        <pc:spChg chg="mod ord">
          <ac:chgData name="Oehrli, Stefan" userId="3f36891e-f853-43e7-bcbc-2879a2513833" providerId="ADAL" clId="{09BEBDDE-AF5B-9146-8B18-471724E5E3DD}" dt="2023-11-20T23:09:43.039" v="762" actId="700"/>
          <ac:spMkLst>
            <pc:docMk/>
            <pc:sldMk cId="4159375980" sldId="2147138110"/>
            <ac:spMk id="6" creationId="{CA065CD1-DB8A-990B-B6A4-BB7C00380662}"/>
          </ac:spMkLst>
        </pc:spChg>
        <pc:spChg chg="add mod ord">
          <ac:chgData name="Oehrli, Stefan" userId="3f36891e-f853-43e7-bcbc-2879a2513833" providerId="ADAL" clId="{09BEBDDE-AF5B-9146-8B18-471724E5E3DD}" dt="2023-11-20T23:10:08.369" v="815" actId="20577"/>
          <ac:spMkLst>
            <pc:docMk/>
            <pc:sldMk cId="4159375980" sldId="2147138110"/>
            <ac:spMk id="7" creationId="{2EC51D3D-70FE-A392-065C-F745E2992C39}"/>
          </ac:spMkLst>
        </pc:spChg>
        <pc:spChg chg="add mod ord">
          <ac:chgData name="Oehrli, Stefan" userId="3f36891e-f853-43e7-bcbc-2879a2513833" providerId="ADAL" clId="{09BEBDDE-AF5B-9146-8B18-471724E5E3DD}" dt="2023-11-20T23:16:27.345" v="1053" actId="20577"/>
          <ac:spMkLst>
            <pc:docMk/>
            <pc:sldMk cId="4159375980" sldId="2147138110"/>
            <ac:spMk id="8" creationId="{F4778D01-942F-FD1A-E6BC-B581D2B74146}"/>
          </ac:spMkLst>
        </pc:spChg>
        <pc:spChg chg="add mod ord">
          <ac:chgData name="Oehrli, Stefan" userId="3f36891e-f853-43e7-bcbc-2879a2513833" providerId="ADAL" clId="{09BEBDDE-AF5B-9146-8B18-471724E5E3DD}" dt="2023-11-20T23:10:42.114" v="854" actId="20577"/>
          <ac:spMkLst>
            <pc:docMk/>
            <pc:sldMk cId="4159375980" sldId="2147138110"/>
            <ac:spMk id="9" creationId="{2033E105-22FF-3F94-15F0-366E8E86D770}"/>
          </ac:spMkLst>
        </pc:spChg>
        <pc:spChg chg="add del mod ord">
          <ac:chgData name="Oehrli, Stefan" userId="3f36891e-f853-43e7-bcbc-2879a2513833" providerId="ADAL" clId="{09BEBDDE-AF5B-9146-8B18-471724E5E3DD}" dt="2023-11-20T23:09:44.651" v="763"/>
          <ac:spMkLst>
            <pc:docMk/>
            <pc:sldMk cId="4159375980" sldId="2147138110"/>
            <ac:spMk id="10" creationId="{4E9D21CD-2F9F-96ED-9450-7A197A9223F2}"/>
          </ac:spMkLst>
        </pc:spChg>
        <pc:picChg chg="add mod">
          <ac:chgData name="Oehrli, Stefan" userId="3f36891e-f853-43e7-bcbc-2879a2513833" providerId="ADAL" clId="{09BEBDDE-AF5B-9146-8B18-471724E5E3DD}" dt="2023-11-20T23:16:36.729" v="1058" actId="1076"/>
          <ac:picMkLst>
            <pc:docMk/>
            <pc:sldMk cId="4159375980" sldId="2147138110"/>
            <ac:picMk id="11" creationId="{FA279A26-72C4-0026-6F0A-1A0B0E457326}"/>
          </ac:picMkLst>
        </pc:picChg>
      </pc:sldChg>
      <pc:sldChg chg="addSp delSp modSp new mod ord chgLayout">
        <pc:chgData name="Oehrli, Stefan" userId="3f36891e-f853-43e7-bcbc-2879a2513833" providerId="ADAL" clId="{09BEBDDE-AF5B-9146-8B18-471724E5E3DD}" dt="2023-11-20T23:18:27.972" v="1078"/>
        <pc:sldMkLst>
          <pc:docMk/>
          <pc:sldMk cId="2774964817" sldId="2147138111"/>
        </pc:sldMkLst>
        <pc:spChg chg="del mod ord">
          <ac:chgData name="Oehrli, Stefan" userId="3f36891e-f853-43e7-bcbc-2879a2513833" providerId="ADAL" clId="{09BEBDDE-AF5B-9146-8B18-471724E5E3DD}" dt="2023-11-20T23:17:42.325" v="1062" actId="700"/>
          <ac:spMkLst>
            <pc:docMk/>
            <pc:sldMk cId="2774964817" sldId="2147138111"/>
            <ac:spMk id="2" creationId="{8592FB24-12A8-0F4E-CF77-2E2D931B88BA}"/>
          </ac:spMkLst>
        </pc:spChg>
        <pc:spChg chg="del mod ord">
          <ac:chgData name="Oehrli, Stefan" userId="3f36891e-f853-43e7-bcbc-2879a2513833" providerId="ADAL" clId="{09BEBDDE-AF5B-9146-8B18-471724E5E3DD}" dt="2023-11-20T23:17:42.325" v="1062" actId="700"/>
          <ac:spMkLst>
            <pc:docMk/>
            <pc:sldMk cId="2774964817" sldId="2147138111"/>
            <ac:spMk id="3" creationId="{AC28E316-6B11-F641-BFFC-11935C03DFF9}"/>
          </ac:spMkLst>
        </pc:spChg>
        <pc:spChg chg="del">
          <ac:chgData name="Oehrli, Stefan" userId="3f36891e-f853-43e7-bcbc-2879a2513833" providerId="ADAL" clId="{09BEBDDE-AF5B-9146-8B18-471724E5E3DD}" dt="2023-11-20T23:17:42.325" v="1062" actId="700"/>
          <ac:spMkLst>
            <pc:docMk/>
            <pc:sldMk cId="2774964817" sldId="2147138111"/>
            <ac:spMk id="4" creationId="{BA074CCF-9D7B-38C0-BB13-9EB1D91C735E}"/>
          </ac:spMkLst>
        </pc:spChg>
        <pc:spChg chg="mod ord">
          <ac:chgData name="Oehrli, Stefan" userId="3f36891e-f853-43e7-bcbc-2879a2513833" providerId="ADAL" clId="{09BEBDDE-AF5B-9146-8B18-471724E5E3DD}" dt="2023-11-20T23:17:42.325" v="1062" actId="700"/>
          <ac:spMkLst>
            <pc:docMk/>
            <pc:sldMk cId="2774964817" sldId="2147138111"/>
            <ac:spMk id="5" creationId="{87BED978-7378-65D6-B7A8-716E186EF83A}"/>
          </ac:spMkLst>
        </pc:spChg>
        <pc:spChg chg="del mod ord">
          <ac:chgData name="Oehrli, Stefan" userId="3f36891e-f853-43e7-bcbc-2879a2513833" providerId="ADAL" clId="{09BEBDDE-AF5B-9146-8B18-471724E5E3DD}" dt="2023-11-20T23:17:42.325" v="1062" actId="700"/>
          <ac:spMkLst>
            <pc:docMk/>
            <pc:sldMk cId="2774964817" sldId="2147138111"/>
            <ac:spMk id="6" creationId="{56C1E882-E98D-84C9-FA59-A6D42E3CA327}"/>
          </ac:spMkLst>
        </pc:spChg>
        <pc:spChg chg="mod ord">
          <ac:chgData name="Oehrli, Stefan" userId="3f36891e-f853-43e7-bcbc-2879a2513833" providerId="ADAL" clId="{09BEBDDE-AF5B-9146-8B18-471724E5E3DD}" dt="2023-11-20T23:17:42.325" v="1062" actId="700"/>
          <ac:spMkLst>
            <pc:docMk/>
            <pc:sldMk cId="2774964817" sldId="2147138111"/>
            <ac:spMk id="7" creationId="{FCF82A4F-E3A4-D879-F8D9-0AFBD63F9526}"/>
          </ac:spMkLst>
        </pc:spChg>
        <pc:spChg chg="add mod ord">
          <ac:chgData name="Oehrli, Stefan" userId="3f36891e-f853-43e7-bcbc-2879a2513833" providerId="ADAL" clId="{09BEBDDE-AF5B-9146-8B18-471724E5E3DD}" dt="2023-11-20T23:17:54.753" v="1075" actId="20577"/>
          <ac:spMkLst>
            <pc:docMk/>
            <pc:sldMk cId="2774964817" sldId="2147138111"/>
            <ac:spMk id="8" creationId="{BF25CD4C-3D0E-21F4-901C-AF885FE6C13E}"/>
          </ac:spMkLst>
        </pc:spChg>
        <pc:spChg chg="add mod ord">
          <ac:chgData name="Oehrli, Stefan" userId="3f36891e-f853-43e7-bcbc-2879a2513833" providerId="ADAL" clId="{09BEBDDE-AF5B-9146-8B18-471724E5E3DD}" dt="2023-11-20T23:17:49.364" v="1063" actId="20577"/>
          <ac:spMkLst>
            <pc:docMk/>
            <pc:sldMk cId="2774964817" sldId="2147138111"/>
            <ac:spMk id="9" creationId="{3C3E011B-8CC5-AF32-E555-24EF991C1C28}"/>
          </ac:spMkLst>
        </pc:spChg>
        <pc:spChg chg="add mod ord">
          <ac:chgData name="Oehrli, Stefan" userId="3f36891e-f853-43e7-bcbc-2879a2513833" providerId="ADAL" clId="{09BEBDDE-AF5B-9146-8B18-471724E5E3DD}" dt="2023-11-20T23:18:27.972" v="1078"/>
          <ac:spMkLst>
            <pc:docMk/>
            <pc:sldMk cId="2774964817" sldId="2147138111"/>
            <ac:spMk id="10" creationId="{E71E492B-E171-42B1-2E24-469DFA041F48}"/>
          </ac:spMkLst>
        </pc:spChg>
      </pc:sldChg>
      <pc:sldChg chg="addSp delSp modSp new mod ord chgLayout">
        <pc:chgData name="Oehrli, Stefan" userId="3f36891e-f853-43e7-bcbc-2879a2513833" providerId="ADAL" clId="{09BEBDDE-AF5B-9146-8B18-471724E5E3DD}" dt="2023-11-20T23:19:21.223" v="1098" actId="114"/>
        <pc:sldMkLst>
          <pc:docMk/>
          <pc:sldMk cId="424518403" sldId="2147138112"/>
        </pc:sldMkLst>
        <pc:spChg chg="del mod ord">
          <ac:chgData name="Oehrli, Stefan" userId="3f36891e-f853-43e7-bcbc-2879a2513833" providerId="ADAL" clId="{09BEBDDE-AF5B-9146-8B18-471724E5E3DD}" dt="2023-11-20T23:18:40.533" v="1081" actId="700"/>
          <ac:spMkLst>
            <pc:docMk/>
            <pc:sldMk cId="424518403" sldId="2147138112"/>
            <ac:spMk id="2" creationId="{A3EEAFC1-B98E-39D6-81CF-59DD8106CA11}"/>
          </ac:spMkLst>
        </pc:spChg>
        <pc:spChg chg="del mod ord">
          <ac:chgData name="Oehrli, Stefan" userId="3f36891e-f853-43e7-bcbc-2879a2513833" providerId="ADAL" clId="{09BEBDDE-AF5B-9146-8B18-471724E5E3DD}" dt="2023-11-20T23:18:40.533" v="1081" actId="700"/>
          <ac:spMkLst>
            <pc:docMk/>
            <pc:sldMk cId="424518403" sldId="2147138112"/>
            <ac:spMk id="3" creationId="{B30ED5DD-EC20-3A33-64E9-9F3349F77674}"/>
          </ac:spMkLst>
        </pc:spChg>
        <pc:spChg chg="del mod ord">
          <ac:chgData name="Oehrli, Stefan" userId="3f36891e-f853-43e7-bcbc-2879a2513833" providerId="ADAL" clId="{09BEBDDE-AF5B-9146-8B18-471724E5E3DD}" dt="2023-11-20T23:18:40.533" v="1081" actId="700"/>
          <ac:spMkLst>
            <pc:docMk/>
            <pc:sldMk cId="424518403" sldId="2147138112"/>
            <ac:spMk id="4" creationId="{A5D2D620-574C-925C-5047-6DCEEF67B933}"/>
          </ac:spMkLst>
        </pc:spChg>
        <pc:spChg chg="mod ord">
          <ac:chgData name="Oehrli, Stefan" userId="3f36891e-f853-43e7-bcbc-2879a2513833" providerId="ADAL" clId="{09BEBDDE-AF5B-9146-8B18-471724E5E3DD}" dt="2023-11-20T23:18:40.533" v="1081" actId="700"/>
          <ac:spMkLst>
            <pc:docMk/>
            <pc:sldMk cId="424518403" sldId="2147138112"/>
            <ac:spMk id="5" creationId="{92149BEA-677C-50DA-6461-8492D93FE99A}"/>
          </ac:spMkLst>
        </pc:spChg>
        <pc:spChg chg="mod ord">
          <ac:chgData name="Oehrli, Stefan" userId="3f36891e-f853-43e7-bcbc-2879a2513833" providerId="ADAL" clId="{09BEBDDE-AF5B-9146-8B18-471724E5E3DD}" dt="2023-11-20T23:18:40.533" v="1081" actId="700"/>
          <ac:spMkLst>
            <pc:docMk/>
            <pc:sldMk cId="424518403" sldId="2147138112"/>
            <ac:spMk id="6" creationId="{6602F1E7-1191-71C6-FAA9-F19CB163EFC9}"/>
          </ac:spMkLst>
        </pc:spChg>
        <pc:spChg chg="add mod ord">
          <ac:chgData name="Oehrli, Stefan" userId="3f36891e-f853-43e7-bcbc-2879a2513833" providerId="ADAL" clId="{09BEBDDE-AF5B-9146-8B18-471724E5E3DD}" dt="2023-11-20T23:18:46.620" v="1096" actId="20577"/>
          <ac:spMkLst>
            <pc:docMk/>
            <pc:sldMk cId="424518403" sldId="2147138112"/>
            <ac:spMk id="7" creationId="{F68201F2-BCFB-6D14-7C78-E0C2C0496BF4}"/>
          </ac:spMkLst>
        </pc:spChg>
        <pc:spChg chg="add mod ord">
          <ac:chgData name="Oehrli, Stefan" userId="3f36891e-f853-43e7-bcbc-2879a2513833" providerId="ADAL" clId="{09BEBDDE-AF5B-9146-8B18-471724E5E3DD}" dt="2023-11-20T23:18:42.240" v="1082" actId="20577"/>
          <ac:spMkLst>
            <pc:docMk/>
            <pc:sldMk cId="424518403" sldId="2147138112"/>
            <ac:spMk id="8" creationId="{731D6917-619F-E945-C176-D1FBB4B2F553}"/>
          </ac:spMkLst>
        </pc:spChg>
        <pc:spChg chg="add mod ord">
          <ac:chgData name="Oehrli, Stefan" userId="3f36891e-f853-43e7-bcbc-2879a2513833" providerId="ADAL" clId="{09BEBDDE-AF5B-9146-8B18-471724E5E3DD}" dt="2023-11-20T23:19:21.223" v="1098" actId="114"/>
          <ac:spMkLst>
            <pc:docMk/>
            <pc:sldMk cId="424518403" sldId="2147138112"/>
            <ac:spMk id="9" creationId="{A75A3D33-4831-D4E5-56F6-537BE3375A4D}"/>
          </ac:spMkLst>
        </pc:spChg>
      </pc:sldChg>
      <pc:sldChg chg="addSp delSp modSp new mod ord chgLayout">
        <pc:chgData name="Oehrli, Stefan" userId="3f36891e-f853-43e7-bcbc-2879a2513833" providerId="ADAL" clId="{09BEBDDE-AF5B-9146-8B18-471724E5E3DD}" dt="2023-11-20T23:20:38.799" v="1132" actId="5793"/>
        <pc:sldMkLst>
          <pc:docMk/>
          <pc:sldMk cId="1136284001" sldId="2147138113"/>
        </pc:sldMkLst>
        <pc:spChg chg="del mod ord">
          <ac:chgData name="Oehrli, Stefan" userId="3f36891e-f853-43e7-bcbc-2879a2513833" providerId="ADAL" clId="{09BEBDDE-AF5B-9146-8B18-471724E5E3DD}" dt="2023-11-20T23:19:32.573" v="1101" actId="700"/>
          <ac:spMkLst>
            <pc:docMk/>
            <pc:sldMk cId="1136284001" sldId="2147138113"/>
            <ac:spMk id="2" creationId="{69CDE5CF-2FA5-D87F-5A31-56A6257C14B8}"/>
          </ac:spMkLst>
        </pc:spChg>
        <pc:spChg chg="del mod ord">
          <ac:chgData name="Oehrli, Stefan" userId="3f36891e-f853-43e7-bcbc-2879a2513833" providerId="ADAL" clId="{09BEBDDE-AF5B-9146-8B18-471724E5E3DD}" dt="2023-11-20T23:19:32.573" v="1101" actId="700"/>
          <ac:spMkLst>
            <pc:docMk/>
            <pc:sldMk cId="1136284001" sldId="2147138113"/>
            <ac:spMk id="3" creationId="{7F602AAE-413B-1C48-11D1-54F13CC85160}"/>
          </ac:spMkLst>
        </pc:spChg>
        <pc:spChg chg="del mod ord">
          <ac:chgData name="Oehrli, Stefan" userId="3f36891e-f853-43e7-bcbc-2879a2513833" providerId="ADAL" clId="{09BEBDDE-AF5B-9146-8B18-471724E5E3DD}" dt="2023-11-20T23:19:32.573" v="1101" actId="700"/>
          <ac:spMkLst>
            <pc:docMk/>
            <pc:sldMk cId="1136284001" sldId="2147138113"/>
            <ac:spMk id="4" creationId="{EC748F11-0F85-3D5D-DBE4-359F455FA7E4}"/>
          </ac:spMkLst>
        </pc:spChg>
        <pc:spChg chg="mod ord">
          <ac:chgData name="Oehrli, Stefan" userId="3f36891e-f853-43e7-bcbc-2879a2513833" providerId="ADAL" clId="{09BEBDDE-AF5B-9146-8B18-471724E5E3DD}" dt="2023-11-20T23:19:32.573" v="1101" actId="700"/>
          <ac:spMkLst>
            <pc:docMk/>
            <pc:sldMk cId="1136284001" sldId="2147138113"/>
            <ac:spMk id="5" creationId="{1725330E-B7A1-751A-6ADE-B3DC9023C734}"/>
          </ac:spMkLst>
        </pc:spChg>
        <pc:spChg chg="mod ord">
          <ac:chgData name="Oehrli, Stefan" userId="3f36891e-f853-43e7-bcbc-2879a2513833" providerId="ADAL" clId="{09BEBDDE-AF5B-9146-8B18-471724E5E3DD}" dt="2023-11-20T23:19:32.573" v="1101" actId="700"/>
          <ac:spMkLst>
            <pc:docMk/>
            <pc:sldMk cId="1136284001" sldId="2147138113"/>
            <ac:spMk id="6" creationId="{876787A2-A2A3-CBB6-98C2-941C8FFC91E3}"/>
          </ac:spMkLst>
        </pc:spChg>
        <pc:spChg chg="add mod ord">
          <ac:chgData name="Oehrli, Stefan" userId="3f36891e-f853-43e7-bcbc-2879a2513833" providerId="ADAL" clId="{09BEBDDE-AF5B-9146-8B18-471724E5E3DD}" dt="2023-11-20T23:20:01.519" v="1127" actId="20577"/>
          <ac:spMkLst>
            <pc:docMk/>
            <pc:sldMk cId="1136284001" sldId="2147138113"/>
            <ac:spMk id="7" creationId="{C3A4703B-8513-4EF1-E20F-196FA209EA29}"/>
          </ac:spMkLst>
        </pc:spChg>
        <pc:spChg chg="add mod ord">
          <ac:chgData name="Oehrli, Stefan" userId="3f36891e-f853-43e7-bcbc-2879a2513833" providerId="ADAL" clId="{09BEBDDE-AF5B-9146-8B18-471724E5E3DD}" dt="2023-11-20T23:19:52.258" v="1102" actId="20577"/>
          <ac:spMkLst>
            <pc:docMk/>
            <pc:sldMk cId="1136284001" sldId="2147138113"/>
            <ac:spMk id="8" creationId="{DC155FE0-F932-177C-D091-A6660EC4F92D}"/>
          </ac:spMkLst>
        </pc:spChg>
        <pc:spChg chg="add mod ord">
          <ac:chgData name="Oehrli, Stefan" userId="3f36891e-f853-43e7-bcbc-2879a2513833" providerId="ADAL" clId="{09BEBDDE-AF5B-9146-8B18-471724E5E3DD}" dt="2023-11-20T23:20:38.799" v="1132" actId="5793"/>
          <ac:spMkLst>
            <pc:docMk/>
            <pc:sldMk cId="1136284001" sldId="2147138113"/>
            <ac:spMk id="9" creationId="{F768FB15-6BB3-0B89-C93E-8D8962A8795D}"/>
          </ac:spMkLst>
        </pc:spChg>
      </pc:sldChg>
      <pc:sldChg chg="addSp delSp modSp new mod ord modClrScheme chgLayout">
        <pc:chgData name="Oehrli, Stefan" userId="3f36891e-f853-43e7-bcbc-2879a2513833" providerId="ADAL" clId="{09BEBDDE-AF5B-9146-8B18-471724E5E3DD}" dt="2023-11-21T06:11:29.777" v="3594" actId="20577"/>
        <pc:sldMkLst>
          <pc:docMk/>
          <pc:sldMk cId="2191559807" sldId="2147138114"/>
        </pc:sldMkLst>
        <pc:spChg chg="del mod ord">
          <ac:chgData name="Oehrli, Stefan" userId="3f36891e-f853-43e7-bcbc-2879a2513833" providerId="ADAL" clId="{09BEBDDE-AF5B-9146-8B18-471724E5E3DD}" dt="2023-11-21T06:05:00.240" v="3332" actId="700"/>
          <ac:spMkLst>
            <pc:docMk/>
            <pc:sldMk cId="2191559807" sldId="2147138114"/>
            <ac:spMk id="2" creationId="{FCC4E52D-4BA0-708D-5D85-13EA669837B3}"/>
          </ac:spMkLst>
        </pc:spChg>
        <pc:spChg chg="del mod ord">
          <ac:chgData name="Oehrli, Stefan" userId="3f36891e-f853-43e7-bcbc-2879a2513833" providerId="ADAL" clId="{09BEBDDE-AF5B-9146-8B18-471724E5E3DD}" dt="2023-11-21T06:05:00.240" v="3332" actId="700"/>
          <ac:spMkLst>
            <pc:docMk/>
            <pc:sldMk cId="2191559807" sldId="2147138114"/>
            <ac:spMk id="3" creationId="{0A6CFD29-B884-7992-60D9-4FCEC7EA3214}"/>
          </ac:spMkLst>
        </pc:spChg>
        <pc:spChg chg="del mod ord">
          <ac:chgData name="Oehrli, Stefan" userId="3f36891e-f853-43e7-bcbc-2879a2513833" providerId="ADAL" clId="{09BEBDDE-AF5B-9146-8B18-471724E5E3DD}" dt="2023-11-21T06:05:00.240" v="3332" actId="700"/>
          <ac:spMkLst>
            <pc:docMk/>
            <pc:sldMk cId="2191559807" sldId="2147138114"/>
            <ac:spMk id="4" creationId="{93A61C8B-240B-5082-3E37-C32643E2F068}"/>
          </ac:spMkLst>
        </pc:spChg>
        <pc:spChg chg="mod ord">
          <ac:chgData name="Oehrli, Stefan" userId="3f36891e-f853-43e7-bcbc-2879a2513833" providerId="ADAL" clId="{09BEBDDE-AF5B-9146-8B18-471724E5E3DD}" dt="2023-11-21T06:05:00.240" v="3332" actId="700"/>
          <ac:spMkLst>
            <pc:docMk/>
            <pc:sldMk cId="2191559807" sldId="2147138114"/>
            <ac:spMk id="5" creationId="{29EACC0F-45CE-32AA-E022-C01807FE393D}"/>
          </ac:spMkLst>
        </pc:spChg>
        <pc:spChg chg="mod ord">
          <ac:chgData name="Oehrli, Stefan" userId="3f36891e-f853-43e7-bcbc-2879a2513833" providerId="ADAL" clId="{09BEBDDE-AF5B-9146-8B18-471724E5E3DD}" dt="2023-11-21T06:05:00.240" v="3332" actId="700"/>
          <ac:spMkLst>
            <pc:docMk/>
            <pc:sldMk cId="2191559807" sldId="2147138114"/>
            <ac:spMk id="6" creationId="{E05EC5CD-B857-F78D-6868-E05AAEB32A7B}"/>
          </ac:spMkLst>
        </pc:spChg>
        <pc:spChg chg="add mod ord">
          <ac:chgData name="Oehrli, Stefan" userId="3f36891e-f853-43e7-bcbc-2879a2513833" providerId="ADAL" clId="{09BEBDDE-AF5B-9146-8B18-471724E5E3DD}" dt="2023-11-21T06:05:37.198" v="3338"/>
          <ac:spMkLst>
            <pc:docMk/>
            <pc:sldMk cId="2191559807" sldId="2147138114"/>
            <ac:spMk id="7" creationId="{6D88795F-0EDA-2EBE-2839-3FE8707FFA7F}"/>
          </ac:spMkLst>
        </pc:spChg>
        <pc:spChg chg="add mod ord">
          <ac:chgData name="Oehrli, Stefan" userId="3f36891e-f853-43e7-bcbc-2879a2513833" providerId="ADAL" clId="{09BEBDDE-AF5B-9146-8B18-471724E5E3DD}" dt="2023-11-21T06:11:29.777" v="3594" actId="20577"/>
          <ac:spMkLst>
            <pc:docMk/>
            <pc:sldMk cId="2191559807" sldId="2147138114"/>
            <ac:spMk id="8" creationId="{98B1479F-3595-4B9A-276B-AA5E96561411}"/>
          </ac:spMkLst>
        </pc:spChg>
        <pc:spChg chg="add mod ord">
          <ac:chgData name="Oehrli, Stefan" userId="3f36891e-f853-43e7-bcbc-2879a2513833" providerId="ADAL" clId="{09BEBDDE-AF5B-9146-8B18-471724E5E3DD}" dt="2023-11-21T06:06:36.524" v="3346" actId="5793"/>
          <ac:spMkLst>
            <pc:docMk/>
            <pc:sldMk cId="2191559807" sldId="2147138114"/>
            <ac:spMk id="9" creationId="{ACF0A545-D7D6-2B33-7E91-E1DEFB0D11BD}"/>
          </ac:spMkLst>
        </pc:spChg>
        <pc:spChg chg="add mod ord">
          <ac:chgData name="Oehrli, Stefan" userId="3f36891e-f853-43e7-bcbc-2879a2513833" providerId="ADAL" clId="{09BEBDDE-AF5B-9146-8B18-471724E5E3DD}" dt="2023-11-21T06:05:50.419" v="3341" actId="14100"/>
          <ac:spMkLst>
            <pc:docMk/>
            <pc:sldMk cId="2191559807" sldId="2147138114"/>
            <ac:spMk id="10" creationId="{37D37A2F-F89E-5AAB-C1EF-0DBDE759A4D0}"/>
          </ac:spMkLst>
        </pc:spChg>
      </pc:sldChg>
      <pc:sldChg chg="modSp new mod ord">
        <pc:chgData name="Oehrli, Stefan" userId="3f36891e-f853-43e7-bcbc-2879a2513833" providerId="ADAL" clId="{09BEBDDE-AF5B-9146-8B18-471724E5E3DD}" dt="2023-11-21T05:56:44.517" v="3310" actId="20578"/>
        <pc:sldMkLst>
          <pc:docMk/>
          <pc:sldMk cId="934375759" sldId="2147138115"/>
        </pc:sldMkLst>
        <pc:spChg chg="mod">
          <ac:chgData name="Oehrli, Stefan" userId="3f36891e-f853-43e7-bcbc-2879a2513833" providerId="ADAL" clId="{09BEBDDE-AF5B-9146-8B18-471724E5E3DD}" dt="2023-11-20T23:21:01.604" v="1146" actId="20577"/>
          <ac:spMkLst>
            <pc:docMk/>
            <pc:sldMk cId="934375759" sldId="2147138115"/>
            <ac:spMk id="2" creationId="{A491A190-E5DC-85B4-6B73-11DC9D3F712C}"/>
          </ac:spMkLst>
        </pc:spChg>
        <pc:spChg chg="mod">
          <ac:chgData name="Oehrli, Stefan" userId="3f36891e-f853-43e7-bcbc-2879a2513833" providerId="ADAL" clId="{09BEBDDE-AF5B-9146-8B18-471724E5E3DD}" dt="2023-11-20T23:20:54.254" v="1138" actId="20577"/>
          <ac:spMkLst>
            <pc:docMk/>
            <pc:sldMk cId="934375759" sldId="2147138115"/>
            <ac:spMk id="3" creationId="{639CAD41-CE78-FDB1-2BFD-3E6C9D835A82}"/>
          </ac:spMkLst>
        </pc:spChg>
        <pc:spChg chg="mod">
          <ac:chgData name="Oehrli, Stefan" userId="3f36891e-f853-43e7-bcbc-2879a2513833" providerId="ADAL" clId="{09BEBDDE-AF5B-9146-8B18-471724E5E3DD}" dt="2023-11-20T23:23:32.976" v="1208" actId="5793"/>
          <ac:spMkLst>
            <pc:docMk/>
            <pc:sldMk cId="934375759" sldId="2147138115"/>
            <ac:spMk id="4" creationId="{B336FFE9-9195-5BAA-DD49-6BD6759D0324}"/>
          </ac:spMkLst>
        </pc:spChg>
      </pc:sldChg>
      <pc:sldChg chg="addSp delSp modSp new mod ord chgLayout">
        <pc:chgData name="Oehrli, Stefan" userId="3f36891e-f853-43e7-bcbc-2879a2513833" providerId="ADAL" clId="{09BEBDDE-AF5B-9146-8B18-471724E5E3DD}" dt="2023-11-21T08:42:23.030" v="4953" actId="14100"/>
        <pc:sldMkLst>
          <pc:docMk/>
          <pc:sldMk cId="1484047602" sldId="2147138116"/>
        </pc:sldMkLst>
        <pc:spChg chg="del mod ord">
          <ac:chgData name="Oehrli, Stefan" userId="3f36891e-f853-43e7-bcbc-2879a2513833" providerId="ADAL" clId="{09BEBDDE-AF5B-9146-8B18-471724E5E3DD}" dt="2023-11-20T23:23:43.876" v="1211" actId="700"/>
          <ac:spMkLst>
            <pc:docMk/>
            <pc:sldMk cId="1484047602" sldId="2147138116"/>
            <ac:spMk id="2" creationId="{866E175A-4010-1768-AB55-4889EE385554}"/>
          </ac:spMkLst>
        </pc:spChg>
        <pc:spChg chg="del mod ord">
          <ac:chgData name="Oehrli, Stefan" userId="3f36891e-f853-43e7-bcbc-2879a2513833" providerId="ADAL" clId="{09BEBDDE-AF5B-9146-8B18-471724E5E3DD}" dt="2023-11-20T23:23:43.876" v="1211" actId="700"/>
          <ac:spMkLst>
            <pc:docMk/>
            <pc:sldMk cId="1484047602" sldId="2147138116"/>
            <ac:spMk id="3" creationId="{3A469E9C-D191-8880-DDBD-40C504F4A2B6}"/>
          </ac:spMkLst>
        </pc:spChg>
        <pc:spChg chg="del mod ord">
          <ac:chgData name="Oehrli, Stefan" userId="3f36891e-f853-43e7-bcbc-2879a2513833" providerId="ADAL" clId="{09BEBDDE-AF5B-9146-8B18-471724E5E3DD}" dt="2023-11-20T23:23:43.876" v="1211" actId="700"/>
          <ac:spMkLst>
            <pc:docMk/>
            <pc:sldMk cId="1484047602" sldId="2147138116"/>
            <ac:spMk id="4" creationId="{256FB468-7C87-7AF5-F621-A8272B31BAC3}"/>
          </ac:spMkLst>
        </pc:spChg>
        <pc:spChg chg="mod ord">
          <ac:chgData name="Oehrli, Stefan" userId="3f36891e-f853-43e7-bcbc-2879a2513833" providerId="ADAL" clId="{09BEBDDE-AF5B-9146-8B18-471724E5E3DD}" dt="2023-11-20T23:23:43.876" v="1211" actId="700"/>
          <ac:spMkLst>
            <pc:docMk/>
            <pc:sldMk cId="1484047602" sldId="2147138116"/>
            <ac:spMk id="5" creationId="{068B6656-227D-1437-59DF-E0F1CEF6F0F3}"/>
          </ac:spMkLst>
        </pc:spChg>
        <pc:spChg chg="mod ord">
          <ac:chgData name="Oehrli, Stefan" userId="3f36891e-f853-43e7-bcbc-2879a2513833" providerId="ADAL" clId="{09BEBDDE-AF5B-9146-8B18-471724E5E3DD}" dt="2023-11-20T23:23:43.876" v="1211" actId="700"/>
          <ac:spMkLst>
            <pc:docMk/>
            <pc:sldMk cId="1484047602" sldId="2147138116"/>
            <ac:spMk id="6" creationId="{0040640B-312F-924E-48B1-77CCB1207059}"/>
          </ac:spMkLst>
        </pc:spChg>
        <pc:spChg chg="add mod ord">
          <ac:chgData name="Oehrli, Stefan" userId="3f36891e-f853-43e7-bcbc-2879a2513833" providerId="ADAL" clId="{09BEBDDE-AF5B-9146-8B18-471724E5E3DD}" dt="2023-11-20T23:23:48.222" v="1222" actId="20577"/>
          <ac:spMkLst>
            <pc:docMk/>
            <pc:sldMk cId="1484047602" sldId="2147138116"/>
            <ac:spMk id="7" creationId="{21563638-2555-70F4-D5D7-85126C84FD2E}"/>
          </ac:spMkLst>
        </pc:spChg>
        <pc:spChg chg="add mod ord">
          <ac:chgData name="Oehrli, Stefan" userId="3f36891e-f853-43e7-bcbc-2879a2513833" providerId="ADAL" clId="{09BEBDDE-AF5B-9146-8B18-471724E5E3DD}" dt="2023-11-20T23:23:45.761" v="1212" actId="20577"/>
          <ac:spMkLst>
            <pc:docMk/>
            <pc:sldMk cId="1484047602" sldId="2147138116"/>
            <ac:spMk id="8" creationId="{090913A8-0830-2CF3-54C0-DDF4B6F4EB1C}"/>
          </ac:spMkLst>
        </pc:spChg>
        <pc:spChg chg="add mod ord">
          <ac:chgData name="Oehrli, Stefan" userId="3f36891e-f853-43e7-bcbc-2879a2513833" providerId="ADAL" clId="{09BEBDDE-AF5B-9146-8B18-471724E5E3DD}" dt="2023-11-21T08:42:23.030" v="4953" actId="14100"/>
          <ac:spMkLst>
            <pc:docMk/>
            <pc:sldMk cId="1484047602" sldId="2147138116"/>
            <ac:spMk id="9" creationId="{166E3A80-C738-37AD-AEAA-5DE6CAA31919}"/>
          </ac:spMkLst>
        </pc:spChg>
      </pc:sldChg>
      <pc:sldChg chg="addSp delSp modSp new mod ord chgLayout">
        <pc:chgData name="Oehrli, Stefan" userId="3f36891e-f853-43e7-bcbc-2879a2513833" providerId="ADAL" clId="{09BEBDDE-AF5B-9146-8B18-471724E5E3DD}" dt="2023-11-21T10:18:46.400" v="6879" actId="20577"/>
        <pc:sldMkLst>
          <pc:docMk/>
          <pc:sldMk cId="1497942445" sldId="2147138117"/>
        </pc:sldMkLst>
        <pc:spChg chg="del mod ord">
          <ac:chgData name="Oehrli, Stefan" userId="3f36891e-f853-43e7-bcbc-2879a2513833" providerId="ADAL" clId="{09BEBDDE-AF5B-9146-8B18-471724E5E3DD}" dt="2023-11-20T23:24:07.333" v="1225" actId="700"/>
          <ac:spMkLst>
            <pc:docMk/>
            <pc:sldMk cId="1497942445" sldId="2147138117"/>
            <ac:spMk id="2" creationId="{AA27723A-E747-BA76-E4DB-A7E76D1DD92F}"/>
          </ac:spMkLst>
        </pc:spChg>
        <pc:spChg chg="del mod ord">
          <ac:chgData name="Oehrli, Stefan" userId="3f36891e-f853-43e7-bcbc-2879a2513833" providerId="ADAL" clId="{09BEBDDE-AF5B-9146-8B18-471724E5E3DD}" dt="2023-11-20T23:24:07.333" v="1225" actId="700"/>
          <ac:spMkLst>
            <pc:docMk/>
            <pc:sldMk cId="1497942445" sldId="2147138117"/>
            <ac:spMk id="3" creationId="{E78B728B-4527-5F91-FB52-C7A1FFF563AC}"/>
          </ac:spMkLst>
        </pc:spChg>
        <pc:spChg chg="del mod ord">
          <ac:chgData name="Oehrli, Stefan" userId="3f36891e-f853-43e7-bcbc-2879a2513833" providerId="ADAL" clId="{09BEBDDE-AF5B-9146-8B18-471724E5E3DD}" dt="2023-11-20T23:24:07.333" v="1225" actId="700"/>
          <ac:spMkLst>
            <pc:docMk/>
            <pc:sldMk cId="1497942445" sldId="2147138117"/>
            <ac:spMk id="4" creationId="{55769487-575A-C320-7D80-E1BEE8119901}"/>
          </ac:spMkLst>
        </pc:spChg>
        <pc:spChg chg="mod ord">
          <ac:chgData name="Oehrli, Stefan" userId="3f36891e-f853-43e7-bcbc-2879a2513833" providerId="ADAL" clId="{09BEBDDE-AF5B-9146-8B18-471724E5E3DD}" dt="2023-11-20T23:24:07.333" v="1225" actId="700"/>
          <ac:spMkLst>
            <pc:docMk/>
            <pc:sldMk cId="1497942445" sldId="2147138117"/>
            <ac:spMk id="5" creationId="{51283F34-A071-DC50-D839-8C3FCA0A2359}"/>
          </ac:spMkLst>
        </pc:spChg>
        <pc:spChg chg="mod ord">
          <ac:chgData name="Oehrli, Stefan" userId="3f36891e-f853-43e7-bcbc-2879a2513833" providerId="ADAL" clId="{09BEBDDE-AF5B-9146-8B18-471724E5E3DD}" dt="2023-11-20T23:24:07.333" v="1225" actId="700"/>
          <ac:spMkLst>
            <pc:docMk/>
            <pc:sldMk cId="1497942445" sldId="2147138117"/>
            <ac:spMk id="6" creationId="{180AF892-E159-1919-DA23-CA1EACFD7145}"/>
          </ac:spMkLst>
        </pc:spChg>
        <pc:spChg chg="add mod ord">
          <ac:chgData name="Oehrli, Stefan" userId="3f36891e-f853-43e7-bcbc-2879a2513833" providerId="ADAL" clId="{09BEBDDE-AF5B-9146-8B18-471724E5E3DD}" dt="2023-11-20T23:25:26.376" v="1251"/>
          <ac:spMkLst>
            <pc:docMk/>
            <pc:sldMk cId="1497942445" sldId="2147138117"/>
            <ac:spMk id="7" creationId="{5AFF6F87-7A68-7D91-A83F-C627637985B1}"/>
          </ac:spMkLst>
        </pc:spChg>
        <pc:spChg chg="add mod ord">
          <ac:chgData name="Oehrli, Stefan" userId="3f36891e-f853-43e7-bcbc-2879a2513833" providerId="ADAL" clId="{09BEBDDE-AF5B-9146-8B18-471724E5E3DD}" dt="2023-11-20T23:24:30.045" v="1233" actId="20577"/>
          <ac:spMkLst>
            <pc:docMk/>
            <pc:sldMk cId="1497942445" sldId="2147138117"/>
            <ac:spMk id="8" creationId="{5B4980FA-B259-287E-D836-01816D048B1B}"/>
          </ac:spMkLst>
        </pc:spChg>
        <pc:spChg chg="add mod ord">
          <ac:chgData name="Oehrli, Stefan" userId="3f36891e-f853-43e7-bcbc-2879a2513833" providerId="ADAL" clId="{09BEBDDE-AF5B-9146-8B18-471724E5E3DD}" dt="2023-11-21T10:18:46.400" v="6879" actId="20577"/>
          <ac:spMkLst>
            <pc:docMk/>
            <pc:sldMk cId="1497942445" sldId="2147138117"/>
            <ac:spMk id="9" creationId="{AF4E43EF-F115-6195-4B3F-408A358F3C4B}"/>
          </ac:spMkLst>
        </pc:spChg>
      </pc:sldChg>
      <pc:sldChg chg="modSp add del mod">
        <pc:chgData name="Oehrli, Stefan" userId="3f36891e-f853-43e7-bcbc-2879a2513833" providerId="ADAL" clId="{09BEBDDE-AF5B-9146-8B18-471724E5E3DD}" dt="2023-11-21T05:00:05.429" v="2044" actId="2696"/>
        <pc:sldMkLst>
          <pc:docMk/>
          <pc:sldMk cId="1058470750" sldId="2147138118"/>
        </pc:sldMkLst>
        <pc:spChg chg="mod">
          <ac:chgData name="Oehrli, Stefan" userId="3f36891e-f853-43e7-bcbc-2879a2513833" providerId="ADAL" clId="{09BEBDDE-AF5B-9146-8B18-471724E5E3DD}" dt="2023-11-21T04:46:51.770" v="1821" actId="20577"/>
          <ac:spMkLst>
            <pc:docMk/>
            <pc:sldMk cId="1058470750" sldId="2147138118"/>
            <ac:spMk id="9" creationId="{C7347C64-0348-3831-8B5A-25F65080DF73}"/>
          </ac:spMkLst>
        </pc:spChg>
      </pc:sldChg>
      <pc:sldChg chg="addSp delSp modSp new mod modClrScheme modAnim chgLayout">
        <pc:chgData name="Oehrli, Stefan" userId="3f36891e-f853-43e7-bcbc-2879a2513833" providerId="ADAL" clId="{09BEBDDE-AF5B-9146-8B18-471724E5E3DD}" dt="2023-11-21T03:48:59.742" v="1516"/>
        <pc:sldMkLst>
          <pc:docMk/>
          <pc:sldMk cId="2826333923" sldId="2147138119"/>
        </pc:sldMkLst>
        <pc:spChg chg="del mod ord">
          <ac:chgData name="Oehrli, Stefan" userId="3f36891e-f853-43e7-bcbc-2879a2513833" providerId="ADAL" clId="{09BEBDDE-AF5B-9146-8B18-471724E5E3DD}" dt="2023-11-21T03:23:44.025" v="1334" actId="700"/>
          <ac:spMkLst>
            <pc:docMk/>
            <pc:sldMk cId="2826333923" sldId="2147138119"/>
            <ac:spMk id="2" creationId="{7AAEE823-CA95-74E9-ADAA-C3E0CC509EBB}"/>
          </ac:spMkLst>
        </pc:spChg>
        <pc:spChg chg="del mod ord">
          <ac:chgData name="Oehrli, Stefan" userId="3f36891e-f853-43e7-bcbc-2879a2513833" providerId="ADAL" clId="{09BEBDDE-AF5B-9146-8B18-471724E5E3DD}" dt="2023-11-21T03:23:44.025" v="1334" actId="700"/>
          <ac:spMkLst>
            <pc:docMk/>
            <pc:sldMk cId="2826333923" sldId="2147138119"/>
            <ac:spMk id="3" creationId="{4CE06FB6-9FA2-3FD2-9BCA-A964CB21ABB8}"/>
          </ac:spMkLst>
        </pc:spChg>
        <pc:spChg chg="del mod ord">
          <ac:chgData name="Oehrli, Stefan" userId="3f36891e-f853-43e7-bcbc-2879a2513833" providerId="ADAL" clId="{09BEBDDE-AF5B-9146-8B18-471724E5E3DD}" dt="2023-11-21T03:23:44.025" v="1334" actId="700"/>
          <ac:spMkLst>
            <pc:docMk/>
            <pc:sldMk cId="2826333923" sldId="2147138119"/>
            <ac:spMk id="4" creationId="{8CBBD033-9C43-459F-741A-AD9DFD88B92E}"/>
          </ac:spMkLst>
        </pc:spChg>
        <pc:spChg chg="mod ord">
          <ac:chgData name="Oehrli, Stefan" userId="3f36891e-f853-43e7-bcbc-2879a2513833" providerId="ADAL" clId="{09BEBDDE-AF5B-9146-8B18-471724E5E3DD}" dt="2023-11-21T03:23:52.883" v="1335" actId="700"/>
          <ac:spMkLst>
            <pc:docMk/>
            <pc:sldMk cId="2826333923" sldId="2147138119"/>
            <ac:spMk id="5" creationId="{FA8546D9-CB6C-5FE9-0D00-7266E0ACD3A9}"/>
          </ac:spMkLst>
        </pc:spChg>
        <pc:spChg chg="mod ord">
          <ac:chgData name="Oehrli, Stefan" userId="3f36891e-f853-43e7-bcbc-2879a2513833" providerId="ADAL" clId="{09BEBDDE-AF5B-9146-8B18-471724E5E3DD}" dt="2023-11-21T03:23:52.883" v="1335" actId="700"/>
          <ac:spMkLst>
            <pc:docMk/>
            <pc:sldMk cId="2826333923" sldId="2147138119"/>
            <ac:spMk id="6" creationId="{D38AAB2C-94A3-ECDE-3CCD-F43A3D74ADBF}"/>
          </ac:spMkLst>
        </pc:spChg>
        <pc:spChg chg="add del mod ord">
          <ac:chgData name="Oehrli, Stefan" userId="3f36891e-f853-43e7-bcbc-2879a2513833" providerId="ADAL" clId="{09BEBDDE-AF5B-9146-8B18-471724E5E3DD}" dt="2023-11-21T03:23:52.883" v="1335" actId="700"/>
          <ac:spMkLst>
            <pc:docMk/>
            <pc:sldMk cId="2826333923" sldId="2147138119"/>
            <ac:spMk id="7" creationId="{654E4491-1A88-E1F4-E4A2-217D6EEF3FCD}"/>
          </ac:spMkLst>
        </pc:spChg>
        <pc:spChg chg="add del mod ord">
          <ac:chgData name="Oehrli, Stefan" userId="3f36891e-f853-43e7-bcbc-2879a2513833" providerId="ADAL" clId="{09BEBDDE-AF5B-9146-8B18-471724E5E3DD}" dt="2023-11-21T03:23:52.883" v="1335" actId="700"/>
          <ac:spMkLst>
            <pc:docMk/>
            <pc:sldMk cId="2826333923" sldId="2147138119"/>
            <ac:spMk id="8" creationId="{068BFD81-9201-6164-3C98-9083AE454B94}"/>
          </ac:spMkLst>
        </pc:spChg>
        <pc:spChg chg="add del mod ord">
          <ac:chgData name="Oehrli, Stefan" userId="3f36891e-f853-43e7-bcbc-2879a2513833" providerId="ADAL" clId="{09BEBDDE-AF5B-9146-8B18-471724E5E3DD}" dt="2023-11-21T03:23:52.883" v="1335" actId="700"/>
          <ac:spMkLst>
            <pc:docMk/>
            <pc:sldMk cId="2826333923" sldId="2147138119"/>
            <ac:spMk id="9" creationId="{30C476F9-AD5A-2F97-EDC7-2AEC251042FA}"/>
          </ac:spMkLst>
        </pc:spChg>
        <pc:spChg chg="add mod ord">
          <ac:chgData name="Oehrli, Stefan" userId="3f36891e-f853-43e7-bcbc-2879a2513833" providerId="ADAL" clId="{09BEBDDE-AF5B-9146-8B18-471724E5E3DD}" dt="2023-11-21T03:35:54.646" v="1419"/>
          <ac:spMkLst>
            <pc:docMk/>
            <pc:sldMk cId="2826333923" sldId="2147138119"/>
            <ac:spMk id="10" creationId="{5F3ADBAD-2ABE-B405-CFCE-543412CD3950}"/>
          </ac:spMkLst>
        </pc:spChg>
        <pc:spChg chg="add mod ord">
          <ac:chgData name="Oehrli, Stefan" userId="3f36891e-f853-43e7-bcbc-2879a2513833" providerId="ADAL" clId="{09BEBDDE-AF5B-9146-8B18-471724E5E3DD}" dt="2023-11-21T03:47:43.123" v="1503" actId="20577"/>
          <ac:spMkLst>
            <pc:docMk/>
            <pc:sldMk cId="2826333923" sldId="2147138119"/>
            <ac:spMk id="11" creationId="{C5540C4A-C200-C46D-BABB-120EA10F9077}"/>
          </ac:spMkLst>
        </pc:spChg>
        <pc:spChg chg="add mod ord">
          <ac:chgData name="Oehrli, Stefan" userId="3f36891e-f853-43e7-bcbc-2879a2513833" providerId="ADAL" clId="{09BEBDDE-AF5B-9146-8B18-471724E5E3DD}" dt="2023-11-21T03:36:12.861" v="1424" actId="5793"/>
          <ac:spMkLst>
            <pc:docMk/>
            <pc:sldMk cId="2826333923" sldId="2147138119"/>
            <ac:spMk id="12" creationId="{EA3EACE1-1657-1420-0EE2-A684DBE10F52}"/>
          </ac:spMkLst>
        </pc:spChg>
        <pc:spChg chg="add del mod ord">
          <ac:chgData name="Oehrli, Stefan" userId="3f36891e-f853-43e7-bcbc-2879a2513833" providerId="ADAL" clId="{09BEBDDE-AF5B-9146-8B18-471724E5E3DD}" dt="2023-11-21T03:37:43.211" v="1427"/>
          <ac:spMkLst>
            <pc:docMk/>
            <pc:sldMk cId="2826333923" sldId="2147138119"/>
            <ac:spMk id="13" creationId="{FD076448-43A0-4538-7018-B3E546585ABF}"/>
          </ac:spMkLst>
        </pc:spChg>
        <pc:picChg chg="add mod">
          <ac:chgData name="Oehrli, Stefan" userId="3f36891e-f853-43e7-bcbc-2879a2513833" providerId="ADAL" clId="{09BEBDDE-AF5B-9146-8B18-471724E5E3DD}" dt="2023-11-21T03:47:39.199" v="1501" actId="1076"/>
          <ac:picMkLst>
            <pc:docMk/>
            <pc:sldMk cId="2826333923" sldId="2147138119"/>
            <ac:picMk id="14" creationId="{5DDB58A2-B3C7-10E5-2E6A-227AB4475995}"/>
          </ac:picMkLst>
        </pc:picChg>
        <pc:picChg chg="add del mod">
          <ac:chgData name="Oehrli, Stefan" userId="3f36891e-f853-43e7-bcbc-2879a2513833" providerId="ADAL" clId="{09BEBDDE-AF5B-9146-8B18-471724E5E3DD}" dt="2023-11-21T03:31:23.480" v="1351" actId="478"/>
          <ac:picMkLst>
            <pc:docMk/>
            <pc:sldMk cId="2826333923" sldId="2147138119"/>
            <ac:picMk id="2050" creationId="{951DAC8C-A24E-7D31-F2A9-FA34A2973924}"/>
          </ac:picMkLst>
        </pc:picChg>
      </pc:sldChg>
      <pc:sldChg chg="addSp delSp modSp add mod modClrScheme chgLayout">
        <pc:chgData name="Oehrli, Stefan" userId="3f36891e-f853-43e7-bcbc-2879a2513833" providerId="ADAL" clId="{09BEBDDE-AF5B-9146-8B18-471724E5E3DD}" dt="2023-11-21T03:34:30.604" v="1418" actId="14100"/>
        <pc:sldMkLst>
          <pc:docMk/>
          <pc:sldMk cId="3662948178" sldId="2147138120"/>
        </pc:sldMkLst>
        <pc:spChg chg="add mod ord">
          <ac:chgData name="Oehrli, Stefan" userId="3f36891e-f853-43e7-bcbc-2879a2513833" providerId="ADAL" clId="{09BEBDDE-AF5B-9146-8B18-471724E5E3DD}" dt="2023-11-21T03:32:45.699" v="1393"/>
          <ac:spMkLst>
            <pc:docMk/>
            <pc:sldMk cId="3662948178" sldId="2147138120"/>
            <ac:spMk id="2" creationId="{5692B88E-56A0-120C-F379-E60AA4EF7C6D}"/>
          </ac:spMkLst>
        </pc:spChg>
        <pc:spChg chg="add mod">
          <ac:chgData name="Oehrli, Stefan" userId="3f36891e-f853-43e7-bcbc-2879a2513833" providerId="ADAL" clId="{09BEBDDE-AF5B-9146-8B18-471724E5E3DD}" dt="2023-11-21T03:34:25.736" v="1416" actId="1076"/>
          <ac:spMkLst>
            <pc:docMk/>
            <pc:sldMk cId="3662948178" sldId="2147138120"/>
            <ac:spMk id="4" creationId="{02C2D682-9317-223E-2615-C845EBFA3E36}"/>
          </ac:spMkLst>
        </pc:spChg>
        <pc:spChg chg="mod ord">
          <ac:chgData name="Oehrli, Stefan" userId="3f36891e-f853-43e7-bcbc-2879a2513833" providerId="ADAL" clId="{09BEBDDE-AF5B-9146-8B18-471724E5E3DD}" dt="2023-11-21T03:31:59.010" v="1367" actId="700"/>
          <ac:spMkLst>
            <pc:docMk/>
            <pc:sldMk cId="3662948178" sldId="2147138120"/>
            <ac:spMk id="5" creationId="{FA8546D9-CB6C-5FE9-0D00-7266E0ACD3A9}"/>
          </ac:spMkLst>
        </pc:spChg>
        <pc:spChg chg="mod ord">
          <ac:chgData name="Oehrli, Stefan" userId="3f36891e-f853-43e7-bcbc-2879a2513833" providerId="ADAL" clId="{09BEBDDE-AF5B-9146-8B18-471724E5E3DD}" dt="2023-11-21T03:31:59.010" v="1367" actId="700"/>
          <ac:spMkLst>
            <pc:docMk/>
            <pc:sldMk cId="3662948178" sldId="2147138120"/>
            <ac:spMk id="6" creationId="{D38AAB2C-94A3-ECDE-3CCD-F43A3D74ADBF}"/>
          </ac:spMkLst>
        </pc:spChg>
        <pc:spChg chg="mod ord">
          <ac:chgData name="Oehrli, Stefan" userId="3f36891e-f853-43e7-bcbc-2879a2513833" providerId="ADAL" clId="{09BEBDDE-AF5B-9146-8B18-471724E5E3DD}" dt="2023-11-21T03:31:59.010" v="1367" actId="700"/>
          <ac:spMkLst>
            <pc:docMk/>
            <pc:sldMk cId="3662948178" sldId="2147138120"/>
            <ac:spMk id="10" creationId="{5F3ADBAD-2ABE-B405-CFCE-543412CD3950}"/>
          </ac:spMkLst>
        </pc:spChg>
        <pc:spChg chg="del mod ord">
          <ac:chgData name="Oehrli, Stefan" userId="3f36891e-f853-43e7-bcbc-2879a2513833" providerId="ADAL" clId="{09BEBDDE-AF5B-9146-8B18-471724E5E3DD}" dt="2023-11-21T03:32:02.313" v="1370"/>
          <ac:spMkLst>
            <pc:docMk/>
            <pc:sldMk cId="3662948178" sldId="2147138120"/>
            <ac:spMk id="11" creationId="{C5540C4A-C200-C46D-BABB-120EA10F9077}"/>
          </ac:spMkLst>
        </pc:spChg>
        <pc:spChg chg="del mod ord">
          <ac:chgData name="Oehrli, Stefan" userId="3f36891e-f853-43e7-bcbc-2879a2513833" providerId="ADAL" clId="{09BEBDDE-AF5B-9146-8B18-471724E5E3DD}" dt="2023-11-21T03:31:59.010" v="1367" actId="700"/>
          <ac:spMkLst>
            <pc:docMk/>
            <pc:sldMk cId="3662948178" sldId="2147138120"/>
            <ac:spMk id="12" creationId="{EA3EACE1-1657-1420-0EE2-A684DBE10F52}"/>
          </ac:spMkLst>
        </pc:spChg>
        <pc:spChg chg="del">
          <ac:chgData name="Oehrli, Stefan" userId="3f36891e-f853-43e7-bcbc-2879a2513833" providerId="ADAL" clId="{09BEBDDE-AF5B-9146-8B18-471724E5E3DD}" dt="2023-11-21T03:31:59.010" v="1367" actId="700"/>
          <ac:spMkLst>
            <pc:docMk/>
            <pc:sldMk cId="3662948178" sldId="2147138120"/>
            <ac:spMk id="13" creationId="{FD076448-43A0-4538-7018-B3E546585ABF}"/>
          </ac:spMkLst>
        </pc:spChg>
        <pc:picChg chg="add mod">
          <ac:chgData name="Oehrli, Stefan" userId="3f36891e-f853-43e7-bcbc-2879a2513833" providerId="ADAL" clId="{09BEBDDE-AF5B-9146-8B18-471724E5E3DD}" dt="2023-11-21T03:34:30.604" v="1418" actId="14100"/>
          <ac:picMkLst>
            <pc:docMk/>
            <pc:sldMk cId="3662948178" sldId="2147138120"/>
            <ac:picMk id="3" creationId="{CF0842FF-84BC-886A-151D-287C10DE1E5F}"/>
          </ac:picMkLst>
        </pc:picChg>
        <pc:picChg chg="del">
          <ac:chgData name="Oehrli, Stefan" userId="3f36891e-f853-43e7-bcbc-2879a2513833" providerId="ADAL" clId="{09BEBDDE-AF5B-9146-8B18-471724E5E3DD}" dt="2023-11-21T03:31:35.344" v="1353" actId="21"/>
          <ac:picMkLst>
            <pc:docMk/>
            <pc:sldMk cId="3662948178" sldId="2147138120"/>
            <ac:picMk id="2050" creationId="{951DAC8C-A24E-7D31-F2A9-FA34A2973924}"/>
          </ac:picMkLst>
        </pc:picChg>
      </pc:sldChg>
      <pc:sldChg chg="addSp delSp modSp new mod ord modClrScheme modAnim chgLayout">
        <pc:chgData name="Oehrli, Stefan" userId="3f36891e-f853-43e7-bcbc-2879a2513833" providerId="ADAL" clId="{09BEBDDE-AF5B-9146-8B18-471724E5E3DD}" dt="2023-11-21T03:58:19.161" v="1659" actId="20578"/>
        <pc:sldMkLst>
          <pc:docMk/>
          <pc:sldMk cId="666160610" sldId="2147138121"/>
        </pc:sldMkLst>
        <pc:spChg chg="mod ord">
          <ac:chgData name="Oehrli, Stefan" userId="3f36891e-f853-43e7-bcbc-2879a2513833" providerId="ADAL" clId="{09BEBDDE-AF5B-9146-8B18-471724E5E3DD}" dt="2023-11-21T03:53:56.677" v="1547" actId="700"/>
          <ac:spMkLst>
            <pc:docMk/>
            <pc:sldMk cId="666160610" sldId="2147138121"/>
            <ac:spMk id="2" creationId="{21BAA32E-87E5-FFE6-197E-BF8279A3AD1D}"/>
          </ac:spMkLst>
        </pc:spChg>
        <pc:spChg chg="del mod ord">
          <ac:chgData name="Oehrli, Stefan" userId="3f36891e-f853-43e7-bcbc-2879a2513833" providerId="ADAL" clId="{09BEBDDE-AF5B-9146-8B18-471724E5E3DD}" dt="2023-11-21T03:53:50.774" v="1545" actId="700"/>
          <ac:spMkLst>
            <pc:docMk/>
            <pc:sldMk cId="666160610" sldId="2147138121"/>
            <ac:spMk id="3" creationId="{70E039D7-D0F5-167B-8B6F-46B5CF8EA1A0}"/>
          </ac:spMkLst>
        </pc:spChg>
        <pc:spChg chg="del mod ord">
          <ac:chgData name="Oehrli, Stefan" userId="3f36891e-f853-43e7-bcbc-2879a2513833" providerId="ADAL" clId="{09BEBDDE-AF5B-9146-8B18-471724E5E3DD}" dt="2023-11-21T03:53:50.774" v="1545" actId="700"/>
          <ac:spMkLst>
            <pc:docMk/>
            <pc:sldMk cId="666160610" sldId="2147138121"/>
            <ac:spMk id="4" creationId="{8A681B70-57FD-5E45-981C-3DA93D32B759}"/>
          </ac:spMkLst>
        </pc:spChg>
        <pc:spChg chg="mod ord">
          <ac:chgData name="Oehrli, Stefan" userId="3f36891e-f853-43e7-bcbc-2879a2513833" providerId="ADAL" clId="{09BEBDDE-AF5B-9146-8B18-471724E5E3DD}" dt="2023-11-21T03:53:56.677" v="1547" actId="700"/>
          <ac:spMkLst>
            <pc:docMk/>
            <pc:sldMk cId="666160610" sldId="2147138121"/>
            <ac:spMk id="5" creationId="{7D2CB076-2424-25D2-6CA8-3F62F4D30AE5}"/>
          </ac:spMkLst>
        </pc:spChg>
        <pc:spChg chg="mod ord">
          <ac:chgData name="Oehrli, Stefan" userId="3f36891e-f853-43e7-bcbc-2879a2513833" providerId="ADAL" clId="{09BEBDDE-AF5B-9146-8B18-471724E5E3DD}" dt="2023-11-21T03:53:56.677" v="1547" actId="700"/>
          <ac:spMkLst>
            <pc:docMk/>
            <pc:sldMk cId="666160610" sldId="2147138121"/>
            <ac:spMk id="6" creationId="{FEEFF248-800B-F3E2-5F15-18B8CF7297A6}"/>
          </ac:spMkLst>
        </pc:spChg>
        <pc:spChg chg="add del mod ord">
          <ac:chgData name="Oehrli, Stefan" userId="3f36891e-f853-43e7-bcbc-2879a2513833" providerId="ADAL" clId="{09BEBDDE-AF5B-9146-8B18-471724E5E3DD}" dt="2023-11-21T03:54:55.833" v="1636" actId="12"/>
          <ac:spMkLst>
            <pc:docMk/>
            <pc:sldMk cId="666160610" sldId="2147138121"/>
            <ac:spMk id="7" creationId="{370701DC-A45B-E549-24ED-868B1C20E7F9}"/>
          </ac:spMkLst>
        </pc:spChg>
        <pc:spChg chg="add del mod ord">
          <ac:chgData name="Oehrli, Stefan" userId="3f36891e-f853-43e7-bcbc-2879a2513833" providerId="ADAL" clId="{09BEBDDE-AF5B-9146-8B18-471724E5E3DD}" dt="2023-11-21T03:53:56.677" v="1547" actId="700"/>
          <ac:spMkLst>
            <pc:docMk/>
            <pc:sldMk cId="666160610" sldId="2147138121"/>
            <ac:spMk id="8" creationId="{7B7C21A9-BA8E-8035-8AF7-8D125C866046}"/>
          </ac:spMkLst>
        </pc:spChg>
        <pc:spChg chg="add del mod ord">
          <ac:chgData name="Oehrli, Stefan" userId="3f36891e-f853-43e7-bcbc-2879a2513833" providerId="ADAL" clId="{09BEBDDE-AF5B-9146-8B18-471724E5E3DD}" dt="2023-11-21T03:54:57.938" v="1637" actId="12"/>
          <ac:spMkLst>
            <pc:docMk/>
            <pc:sldMk cId="666160610" sldId="2147138121"/>
            <ac:spMk id="9" creationId="{92860932-76E1-E164-1A33-41CEDE602802}"/>
          </ac:spMkLst>
        </pc:spChg>
        <pc:spChg chg="add del mod ord">
          <ac:chgData name="Oehrli, Stefan" userId="3f36891e-f853-43e7-bcbc-2879a2513833" providerId="ADAL" clId="{09BEBDDE-AF5B-9146-8B18-471724E5E3DD}" dt="2023-11-21T03:53:56.677" v="1547" actId="700"/>
          <ac:spMkLst>
            <pc:docMk/>
            <pc:sldMk cId="666160610" sldId="2147138121"/>
            <ac:spMk id="10" creationId="{0E51F200-46AB-EC66-E727-5444528ECB71}"/>
          </ac:spMkLst>
        </pc:spChg>
        <pc:spChg chg="add del mod ord">
          <ac:chgData name="Oehrli, Stefan" userId="3f36891e-f853-43e7-bcbc-2879a2513833" providerId="ADAL" clId="{09BEBDDE-AF5B-9146-8B18-471724E5E3DD}" dt="2023-11-21T03:53:56.677" v="1547" actId="700"/>
          <ac:spMkLst>
            <pc:docMk/>
            <pc:sldMk cId="666160610" sldId="2147138121"/>
            <ac:spMk id="11" creationId="{8774FB65-3C59-A5C2-62FF-1B2D95D86F3C}"/>
          </ac:spMkLst>
        </pc:spChg>
        <pc:spChg chg="add del mod ord">
          <ac:chgData name="Oehrli, Stefan" userId="3f36891e-f853-43e7-bcbc-2879a2513833" providerId="ADAL" clId="{09BEBDDE-AF5B-9146-8B18-471724E5E3DD}" dt="2023-11-21T03:53:56.677" v="1547" actId="700"/>
          <ac:spMkLst>
            <pc:docMk/>
            <pc:sldMk cId="666160610" sldId="2147138121"/>
            <ac:spMk id="12" creationId="{A3374EA3-279D-05F1-FB39-0440103CFE5D}"/>
          </ac:spMkLst>
        </pc:spChg>
        <pc:spChg chg="add del mod ord">
          <ac:chgData name="Oehrli, Stefan" userId="3f36891e-f853-43e7-bcbc-2879a2513833" providerId="ADAL" clId="{09BEBDDE-AF5B-9146-8B18-471724E5E3DD}" dt="2023-11-21T03:53:56.677" v="1547" actId="700"/>
          <ac:spMkLst>
            <pc:docMk/>
            <pc:sldMk cId="666160610" sldId="2147138121"/>
            <ac:spMk id="13" creationId="{544CCD76-D238-5CAB-9DEA-97F3773419D0}"/>
          </ac:spMkLst>
        </pc:spChg>
        <pc:spChg chg="add del mod ord">
          <ac:chgData name="Oehrli, Stefan" userId="3f36891e-f853-43e7-bcbc-2879a2513833" providerId="ADAL" clId="{09BEBDDE-AF5B-9146-8B18-471724E5E3DD}" dt="2023-11-21T03:53:56.677" v="1547" actId="700"/>
          <ac:spMkLst>
            <pc:docMk/>
            <pc:sldMk cId="666160610" sldId="2147138121"/>
            <ac:spMk id="14" creationId="{3D608334-5978-4410-2098-0622286AB3AF}"/>
          </ac:spMkLst>
        </pc:spChg>
        <pc:picChg chg="add del mod">
          <ac:chgData name="Oehrli, Stefan" userId="3f36891e-f853-43e7-bcbc-2879a2513833" providerId="ADAL" clId="{09BEBDDE-AF5B-9146-8B18-471724E5E3DD}" dt="2023-11-21T03:54:31.928" v="1557"/>
          <ac:picMkLst>
            <pc:docMk/>
            <pc:sldMk cId="666160610" sldId="2147138121"/>
            <ac:picMk id="15" creationId="{8D47D2FB-99A9-802F-6F59-A35EE3E99198}"/>
          </ac:picMkLst>
        </pc:picChg>
        <pc:picChg chg="add del mod">
          <ac:chgData name="Oehrli, Stefan" userId="3f36891e-f853-43e7-bcbc-2879a2513833" providerId="ADAL" clId="{09BEBDDE-AF5B-9146-8B18-471724E5E3DD}" dt="2023-11-21T03:54:31.514" v="1556"/>
          <ac:picMkLst>
            <pc:docMk/>
            <pc:sldMk cId="666160610" sldId="2147138121"/>
            <ac:picMk id="16" creationId="{3FE347CA-2122-9DDF-0CDD-704C1C9A7781}"/>
          </ac:picMkLst>
        </pc:picChg>
        <pc:picChg chg="add mod">
          <ac:chgData name="Oehrli, Stefan" userId="3f36891e-f853-43e7-bcbc-2879a2513833" providerId="ADAL" clId="{09BEBDDE-AF5B-9146-8B18-471724E5E3DD}" dt="2023-11-21T03:55:09.589" v="1645" actId="1076"/>
          <ac:picMkLst>
            <pc:docMk/>
            <pc:sldMk cId="666160610" sldId="2147138121"/>
            <ac:picMk id="17" creationId="{4D5342C5-1B70-C8E2-457B-621F5981C0DF}"/>
          </ac:picMkLst>
        </pc:picChg>
        <pc:picChg chg="add del mod">
          <ac:chgData name="Oehrli, Stefan" userId="3f36891e-f853-43e7-bcbc-2879a2513833" providerId="ADAL" clId="{09BEBDDE-AF5B-9146-8B18-471724E5E3DD}" dt="2023-11-21T03:57:09.497" v="1651"/>
          <ac:picMkLst>
            <pc:docMk/>
            <pc:sldMk cId="666160610" sldId="2147138121"/>
            <ac:picMk id="18" creationId="{21509633-A763-6241-A26D-22CF7DAB6B81}"/>
          </ac:picMkLst>
        </pc:picChg>
        <pc:picChg chg="add mod">
          <ac:chgData name="Oehrli, Stefan" userId="3f36891e-f853-43e7-bcbc-2879a2513833" providerId="ADAL" clId="{09BEBDDE-AF5B-9146-8B18-471724E5E3DD}" dt="2023-11-21T03:57:40.941" v="1656" actId="1076"/>
          <ac:picMkLst>
            <pc:docMk/>
            <pc:sldMk cId="666160610" sldId="2147138121"/>
            <ac:picMk id="19" creationId="{5B4FC075-4F81-DA69-730F-84B41EA31162}"/>
          </ac:picMkLst>
        </pc:picChg>
      </pc:sldChg>
      <pc:sldChg chg="addSp delSp modSp new mod modClrScheme modAnim chgLayout">
        <pc:chgData name="Oehrli, Stefan" userId="3f36891e-f853-43e7-bcbc-2879a2513833" providerId="ADAL" clId="{09BEBDDE-AF5B-9146-8B18-471724E5E3DD}" dt="2023-11-21T10:31:34.361" v="7083"/>
        <pc:sldMkLst>
          <pc:docMk/>
          <pc:sldMk cId="3069574028" sldId="2147138122"/>
        </pc:sldMkLst>
        <pc:spChg chg="mod ord">
          <ac:chgData name="Oehrli, Stefan" userId="3f36891e-f853-43e7-bcbc-2879a2513833" providerId="ADAL" clId="{09BEBDDE-AF5B-9146-8B18-471724E5E3DD}" dt="2023-11-21T04:49:31.397" v="1871" actId="21"/>
          <ac:spMkLst>
            <pc:docMk/>
            <pc:sldMk cId="3069574028" sldId="2147138122"/>
            <ac:spMk id="2" creationId="{62E73163-1B94-708C-37BC-35D761D25724}"/>
          </ac:spMkLst>
        </pc:spChg>
        <pc:spChg chg="add del mod ord">
          <ac:chgData name="Oehrli, Stefan" userId="3f36891e-f853-43e7-bcbc-2879a2513833" providerId="ADAL" clId="{09BEBDDE-AF5B-9146-8B18-471724E5E3DD}" dt="2023-11-21T04:12:52.246" v="1721" actId="700"/>
          <ac:spMkLst>
            <pc:docMk/>
            <pc:sldMk cId="3069574028" sldId="2147138122"/>
            <ac:spMk id="3" creationId="{AC13F4CD-BC00-D570-B046-2D48E7E39415}"/>
          </ac:spMkLst>
        </pc:spChg>
        <pc:spChg chg="mod ord">
          <ac:chgData name="Oehrli, Stefan" userId="3f36891e-f853-43e7-bcbc-2879a2513833" providerId="ADAL" clId="{09BEBDDE-AF5B-9146-8B18-471724E5E3DD}" dt="2023-11-21T04:41:25.159" v="1735" actId="20577"/>
          <ac:spMkLst>
            <pc:docMk/>
            <pc:sldMk cId="3069574028" sldId="2147138122"/>
            <ac:spMk id="4" creationId="{FFAFCD88-0E5D-281C-5604-87E09897D04C}"/>
          </ac:spMkLst>
        </pc:spChg>
        <pc:spChg chg="mod ord">
          <ac:chgData name="Oehrli, Stefan" userId="3f36891e-f853-43e7-bcbc-2879a2513833" providerId="ADAL" clId="{09BEBDDE-AF5B-9146-8B18-471724E5E3DD}" dt="2023-11-21T04:12:52.246" v="1721" actId="700"/>
          <ac:spMkLst>
            <pc:docMk/>
            <pc:sldMk cId="3069574028" sldId="2147138122"/>
            <ac:spMk id="5" creationId="{A0A79A1A-7907-B696-6A7F-004778F6F9C4}"/>
          </ac:spMkLst>
        </pc:spChg>
        <pc:spChg chg="mod ord">
          <ac:chgData name="Oehrli, Stefan" userId="3f36891e-f853-43e7-bcbc-2879a2513833" providerId="ADAL" clId="{09BEBDDE-AF5B-9146-8B18-471724E5E3DD}" dt="2023-11-21T04:12:52.246" v="1721" actId="700"/>
          <ac:spMkLst>
            <pc:docMk/>
            <pc:sldMk cId="3069574028" sldId="2147138122"/>
            <ac:spMk id="6" creationId="{1C10A12B-6A1A-FDD8-47DB-B11161F50D6D}"/>
          </ac:spMkLst>
        </pc:spChg>
        <pc:spChg chg="add mod ord">
          <ac:chgData name="Oehrli, Stefan" userId="3f36891e-f853-43e7-bcbc-2879a2513833" providerId="ADAL" clId="{09BEBDDE-AF5B-9146-8B18-471724E5E3DD}" dt="2023-11-21T04:43:07.027" v="1797" actId="113"/>
          <ac:spMkLst>
            <pc:docMk/>
            <pc:sldMk cId="3069574028" sldId="2147138122"/>
            <ac:spMk id="7" creationId="{AEFEA64C-4A2E-B929-4793-FB0973DFD19B}"/>
          </ac:spMkLst>
        </pc:spChg>
        <pc:spChg chg="add mod ord">
          <ac:chgData name="Oehrli, Stefan" userId="3f36891e-f853-43e7-bcbc-2879a2513833" providerId="ADAL" clId="{09BEBDDE-AF5B-9146-8B18-471724E5E3DD}" dt="2023-11-21T04:43:10.214" v="1798" actId="113"/>
          <ac:spMkLst>
            <pc:docMk/>
            <pc:sldMk cId="3069574028" sldId="2147138122"/>
            <ac:spMk id="8" creationId="{C3813C3A-9C3B-3133-5893-052CB15DC1E0}"/>
          </ac:spMkLst>
        </pc:spChg>
        <pc:picChg chg="add del mod">
          <ac:chgData name="Oehrli, Stefan" userId="3f36891e-f853-43e7-bcbc-2879a2513833" providerId="ADAL" clId="{09BEBDDE-AF5B-9146-8B18-471724E5E3DD}" dt="2023-11-21T04:39:57.856" v="1727" actId="478"/>
          <ac:picMkLst>
            <pc:docMk/>
            <pc:sldMk cId="3069574028" sldId="2147138122"/>
            <ac:picMk id="9" creationId="{E169D652-E9FE-61A4-4C3F-2838160AF862}"/>
          </ac:picMkLst>
        </pc:picChg>
        <pc:picChg chg="add del mod">
          <ac:chgData name="Oehrli, Stefan" userId="3f36891e-f853-43e7-bcbc-2879a2513833" providerId="ADAL" clId="{09BEBDDE-AF5B-9146-8B18-471724E5E3DD}" dt="2023-11-21T04:45:59.982" v="1805" actId="478"/>
          <ac:picMkLst>
            <pc:docMk/>
            <pc:sldMk cId="3069574028" sldId="2147138122"/>
            <ac:picMk id="10" creationId="{4832F601-5FFC-A7C6-693E-21A1D0649CA2}"/>
          </ac:picMkLst>
        </pc:picChg>
        <pc:picChg chg="add mod">
          <ac:chgData name="Oehrli, Stefan" userId="3f36891e-f853-43e7-bcbc-2879a2513833" providerId="ADAL" clId="{09BEBDDE-AF5B-9146-8B18-471724E5E3DD}" dt="2023-11-21T04:46:05.856" v="1810" actId="1076"/>
          <ac:picMkLst>
            <pc:docMk/>
            <pc:sldMk cId="3069574028" sldId="2147138122"/>
            <ac:picMk id="11" creationId="{8FD42AF6-F68D-4B8D-08D0-D7C2DC16CE19}"/>
          </ac:picMkLst>
        </pc:picChg>
        <pc:picChg chg="add mod">
          <ac:chgData name="Oehrli, Stefan" userId="3f36891e-f853-43e7-bcbc-2879a2513833" providerId="ADAL" clId="{09BEBDDE-AF5B-9146-8B18-471724E5E3DD}" dt="2023-11-21T04:46:27.341" v="1818" actId="1036"/>
          <ac:picMkLst>
            <pc:docMk/>
            <pc:sldMk cId="3069574028" sldId="2147138122"/>
            <ac:picMk id="12" creationId="{2C634B4B-70C2-981D-E089-BEE9753B0BFD}"/>
          </ac:picMkLst>
        </pc:picChg>
        <pc:picChg chg="add del mod">
          <ac:chgData name="Oehrli, Stefan" userId="3f36891e-f853-43e7-bcbc-2879a2513833" providerId="ADAL" clId="{09BEBDDE-AF5B-9146-8B18-471724E5E3DD}" dt="2023-11-21T04:09:38.058" v="1707"/>
          <ac:picMkLst>
            <pc:docMk/>
            <pc:sldMk cId="3069574028" sldId="2147138122"/>
            <ac:picMk id="5122" creationId="{40CE46AB-4DE3-1D90-0550-4B571D6C457A}"/>
          </ac:picMkLst>
        </pc:picChg>
      </pc:sldChg>
      <pc:sldChg chg="addSp delSp modSp new del">
        <pc:chgData name="Oehrli, Stefan" userId="3f36891e-f853-43e7-bcbc-2879a2513833" providerId="ADAL" clId="{09BEBDDE-AF5B-9146-8B18-471724E5E3DD}" dt="2023-11-21T03:58:22.145" v="1660" actId="2696"/>
        <pc:sldMkLst>
          <pc:docMk/>
          <pc:sldMk cId="3373334715" sldId="2147138122"/>
        </pc:sldMkLst>
        <pc:spChg chg="del">
          <ac:chgData name="Oehrli, Stefan" userId="3f36891e-f853-43e7-bcbc-2879a2513833" providerId="ADAL" clId="{09BEBDDE-AF5B-9146-8B18-471724E5E3DD}" dt="2023-11-21T03:50:39.656" v="1544"/>
          <ac:spMkLst>
            <pc:docMk/>
            <pc:sldMk cId="3373334715" sldId="2147138122"/>
            <ac:spMk id="3" creationId="{4F8A4754-5958-F4EF-0AC1-1A22553A63A8}"/>
          </ac:spMkLst>
        </pc:spChg>
        <pc:picChg chg="add mod">
          <ac:chgData name="Oehrli, Stefan" userId="3f36891e-f853-43e7-bcbc-2879a2513833" providerId="ADAL" clId="{09BEBDDE-AF5B-9146-8B18-471724E5E3DD}" dt="2023-11-21T03:50:39.656" v="1544"/>
          <ac:picMkLst>
            <pc:docMk/>
            <pc:sldMk cId="3373334715" sldId="2147138122"/>
            <ac:picMk id="8" creationId="{91DDAF12-899A-9552-C897-5A5BD740F054}"/>
          </ac:picMkLst>
        </pc:picChg>
      </pc:sldChg>
      <pc:sldChg chg="addSp delSp modSp new mod modAnim">
        <pc:chgData name="Oehrli, Stefan" userId="3f36891e-f853-43e7-bcbc-2879a2513833" providerId="ADAL" clId="{09BEBDDE-AF5B-9146-8B18-471724E5E3DD}" dt="2023-11-21T05:10:27.359" v="2184" actId="20577"/>
        <pc:sldMkLst>
          <pc:docMk/>
          <pc:sldMk cId="764597068" sldId="2147138123"/>
        </pc:sldMkLst>
        <pc:spChg chg="mod">
          <ac:chgData name="Oehrli, Stefan" userId="3f36891e-f853-43e7-bcbc-2879a2513833" providerId="ADAL" clId="{09BEBDDE-AF5B-9146-8B18-471724E5E3DD}" dt="2023-11-21T04:49:47.067" v="1879" actId="20577"/>
          <ac:spMkLst>
            <pc:docMk/>
            <pc:sldMk cId="764597068" sldId="2147138123"/>
            <ac:spMk id="2" creationId="{93173BB2-FF72-F38D-B305-3AAB3F55CE4F}"/>
          </ac:spMkLst>
        </pc:spChg>
        <pc:spChg chg="mod">
          <ac:chgData name="Oehrli, Stefan" userId="3f36891e-f853-43e7-bcbc-2879a2513833" providerId="ADAL" clId="{09BEBDDE-AF5B-9146-8B18-471724E5E3DD}" dt="2023-11-21T05:10:27.359" v="2184" actId="20577"/>
          <ac:spMkLst>
            <pc:docMk/>
            <pc:sldMk cId="764597068" sldId="2147138123"/>
            <ac:spMk id="3" creationId="{A52441E0-7614-B876-9C6E-6749BDE4FF10}"/>
          </ac:spMkLst>
        </pc:spChg>
        <pc:spChg chg="mod">
          <ac:chgData name="Oehrli, Stefan" userId="3f36891e-f853-43e7-bcbc-2879a2513833" providerId="ADAL" clId="{09BEBDDE-AF5B-9146-8B18-471724E5E3DD}" dt="2023-11-21T04:49:16.812" v="1868" actId="20577"/>
          <ac:spMkLst>
            <pc:docMk/>
            <pc:sldMk cId="764597068" sldId="2147138123"/>
            <ac:spMk id="4" creationId="{BD29FBB0-F567-7177-2760-3FC112794BAB}"/>
          </ac:spMkLst>
        </pc:spChg>
        <pc:spChg chg="mod">
          <ac:chgData name="Oehrli, Stefan" userId="3f36891e-f853-43e7-bcbc-2879a2513833" providerId="ADAL" clId="{09BEBDDE-AF5B-9146-8B18-471724E5E3DD}" dt="2023-11-21T04:53:27.314" v="1894"/>
          <ac:spMkLst>
            <pc:docMk/>
            <pc:sldMk cId="764597068" sldId="2147138123"/>
            <ac:spMk id="6" creationId="{4FB5419F-40C9-65FD-1092-DD0D29B147CE}"/>
          </ac:spMkLst>
        </pc:spChg>
        <pc:picChg chg="add del mod">
          <ac:chgData name="Oehrli, Stefan" userId="3f36891e-f853-43e7-bcbc-2879a2513833" providerId="ADAL" clId="{09BEBDDE-AF5B-9146-8B18-471724E5E3DD}" dt="2023-11-21T04:48:16.141" v="1843"/>
          <ac:picMkLst>
            <pc:docMk/>
            <pc:sldMk cId="764597068" sldId="2147138123"/>
            <ac:picMk id="6146" creationId="{E6001A0F-EFAC-1722-10AA-D98B2C57EF3F}"/>
          </ac:picMkLst>
        </pc:picChg>
        <pc:picChg chg="add mod">
          <ac:chgData name="Oehrli, Stefan" userId="3f36891e-f853-43e7-bcbc-2879a2513833" providerId="ADAL" clId="{09BEBDDE-AF5B-9146-8B18-471724E5E3DD}" dt="2023-11-21T04:48:30.487" v="1854" actId="1440"/>
          <ac:picMkLst>
            <pc:docMk/>
            <pc:sldMk cId="764597068" sldId="2147138123"/>
            <ac:picMk id="6148" creationId="{89F8648E-6EEF-ED5E-D97D-D8B7DBD8D58A}"/>
          </ac:picMkLst>
        </pc:picChg>
      </pc:sldChg>
      <pc:sldChg chg="new del">
        <pc:chgData name="Oehrli, Stefan" userId="3f36891e-f853-43e7-bcbc-2879a2513833" providerId="ADAL" clId="{09BEBDDE-AF5B-9146-8B18-471724E5E3DD}" dt="2023-11-21T03:50:10.780" v="1543" actId="2696"/>
        <pc:sldMkLst>
          <pc:docMk/>
          <pc:sldMk cId="3515238191" sldId="2147138123"/>
        </pc:sldMkLst>
      </pc:sldChg>
      <pc:sldChg chg="modSp add mod">
        <pc:chgData name="Oehrli, Stefan" userId="3f36891e-f853-43e7-bcbc-2879a2513833" providerId="ADAL" clId="{09BEBDDE-AF5B-9146-8B18-471724E5E3DD}" dt="2023-11-21T05:33:46.514" v="2686"/>
        <pc:sldMkLst>
          <pc:docMk/>
          <pc:sldMk cId="2147595729" sldId="2147138181"/>
        </pc:sldMkLst>
        <pc:spChg chg="mod">
          <ac:chgData name="Oehrli, Stefan" userId="3f36891e-f853-43e7-bcbc-2879a2513833" providerId="ADAL" clId="{09BEBDDE-AF5B-9146-8B18-471724E5E3DD}" dt="2023-11-21T05:28:44.469" v="2576"/>
          <ac:spMkLst>
            <pc:docMk/>
            <pc:sldMk cId="2147595729" sldId="2147138181"/>
            <ac:spMk id="7" creationId="{F49A733B-B185-4709-5A80-3E1F17C8C916}"/>
          </ac:spMkLst>
        </pc:spChg>
        <pc:spChg chg="mod">
          <ac:chgData name="Oehrli, Stefan" userId="3f36891e-f853-43e7-bcbc-2879a2513833" providerId="ADAL" clId="{09BEBDDE-AF5B-9146-8B18-471724E5E3DD}" dt="2023-11-21T05:29:22.385" v="2625" actId="20577"/>
          <ac:spMkLst>
            <pc:docMk/>
            <pc:sldMk cId="2147595729" sldId="2147138181"/>
            <ac:spMk id="8" creationId="{D98EAEC6-8BCA-19B6-01C7-301242300258}"/>
          </ac:spMkLst>
        </pc:spChg>
        <pc:spChg chg="mod">
          <ac:chgData name="Oehrli, Stefan" userId="3f36891e-f853-43e7-bcbc-2879a2513833" providerId="ADAL" clId="{09BEBDDE-AF5B-9146-8B18-471724E5E3DD}" dt="2023-11-21T05:33:46.514" v="2686"/>
          <ac:spMkLst>
            <pc:docMk/>
            <pc:sldMk cId="2147595729" sldId="2147138181"/>
            <ac:spMk id="9" creationId="{B8094804-B49D-7A28-E44A-3540F234031C}"/>
          </ac:spMkLst>
        </pc:spChg>
        <pc:spChg chg="mod">
          <ac:chgData name="Oehrli, Stefan" userId="3f36891e-f853-43e7-bcbc-2879a2513833" providerId="ADAL" clId="{09BEBDDE-AF5B-9146-8B18-471724E5E3DD}" dt="2023-11-21T05:31:47.288" v="2683" actId="14100"/>
          <ac:spMkLst>
            <pc:docMk/>
            <pc:sldMk cId="2147595729" sldId="2147138181"/>
            <ac:spMk id="10" creationId="{149A24A5-33B8-6C9D-DFCA-9F0F82CA298D}"/>
          </ac:spMkLst>
        </pc:spChg>
        <pc:spChg chg="mod">
          <ac:chgData name="Oehrli, Stefan" userId="3f36891e-f853-43e7-bcbc-2879a2513833" providerId="ADAL" clId="{09BEBDDE-AF5B-9146-8B18-471724E5E3DD}" dt="2023-11-21T05:29:26.401" v="2626" actId="14100"/>
          <ac:spMkLst>
            <pc:docMk/>
            <pc:sldMk cId="2147595729" sldId="2147138181"/>
            <ac:spMk id="11" creationId="{926D7446-2477-F7F5-2BDC-681F76FBB01C}"/>
          </ac:spMkLst>
        </pc:spChg>
        <pc:spChg chg="mod">
          <ac:chgData name="Oehrli, Stefan" userId="3f36891e-f853-43e7-bcbc-2879a2513833" providerId="ADAL" clId="{09BEBDDE-AF5B-9146-8B18-471724E5E3DD}" dt="2023-11-21T05:31:52.040" v="2685" actId="1076"/>
          <ac:spMkLst>
            <pc:docMk/>
            <pc:sldMk cId="2147595729" sldId="2147138181"/>
            <ac:spMk id="12" creationId="{E7B67226-0BC5-D209-C4F7-0C51409AA094}"/>
          </ac:spMkLst>
        </pc:spChg>
      </pc:sldChg>
      <pc:sldChg chg="addSp modSp add mod">
        <pc:chgData name="Oehrli, Stefan" userId="3f36891e-f853-43e7-bcbc-2879a2513833" providerId="ADAL" clId="{09BEBDDE-AF5B-9146-8B18-471724E5E3DD}" dt="2023-11-21T05:56:14.060" v="3304"/>
        <pc:sldMkLst>
          <pc:docMk/>
          <pc:sldMk cId="2709564194" sldId="2147138182"/>
        </pc:sldMkLst>
        <pc:spChg chg="add mod">
          <ac:chgData name="Oehrli, Stefan" userId="3f36891e-f853-43e7-bcbc-2879a2513833" providerId="ADAL" clId="{09BEBDDE-AF5B-9146-8B18-471724E5E3DD}" dt="2023-11-21T05:56:14.060" v="3304"/>
          <ac:spMkLst>
            <pc:docMk/>
            <pc:sldMk cId="2709564194" sldId="2147138182"/>
            <ac:spMk id="2" creationId="{D914D4C2-B808-80B7-6D20-FF7ED9E56333}"/>
          </ac:spMkLst>
        </pc:spChg>
        <pc:spChg chg="mod">
          <ac:chgData name="Oehrli, Stefan" userId="3f36891e-f853-43e7-bcbc-2879a2513833" providerId="ADAL" clId="{09BEBDDE-AF5B-9146-8B18-471724E5E3DD}" dt="2023-11-21T05:53:57.867" v="3177"/>
          <ac:spMkLst>
            <pc:docMk/>
            <pc:sldMk cId="2709564194" sldId="2147138182"/>
            <ac:spMk id="10" creationId="{B9480EA0-9DBE-A72B-236B-1BC6DB618B0A}"/>
          </ac:spMkLst>
        </pc:spChg>
        <pc:spChg chg="mod">
          <ac:chgData name="Oehrli, Stefan" userId="3f36891e-f853-43e7-bcbc-2879a2513833" providerId="ADAL" clId="{09BEBDDE-AF5B-9146-8B18-471724E5E3DD}" dt="2023-11-21T05:54:24.165" v="3210" actId="14100"/>
          <ac:spMkLst>
            <pc:docMk/>
            <pc:sldMk cId="2709564194" sldId="2147138182"/>
            <ac:spMk id="11" creationId="{415B4406-FA99-D570-AD52-CED2E4B840A4}"/>
          </ac:spMkLst>
        </pc:spChg>
        <pc:spChg chg="mod">
          <ac:chgData name="Oehrli, Stefan" userId="3f36891e-f853-43e7-bcbc-2879a2513833" providerId="ADAL" clId="{09BEBDDE-AF5B-9146-8B18-471724E5E3DD}" dt="2023-11-21T05:54:03.444" v="3179" actId="20577"/>
          <ac:spMkLst>
            <pc:docMk/>
            <pc:sldMk cId="2709564194" sldId="2147138182"/>
            <ac:spMk id="12" creationId="{74E927DB-7412-F646-06AF-F4CA9770700D}"/>
          </ac:spMkLst>
        </pc:spChg>
        <pc:spChg chg="mod">
          <ac:chgData name="Oehrli, Stefan" userId="3f36891e-f853-43e7-bcbc-2879a2513833" providerId="ADAL" clId="{09BEBDDE-AF5B-9146-8B18-471724E5E3DD}" dt="2023-11-21T05:55:30.070" v="3215" actId="14100"/>
          <ac:spMkLst>
            <pc:docMk/>
            <pc:sldMk cId="2709564194" sldId="2147138182"/>
            <ac:spMk id="13" creationId="{F60375B8-9360-50A7-52F6-F169C3D8D243}"/>
          </ac:spMkLst>
        </pc:spChg>
      </pc:sldChg>
      <pc:sldChg chg="modSp new mod">
        <pc:chgData name="Oehrli, Stefan" userId="3f36891e-f853-43e7-bcbc-2879a2513833" providerId="ADAL" clId="{09BEBDDE-AF5B-9146-8B18-471724E5E3DD}" dt="2023-11-21T05:40:44.797" v="2840" actId="1076"/>
        <pc:sldMkLst>
          <pc:docMk/>
          <pc:sldMk cId="608967408" sldId="2147138183"/>
        </pc:sldMkLst>
        <pc:spChg chg="mod">
          <ac:chgData name="Oehrli, Stefan" userId="3f36891e-f853-43e7-bcbc-2879a2513833" providerId="ADAL" clId="{09BEBDDE-AF5B-9146-8B18-471724E5E3DD}" dt="2023-11-21T05:34:29.470" v="2708"/>
          <ac:spMkLst>
            <pc:docMk/>
            <pc:sldMk cId="608967408" sldId="2147138183"/>
            <ac:spMk id="2" creationId="{F47209B2-D914-51F2-4538-7F4C74C08F2C}"/>
          </ac:spMkLst>
        </pc:spChg>
        <pc:spChg chg="mod">
          <ac:chgData name="Oehrli, Stefan" userId="3f36891e-f853-43e7-bcbc-2879a2513833" providerId="ADAL" clId="{09BEBDDE-AF5B-9146-8B18-471724E5E3DD}" dt="2023-11-21T05:34:54.826" v="2759" actId="14100"/>
          <ac:spMkLst>
            <pc:docMk/>
            <pc:sldMk cId="608967408" sldId="2147138183"/>
            <ac:spMk id="3" creationId="{A7D7D1A1-BE62-160F-DDAD-CA75BFD7B4F1}"/>
          </ac:spMkLst>
        </pc:spChg>
        <pc:spChg chg="mod">
          <ac:chgData name="Oehrli, Stefan" userId="3f36891e-f853-43e7-bcbc-2879a2513833" providerId="ADAL" clId="{09BEBDDE-AF5B-9146-8B18-471724E5E3DD}" dt="2023-11-21T05:34:34.936" v="2710" actId="20577"/>
          <ac:spMkLst>
            <pc:docMk/>
            <pc:sldMk cId="608967408" sldId="2147138183"/>
            <ac:spMk id="4" creationId="{5CDCC8FD-22A4-8E0B-AD59-FF4E0FD3C3AB}"/>
          </ac:spMkLst>
        </pc:spChg>
        <pc:spChg chg="mod">
          <ac:chgData name="Oehrli, Stefan" userId="3f36891e-f853-43e7-bcbc-2879a2513833" providerId="ADAL" clId="{09BEBDDE-AF5B-9146-8B18-471724E5E3DD}" dt="2023-11-21T05:37:28.109" v="2838" actId="1076"/>
          <ac:spMkLst>
            <pc:docMk/>
            <pc:sldMk cId="608967408" sldId="2147138183"/>
            <ac:spMk id="7" creationId="{38039909-5DC4-F701-04DE-AC87871C99AF}"/>
          </ac:spMkLst>
        </pc:spChg>
        <pc:spChg chg="mod">
          <ac:chgData name="Oehrli, Stefan" userId="3f36891e-f853-43e7-bcbc-2879a2513833" providerId="ADAL" clId="{09BEBDDE-AF5B-9146-8B18-471724E5E3DD}" dt="2023-11-21T05:37:32.220" v="2839" actId="14100"/>
          <ac:spMkLst>
            <pc:docMk/>
            <pc:sldMk cId="608967408" sldId="2147138183"/>
            <ac:spMk id="8" creationId="{F722C1A2-8CB2-3FD8-BDA6-16F5D4E58EC0}"/>
          </ac:spMkLst>
        </pc:spChg>
        <pc:spChg chg="mod">
          <ac:chgData name="Oehrli, Stefan" userId="3f36891e-f853-43e7-bcbc-2879a2513833" providerId="ADAL" clId="{09BEBDDE-AF5B-9146-8B18-471724E5E3DD}" dt="2023-11-21T05:40:44.797" v="2840" actId="1076"/>
          <ac:spMkLst>
            <pc:docMk/>
            <pc:sldMk cId="608967408" sldId="2147138183"/>
            <ac:spMk id="9" creationId="{A5FD1EC3-8C8F-520F-79AC-71B74C027B3C}"/>
          </ac:spMkLst>
        </pc:spChg>
      </pc:sldChg>
      <pc:sldChg chg="addSp delSp modSp new mod">
        <pc:chgData name="Oehrli, Stefan" userId="3f36891e-f853-43e7-bcbc-2879a2513833" providerId="ADAL" clId="{09BEBDDE-AF5B-9146-8B18-471724E5E3DD}" dt="2023-11-21T05:48:14.854" v="3026" actId="20577"/>
        <pc:sldMkLst>
          <pc:docMk/>
          <pc:sldMk cId="1555260919" sldId="2147138184"/>
        </pc:sldMkLst>
        <pc:spChg chg="mod">
          <ac:chgData name="Oehrli, Stefan" userId="3f36891e-f853-43e7-bcbc-2879a2513833" providerId="ADAL" clId="{09BEBDDE-AF5B-9146-8B18-471724E5E3DD}" dt="2023-11-21T05:42:41.869" v="2850"/>
          <ac:spMkLst>
            <pc:docMk/>
            <pc:sldMk cId="1555260919" sldId="2147138184"/>
            <ac:spMk id="2" creationId="{923A2719-33E7-55FD-BAE3-0EC137C47FAF}"/>
          </ac:spMkLst>
        </pc:spChg>
        <pc:spChg chg="mod">
          <ac:chgData name="Oehrli, Stefan" userId="3f36891e-f853-43e7-bcbc-2879a2513833" providerId="ADAL" clId="{09BEBDDE-AF5B-9146-8B18-471724E5E3DD}" dt="2023-11-21T05:43:03.209" v="2886" actId="14100"/>
          <ac:spMkLst>
            <pc:docMk/>
            <pc:sldMk cId="1555260919" sldId="2147138184"/>
            <ac:spMk id="3" creationId="{2819C6C8-C472-2DC4-0509-B769C28F8CDB}"/>
          </ac:spMkLst>
        </pc:spChg>
        <pc:spChg chg="mod">
          <ac:chgData name="Oehrli, Stefan" userId="3f36891e-f853-43e7-bcbc-2879a2513833" providerId="ADAL" clId="{09BEBDDE-AF5B-9146-8B18-471724E5E3DD}" dt="2023-11-21T05:42:48.067" v="2852" actId="20577"/>
          <ac:spMkLst>
            <pc:docMk/>
            <pc:sldMk cId="1555260919" sldId="2147138184"/>
            <ac:spMk id="4" creationId="{8AAD9335-92EB-C815-224E-70066C914AB4}"/>
          </ac:spMkLst>
        </pc:spChg>
        <pc:spChg chg="mod">
          <ac:chgData name="Oehrli, Stefan" userId="3f36891e-f853-43e7-bcbc-2879a2513833" providerId="ADAL" clId="{09BEBDDE-AF5B-9146-8B18-471724E5E3DD}" dt="2023-11-21T05:43:51.617" v="2936" actId="1076"/>
          <ac:spMkLst>
            <pc:docMk/>
            <pc:sldMk cId="1555260919" sldId="2147138184"/>
            <ac:spMk id="7" creationId="{28301F9C-3BC5-4E70-E798-81625D685A23}"/>
          </ac:spMkLst>
        </pc:spChg>
        <pc:spChg chg="mod">
          <ac:chgData name="Oehrli, Stefan" userId="3f36891e-f853-43e7-bcbc-2879a2513833" providerId="ADAL" clId="{09BEBDDE-AF5B-9146-8B18-471724E5E3DD}" dt="2023-11-21T05:45:41.914" v="2968" actId="14100"/>
          <ac:spMkLst>
            <pc:docMk/>
            <pc:sldMk cId="1555260919" sldId="2147138184"/>
            <ac:spMk id="8" creationId="{74391E79-CCE6-C7C0-DA18-A17EC1C529D0}"/>
          </ac:spMkLst>
        </pc:spChg>
        <pc:spChg chg="mod">
          <ac:chgData name="Oehrli, Stefan" userId="3f36891e-f853-43e7-bcbc-2879a2513833" providerId="ADAL" clId="{09BEBDDE-AF5B-9146-8B18-471724E5E3DD}" dt="2023-11-21T05:45:42.658" v="2969" actId="14100"/>
          <ac:spMkLst>
            <pc:docMk/>
            <pc:sldMk cId="1555260919" sldId="2147138184"/>
            <ac:spMk id="9" creationId="{176B216C-E6F5-0248-3FBF-FF83F7C2E6C5}"/>
          </ac:spMkLst>
        </pc:spChg>
        <pc:spChg chg="add mod">
          <ac:chgData name="Oehrli, Stefan" userId="3f36891e-f853-43e7-bcbc-2879a2513833" providerId="ADAL" clId="{09BEBDDE-AF5B-9146-8B18-471724E5E3DD}" dt="2023-11-21T05:48:14.854" v="3026" actId="20577"/>
          <ac:spMkLst>
            <pc:docMk/>
            <pc:sldMk cId="1555260919" sldId="2147138184"/>
            <ac:spMk id="10" creationId="{15F76C95-D01A-E35A-D434-8A2027B6F2B0}"/>
          </ac:spMkLst>
        </pc:spChg>
        <pc:spChg chg="add del mod">
          <ac:chgData name="Oehrli, Stefan" userId="3f36891e-f853-43e7-bcbc-2879a2513833" providerId="ADAL" clId="{09BEBDDE-AF5B-9146-8B18-471724E5E3DD}" dt="2023-11-21T05:47:49.263" v="2991" actId="478"/>
          <ac:spMkLst>
            <pc:docMk/>
            <pc:sldMk cId="1555260919" sldId="2147138184"/>
            <ac:spMk id="11" creationId="{FD65105F-BF67-FF13-53C9-CC3DBCBF2452}"/>
          </ac:spMkLst>
        </pc:spChg>
      </pc:sldChg>
      <pc:sldChg chg="addSp delSp modSp new mod">
        <pc:chgData name="Oehrli, Stefan" userId="3f36891e-f853-43e7-bcbc-2879a2513833" providerId="ADAL" clId="{09BEBDDE-AF5B-9146-8B18-471724E5E3DD}" dt="2023-11-21T10:32:24.162" v="7092" actId="20577"/>
        <pc:sldMkLst>
          <pc:docMk/>
          <pc:sldMk cId="359752795" sldId="2147138185"/>
        </pc:sldMkLst>
        <pc:spChg chg="mod">
          <ac:chgData name="Oehrli, Stefan" userId="3f36891e-f853-43e7-bcbc-2879a2513833" providerId="ADAL" clId="{09BEBDDE-AF5B-9146-8B18-471724E5E3DD}" dt="2023-11-21T05:49:08.160" v="3028"/>
          <ac:spMkLst>
            <pc:docMk/>
            <pc:sldMk cId="359752795" sldId="2147138185"/>
            <ac:spMk id="2" creationId="{F4C7841E-58C0-27B4-A3C1-63E546F70D19}"/>
          </ac:spMkLst>
        </pc:spChg>
        <pc:spChg chg="mod">
          <ac:chgData name="Oehrli, Stefan" userId="3f36891e-f853-43e7-bcbc-2879a2513833" providerId="ADAL" clId="{09BEBDDE-AF5B-9146-8B18-471724E5E3DD}" dt="2023-11-21T05:53:15.281" v="3118" actId="14100"/>
          <ac:spMkLst>
            <pc:docMk/>
            <pc:sldMk cId="359752795" sldId="2147138185"/>
            <ac:spMk id="3" creationId="{BCDD5297-0405-9219-1F8C-D2FECB445D68}"/>
          </ac:spMkLst>
        </pc:spChg>
        <pc:spChg chg="mod">
          <ac:chgData name="Oehrli, Stefan" userId="3f36891e-f853-43e7-bcbc-2879a2513833" providerId="ADAL" clId="{09BEBDDE-AF5B-9146-8B18-471724E5E3DD}" dt="2023-11-21T05:49:14.605" v="3030" actId="20577"/>
          <ac:spMkLst>
            <pc:docMk/>
            <pc:sldMk cId="359752795" sldId="2147138185"/>
            <ac:spMk id="4" creationId="{3479D3A0-E417-D2A3-D37F-4729F8076F7C}"/>
          </ac:spMkLst>
        </pc:spChg>
        <pc:spChg chg="add del mod">
          <ac:chgData name="Oehrli, Stefan" userId="3f36891e-f853-43e7-bcbc-2879a2513833" providerId="ADAL" clId="{09BEBDDE-AF5B-9146-8B18-471724E5E3DD}" dt="2023-11-21T10:32:24.162" v="7092" actId="20577"/>
          <ac:spMkLst>
            <pc:docMk/>
            <pc:sldMk cId="359752795" sldId="2147138185"/>
            <ac:spMk id="7" creationId="{F63E5CBE-332D-120C-3EA6-36A03230EE0A}"/>
          </ac:spMkLst>
        </pc:spChg>
        <pc:spChg chg="mod">
          <ac:chgData name="Oehrli, Stefan" userId="3f36891e-f853-43e7-bcbc-2879a2513833" providerId="ADAL" clId="{09BEBDDE-AF5B-9146-8B18-471724E5E3DD}" dt="2023-11-21T05:53:18.643" v="3119" actId="1076"/>
          <ac:spMkLst>
            <pc:docMk/>
            <pc:sldMk cId="359752795" sldId="2147138185"/>
            <ac:spMk id="8" creationId="{FEEC9AB0-CCA6-525D-E878-7FA4B450EEC4}"/>
          </ac:spMkLst>
        </pc:spChg>
        <pc:spChg chg="del mod">
          <ac:chgData name="Oehrli, Stefan" userId="3f36891e-f853-43e7-bcbc-2879a2513833" providerId="ADAL" clId="{09BEBDDE-AF5B-9146-8B18-471724E5E3DD}" dt="2023-11-21T05:53:21.798" v="3120" actId="478"/>
          <ac:spMkLst>
            <pc:docMk/>
            <pc:sldMk cId="359752795" sldId="2147138185"/>
            <ac:spMk id="9" creationId="{5F8FE063-F2E0-7095-A8A8-CF85D259D24E}"/>
          </ac:spMkLst>
        </pc:spChg>
      </pc:sldChg>
      <pc:sldChg chg="addSp delSp modSp new mod ord">
        <pc:chgData name="Oehrli, Stefan" userId="3f36891e-f853-43e7-bcbc-2879a2513833" providerId="ADAL" clId="{09BEBDDE-AF5B-9146-8B18-471724E5E3DD}" dt="2023-11-21T06:11:53.658" v="3596" actId="20578"/>
        <pc:sldMkLst>
          <pc:docMk/>
          <pc:sldMk cId="47853685" sldId="2147138186"/>
        </pc:sldMkLst>
        <pc:spChg chg="mod">
          <ac:chgData name="Oehrli, Stefan" userId="3f36891e-f853-43e7-bcbc-2879a2513833" providerId="ADAL" clId="{09BEBDDE-AF5B-9146-8B18-471724E5E3DD}" dt="2023-11-21T05:59:10.608" v="3329" actId="20577"/>
          <ac:spMkLst>
            <pc:docMk/>
            <pc:sldMk cId="47853685" sldId="2147138186"/>
            <ac:spMk id="2" creationId="{BA7E7B1B-0CB1-85FD-D899-8073B7E44EA2}"/>
          </ac:spMkLst>
        </pc:spChg>
        <pc:spChg chg="del mod">
          <ac:chgData name="Oehrli, Stefan" userId="3f36891e-f853-43e7-bcbc-2879a2513833" providerId="ADAL" clId="{09BEBDDE-AF5B-9146-8B18-471724E5E3DD}" dt="2023-11-21T05:58:57.925" v="3314"/>
          <ac:spMkLst>
            <pc:docMk/>
            <pc:sldMk cId="47853685" sldId="2147138186"/>
            <ac:spMk id="3" creationId="{022BC624-D2EB-494F-2308-84C780AAA9C0}"/>
          </ac:spMkLst>
        </pc:spChg>
        <pc:spChg chg="mod">
          <ac:chgData name="Oehrli, Stefan" userId="3f36891e-f853-43e7-bcbc-2879a2513833" providerId="ADAL" clId="{09BEBDDE-AF5B-9146-8B18-471724E5E3DD}" dt="2023-11-21T05:59:32.995" v="3331" actId="20577"/>
          <ac:spMkLst>
            <pc:docMk/>
            <pc:sldMk cId="47853685" sldId="2147138186"/>
            <ac:spMk id="4" creationId="{D296051F-462C-BFA9-2716-E38FB3C5D933}"/>
          </ac:spMkLst>
        </pc:spChg>
        <pc:picChg chg="add mod">
          <ac:chgData name="Oehrli, Stefan" userId="3f36891e-f853-43e7-bcbc-2879a2513833" providerId="ADAL" clId="{09BEBDDE-AF5B-9146-8B18-471724E5E3DD}" dt="2023-11-21T05:58:57.925" v="3314"/>
          <ac:picMkLst>
            <pc:docMk/>
            <pc:sldMk cId="47853685" sldId="2147138186"/>
            <ac:picMk id="7" creationId="{C03D7ED1-049D-126A-B88D-196C2D20CE88}"/>
          </ac:picMkLst>
        </pc:picChg>
      </pc:sldChg>
      <pc:sldChg chg="addSp modSp new mod modAnim">
        <pc:chgData name="Oehrli, Stefan" userId="3f36891e-f853-43e7-bcbc-2879a2513833" providerId="ADAL" clId="{09BEBDDE-AF5B-9146-8B18-471724E5E3DD}" dt="2023-11-21T08:29:35.849" v="4619" actId="20577"/>
        <pc:sldMkLst>
          <pc:docMk/>
          <pc:sldMk cId="3736502658" sldId="2147138187"/>
        </pc:sldMkLst>
        <pc:spChg chg="mod">
          <ac:chgData name="Oehrli, Stefan" userId="3f36891e-f853-43e7-bcbc-2879a2513833" providerId="ADAL" clId="{09BEBDDE-AF5B-9146-8B18-471724E5E3DD}" dt="2023-11-21T06:14:34.072" v="3671"/>
          <ac:spMkLst>
            <pc:docMk/>
            <pc:sldMk cId="3736502658" sldId="2147138187"/>
            <ac:spMk id="2" creationId="{D5F85041-5D2A-50DE-B72E-32DB926A7F60}"/>
          </ac:spMkLst>
        </pc:spChg>
        <pc:spChg chg="mod">
          <ac:chgData name="Oehrli, Stefan" userId="3f36891e-f853-43e7-bcbc-2879a2513833" providerId="ADAL" clId="{09BEBDDE-AF5B-9146-8B18-471724E5E3DD}" dt="2023-11-21T08:29:35.849" v="4619" actId="20577"/>
          <ac:spMkLst>
            <pc:docMk/>
            <pc:sldMk cId="3736502658" sldId="2147138187"/>
            <ac:spMk id="3" creationId="{7345E89E-1AF6-0EEE-F052-FE458C10D639}"/>
          </ac:spMkLst>
        </pc:spChg>
        <pc:spChg chg="mod">
          <ac:chgData name="Oehrli, Stefan" userId="3f36891e-f853-43e7-bcbc-2879a2513833" providerId="ADAL" clId="{09BEBDDE-AF5B-9146-8B18-471724E5E3DD}" dt="2023-11-21T06:14:12.829" v="3668"/>
          <ac:spMkLst>
            <pc:docMk/>
            <pc:sldMk cId="3736502658" sldId="2147138187"/>
            <ac:spMk id="4" creationId="{BD70E906-EC14-1C26-665B-8307429B1387}"/>
          </ac:spMkLst>
        </pc:spChg>
        <pc:picChg chg="add mod">
          <ac:chgData name="Oehrli, Stefan" userId="3f36891e-f853-43e7-bcbc-2879a2513833" providerId="ADAL" clId="{09BEBDDE-AF5B-9146-8B18-471724E5E3DD}" dt="2023-11-21T07:25:11.125" v="4393" actId="1076"/>
          <ac:picMkLst>
            <pc:docMk/>
            <pc:sldMk cId="3736502658" sldId="2147138187"/>
            <ac:picMk id="7" creationId="{F7EF9DDA-76E9-B4C0-19A5-316686C37EDB}"/>
          </ac:picMkLst>
        </pc:picChg>
      </pc:sldChg>
      <pc:sldChg chg="addSp modSp add mod modAnim">
        <pc:chgData name="Oehrli, Stefan" userId="3f36891e-f853-43e7-bcbc-2879a2513833" providerId="ADAL" clId="{09BEBDDE-AF5B-9146-8B18-471724E5E3DD}" dt="2023-11-21T07:18:07.199" v="4188"/>
        <pc:sldMkLst>
          <pc:docMk/>
          <pc:sldMk cId="529553536" sldId="2147138188"/>
        </pc:sldMkLst>
        <pc:spChg chg="mod">
          <ac:chgData name="Oehrli, Stefan" userId="3f36891e-f853-43e7-bcbc-2879a2513833" providerId="ADAL" clId="{09BEBDDE-AF5B-9146-8B18-471724E5E3DD}" dt="2023-11-21T07:17:36.937" v="4183" actId="20577"/>
          <ac:spMkLst>
            <pc:docMk/>
            <pc:sldMk cId="529553536" sldId="2147138188"/>
            <ac:spMk id="4" creationId="{946CA6F4-9448-6AD4-6D2E-3FBD4BF7C6FB}"/>
          </ac:spMkLst>
        </pc:spChg>
        <pc:picChg chg="add mod">
          <ac:chgData name="Oehrli, Stefan" userId="3f36891e-f853-43e7-bcbc-2879a2513833" providerId="ADAL" clId="{09BEBDDE-AF5B-9146-8B18-471724E5E3DD}" dt="2023-11-21T07:17:29.553" v="4182" actId="1076"/>
          <ac:picMkLst>
            <pc:docMk/>
            <pc:sldMk cId="529553536" sldId="2147138188"/>
            <ac:picMk id="2" creationId="{764922C8-43D4-FBA5-14AB-0C594B9B9E90}"/>
          </ac:picMkLst>
        </pc:picChg>
      </pc:sldChg>
      <pc:sldChg chg="addSp delSp modSp add mod delAnim modAnim">
        <pc:chgData name="Oehrli, Stefan" userId="3f36891e-f853-43e7-bcbc-2879a2513833" providerId="ADAL" clId="{09BEBDDE-AF5B-9146-8B18-471724E5E3DD}" dt="2023-11-21T09:22:05.898" v="5758"/>
        <pc:sldMkLst>
          <pc:docMk/>
          <pc:sldMk cId="3307806032" sldId="2147138189"/>
        </pc:sldMkLst>
        <pc:spChg chg="mod">
          <ac:chgData name="Oehrli, Stefan" userId="3f36891e-f853-43e7-bcbc-2879a2513833" providerId="ADAL" clId="{09BEBDDE-AF5B-9146-8B18-471724E5E3DD}" dt="2023-11-21T08:42:49.590" v="4988" actId="20577"/>
          <ac:spMkLst>
            <pc:docMk/>
            <pc:sldMk cId="3307806032" sldId="2147138189"/>
            <ac:spMk id="3" creationId="{CEAFCAE0-F842-34F2-EB92-1D60C03884E7}"/>
          </ac:spMkLst>
        </pc:spChg>
        <pc:spChg chg="mod">
          <ac:chgData name="Oehrli, Stefan" userId="3f36891e-f853-43e7-bcbc-2879a2513833" providerId="ADAL" clId="{09BEBDDE-AF5B-9146-8B18-471724E5E3DD}" dt="2023-11-21T09:20:33.872" v="5737" actId="20577"/>
          <ac:spMkLst>
            <pc:docMk/>
            <pc:sldMk cId="3307806032" sldId="2147138189"/>
            <ac:spMk id="4" creationId="{946CA6F4-9448-6AD4-6D2E-3FBD4BF7C6FB}"/>
          </ac:spMkLst>
        </pc:spChg>
        <pc:spChg chg="mod">
          <ac:chgData name="Oehrli, Stefan" userId="3f36891e-f853-43e7-bcbc-2879a2513833" providerId="ADAL" clId="{09BEBDDE-AF5B-9146-8B18-471724E5E3DD}" dt="2023-11-21T09:01:26.730" v="5397" actId="313"/>
          <ac:spMkLst>
            <pc:docMk/>
            <pc:sldMk cId="3307806032" sldId="2147138189"/>
            <ac:spMk id="5" creationId="{9784D766-D1AA-1F79-C449-899A26544C05}"/>
          </ac:spMkLst>
        </pc:spChg>
        <pc:spChg chg="add del">
          <ac:chgData name="Oehrli, Stefan" userId="3f36891e-f853-43e7-bcbc-2879a2513833" providerId="ADAL" clId="{09BEBDDE-AF5B-9146-8B18-471724E5E3DD}" dt="2023-11-21T09:15:42.349" v="5676" actId="22"/>
          <ac:spMkLst>
            <pc:docMk/>
            <pc:sldMk cId="3307806032" sldId="2147138189"/>
            <ac:spMk id="6" creationId="{3C991582-5CA0-46F3-7B91-F5D846266870}"/>
          </ac:spMkLst>
        </pc:spChg>
        <pc:picChg chg="add del mod">
          <ac:chgData name="Oehrli, Stefan" userId="3f36891e-f853-43e7-bcbc-2879a2513833" providerId="ADAL" clId="{09BEBDDE-AF5B-9146-8B18-471724E5E3DD}" dt="2023-11-21T09:21:48.501" v="5740" actId="478"/>
          <ac:picMkLst>
            <pc:docMk/>
            <pc:sldMk cId="3307806032" sldId="2147138189"/>
            <ac:picMk id="7" creationId="{3B3584F6-12A9-94BD-1504-FF6BDAE9EF3B}"/>
          </ac:picMkLst>
        </pc:picChg>
        <pc:picChg chg="add mod">
          <ac:chgData name="Oehrli, Stefan" userId="3f36891e-f853-43e7-bcbc-2879a2513833" providerId="ADAL" clId="{09BEBDDE-AF5B-9146-8B18-471724E5E3DD}" dt="2023-11-21T09:21:59.553" v="5756" actId="1076"/>
          <ac:picMkLst>
            <pc:docMk/>
            <pc:sldMk cId="3307806032" sldId="2147138189"/>
            <ac:picMk id="8" creationId="{D5CE4942-9522-88CC-4F0A-74CE6E9C98F2}"/>
          </ac:picMkLst>
        </pc:picChg>
      </pc:sldChg>
      <pc:sldChg chg="modSp new add del mod">
        <pc:chgData name="Oehrli, Stefan" userId="3f36891e-f853-43e7-bcbc-2879a2513833" providerId="ADAL" clId="{09BEBDDE-AF5B-9146-8B18-471724E5E3DD}" dt="2023-11-21T07:21:38.259" v="4199" actId="2696"/>
        <pc:sldMkLst>
          <pc:docMk/>
          <pc:sldMk cId="3470909482" sldId="2147138189"/>
        </pc:sldMkLst>
        <pc:spChg chg="mod">
          <ac:chgData name="Oehrli, Stefan" userId="3f36891e-f853-43e7-bcbc-2879a2513833" providerId="ADAL" clId="{09BEBDDE-AF5B-9146-8B18-471724E5E3DD}" dt="2023-11-21T07:21:36.086" v="4198" actId="5793"/>
          <ac:spMkLst>
            <pc:docMk/>
            <pc:sldMk cId="3470909482" sldId="2147138189"/>
            <ac:spMk id="3" creationId="{1A8E2F58-6B28-623B-E70E-7DD0892B6215}"/>
          </ac:spMkLst>
        </pc:spChg>
      </pc:sldChg>
      <pc:sldChg chg="addSp modSp add mod ord modClrScheme modAnim chgLayout">
        <pc:chgData name="Oehrli, Stefan" userId="3f36891e-f853-43e7-bcbc-2879a2513833" providerId="ADAL" clId="{09BEBDDE-AF5B-9146-8B18-471724E5E3DD}" dt="2023-11-21T08:53:37.111" v="5279"/>
        <pc:sldMkLst>
          <pc:docMk/>
          <pc:sldMk cId="2582172254" sldId="2147138190"/>
        </pc:sldMkLst>
        <pc:spChg chg="add mod ord">
          <ac:chgData name="Oehrli, Stefan" userId="3f36891e-f853-43e7-bcbc-2879a2513833" providerId="ADAL" clId="{09BEBDDE-AF5B-9146-8B18-471724E5E3DD}" dt="2023-11-21T08:53:21.196" v="5276" actId="20577"/>
          <ac:spMkLst>
            <pc:docMk/>
            <pc:sldMk cId="2582172254" sldId="2147138190"/>
            <ac:spMk id="2" creationId="{5B8BC93B-00BA-9736-AD4C-6D7E4FD95083}"/>
          </ac:spMkLst>
        </pc:spChg>
        <pc:spChg chg="mod ord">
          <ac:chgData name="Oehrli, Stefan" userId="3f36891e-f853-43e7-bcbc-2879a2513833" providerId="ADAL" clId="{09BEBDDE-AF5B-9146-8B18-471724E5E3DD}" dt="2023-11-21T08:51:15.243" v="5212" actId="700"/>
          <ac:spMkLst>
            <pc:docMk/>
            <pc:sldMk cId="2582172254" sldId="2147138190"/>
            <ac:spMk id="3" creationId="{CEAFCAE0-F842-34F2-EB92-1D60C03884E7}"/>
          </ac:spMkLst>
        </pc:spChg>
        <pc:spChg chg="mod ord">
          <ac:chgData name="Oehrli, Stefan" userId="3f36891e-f853-43e7-bcbc-2879a2513833" providerId="ADAL" clId="{09BEBDDE-AF5B-9146-8B18-471724E5E3DD}" dt="2023-11-21T08:51:34.729" v="5223" actId="113"/>
          <ac:spMkLst>
            <pc:docMk/>
            <pc:sldMk cId="2582172254" sldId="2147138190"/>
            <ac:spMk id="4" creationId="{946CA6F4-9448-6AD4-6D2E-3FBD4BF7C6FB}"/>
          </ac:spMkLst>
        </pc:spChg>
        <pc:spChg chg="mod ord">
          <ac:chgData name="Oehrli, Stefan" userId="3f36891e-f853-43e7-bcbc-2879a2513833" providerId="ADAL" clId="{09BEBDDE-AF5B-9146-8B18-471724E5E3DD}" dt="2023-11-21T08:51:15.243" v="5212" actId="700"/>
          <ac:spMkLst>
            <pc:docMk/>
            <pc:sldMk cId="2582172254" sldId="2147138190"/>
            <ac:spMk id="5" creationId="{9784D766-D1AA-1F79-C449-899A26544C05}"/>
          </ac:spMkLst>
        </pc:spChg>
      </pc:sldChg>
      <pc:sldChg chg="addSp delSp modSp new mod modClrScheme modAnim chgLayout">
        <pc:chgData name="Oehrli, Stefan" userId="3f36891e-f853-43e7-bcbc-2879a2513833" providerId="ADAL" clId="{09BEBDDE-AF5B-9146-8B18-471724E5E3DD}" dt="2023-11-21T14:16:15.346" v="7102" actId="20577"/>
        <pc:sldMkLst>
          <pc:docMk/>
          <pc:sldMk cId="2312882381" sldId="2147138191"/>
        </pc:sldMkLst>
        <pc:spChg chg="del mod ord">
          <ac:chgData name="Oehrli, Stefan" userId="3f36891e-f853-43e7-bcbc-2879a2513833" providerId="ADAL" clId="{09BEBDDE-AF5B-9146-8B18-471724E5E3DD}" dt="2023-11-21T09:22:49.167" v="5763" actId="700"/>
          <ac:spMkLst>
            <pc:docMk/>
            <pc:sldMk cId="2312882381" sldId="2147138191"/>
            <ac:spMk id="2" creationId="{76A9A7DB-CB4A-3570-4CEF-E73255D9E091}"/>
          </ac:spMkLst>
        </pc:spChg>
        <pc:spChg chg="del mod ord">
          <ac:chgData name="Oehrli, Stefan" userId="3f36891e-f853-43e7-bcbc-2879a2513833" providerId="ADAL" clId="{09BEBDDE-AF5B-9146-8B18-471724E5E3DD}" dt="2023-11-21T09:22:49.167" v="5763" actId="700"/>
          <ac:spMkLst>
            <pc:docMk/>
            <pc:sldMk cId="2312882381" sldId="2147138191"/>
            <ac:spMk id="3" creationId="{E8C31FCA-B56F-016B-562F-F4CC042D479B}"/>
          </ac:spMkLst>
        </pc:spChg>
        <pc:spChg chg="del mod ord">
          <ac:chgData name="Oehrli, Stefan" userId="3f36891e-f853-43e7-bcbc-2879a2513833" providerId="ADAL" clId="{09BEBDDE-AF5B-9146-8B18-471724E5E3DD}" dt="2023-11-21T09:22:49.167" v="5763" actId="700"/>
          <ac:spMkLst>
            <pc:docMk/>
            <pc:sldMk cId="2312882381" sldId="2147138191"/>
            <ac:spMk id="4" creationId="{0A3762F3-719B-555A-5810-2EADA1073125}"/>
          </ac:spMkLst>
        </pc:spChg>
        <pc:spChg chg="mod ord">
          <ac:chgData name="Oehrli, Stefan" userId="3f36891e-f853-43e7-bcbc-2879a2513833" providerId="ADAL" clId="{09BEBDDE-AF5B-9146-8B18-471724E5E3DD}" dt="2023-11-21T09:23:52.875" v="5766" actId="700"/>
          <ac:spMkLst>
            <pc:docMk/>
            <pc:sldMk cId="2312882381" sldId="2147138191"/>
            <ac:spMk id="5" creationId="{3B795C26-C67F-1099-80AD-892DA22FB1F2}"/>
          </ac:spMkLst>
        </pc:spChg>
        <pc:spChg chg="mod ord">
          <ac:chgData name="Oehrli, Stefan" userId="3f36891e-f853-43e7-bcbc-2879a2513833" providerId="ADAL" clId="{09BEBDDE-AF5B-9146-8B18-471724E5E3DD}" dt="2023-11-21T09:23:52.875" v="5766" actId="700"/>
          <ac:spMkLst>
            <pc:docMk/>
            <pc:sldMk cId="2312882381" sldId="2147138191"/>
            <ac:spMk id="6" creationId="{1411F5A9-DC78-E587-CD3E-578EEF365D3C}"/>
          </ac:spMkLst>
        </pc:spChg>
        <pc:spChg chg="add mod ord">
          <ac:chgData name="Oehrli, Stefan" userId="3f36891e-f853-43e7-bcbc-2879a2513833" providerId="ADAL" clId="{09BEBDDE-AF5B-9146-8B18-471724E5E3DD}" dt="2023-11-21T09:39:32.005" v="6161" actId="20577"/>
          <ac:spMkLst>
            <pc:docMk/>
            <pc:sldMk cId="2312882381" sldId="2147138191"/>
            <ac:spMk id="7" creationId="{0330C398-CC72-8FA1-C8A9-CBE2CA6882AC}"/>
          </ac:spMkLst>
        </pc:spChg>
        <pc:spChg chg="add del mod ord">
          <ac:chgData name="Oehrli, Stefan" userId="3f36891e-f853-43e7-bcbc-2879a2513833" providerId="ADAL" clId="{09BEBDDE-AF5B-9146-8B18-471724E5E3DD}" dt="2023-11-21T09:23:52.875" v="5766" actId="700"/>
          <ac:spMkLst>
            <pc:docMk/>
            <pc:sldMk cId="2312882381" sldId="2147138191"/>
            <ac:spMk id="8" creationId="{F2ADD750-1ECD-0452-D9F0-F5969A3FBE12}"/>
          </ac:spMkLst>
        </pc:spChg>
        <pc:spChg chg="add del mod ord">
          <ac:chgData name="Oehrli, Stefan" userId="3f36891e-f853-43e7-bcbc-2879a2513833" providerId="ADAL" clId="{09BEBDDE-AF5B-9146-8B18-471724E5E3DD}" dt="2023-11-21T09:23:52.875" v="5766" actId="700"/>
          <ac:spMkLst>
            <pc:docMk/>
            <pc:sldMk cId="2312882381" sldId="2147138191"/>
            <ac:spMk id="9" creationId="{50F1C8F4-F91E-E06E-C81C-77653E460064}"/>
          </ac:spMkLst>
        </pc:spChg>
        <pc:spChg chg="add del mod ord">
          <ac:chgData name="Oehrli, Stefan" userId="3f36891e-f853-43e7-bcbc-2879a2513833" providerId="ADAL" clId="{09BEBDDE-AF5B-9146-8B18-471724E5E3DD}" dt="2023-11-21T09:23:52.875" v="5766" actId="700"/>
          <ac:spMkLst>
            <pc:docMk/>
            <pc:sldMk cId="2312882381" sldId="2147138191"/>
            <ac:spMk id="10" creationId="{1C73F2F6-21FD-1CAD-1F3F-AA8CD3B4284C}"/>
          </ac:spMkLst>
        </pc:spChg>
        <pc:spChg chg="add del mod ord">
          <ac:chgData name="Oehrli, Stefan" userId="3f36891e-f853-43e7-bcbc-2879a2513833" providerId="ADAL" clId="{09BEBDDE-AF5B-9146-8B18-471724E5E3DD}" dt="2023-11-21T09:23:52.875" v="5766" actId="700"/>
          <ac:spMkLst>
            <pc:docMk/>
            <pc:sldMk cId="2312882381" sldId="2147138191"/>
            <ac:spMk id="11" creationId="{6B4D6349-3D4C-BCC7-7274-8E8EED355DBF}"/>
          </ac:spMkLst>
        </pc:spChg>
        <pc:spChg chg="add del mod ord">
          <ac:chgData name="Oehrli, Stefan" userId="3f36891e-f853-43e7-bcbc-2879a2513833" providerId="ADAL" clId="{09BEBDDE-AF5B-9146-8B18-471724E5E3DD}" dt="2023-11-21T09:23:52.875" v="5766" actId="700"/>
          <ac:spMkLst>
            <pc:docMk/>
            <pc:sldMk cId="2312882381" sldId="2147138191"/>
            <ac:spMk id="12" creationId="{13E7FF7C-1314-41A5-7272-754F2AE86FA0}"/>
          </ac:spMkLst>
        </pc:spChg>
        <pc:spChg chg="add mod ord">
          <ac:chgData name="Oehrli, Stefan" userId="3f36891e-f853-43e7-bcbc-2879a2513833" providerId="ADAL" clId="{09BEBDDE-AF5B-9146-8B18-471724E5E3DD}" dt="2023-11-21T09:38:23.546" v="6146" actId="14100"/>
          <ac:spMkLst>
            <pc:docMk/>
            <pc:sldMk cId="2312882381" sldId="2147138191"/>
            <ac:spMk id="13" creationId="{999C2DD0-5008-DFFB-6883-D253543253F6}"/>
          </ac:spMkLst>
        </pc:spChg>
        <pc:spChg chg="add mod ord">
          <ac:chgData name="Oehrli, Stefan" userId="3f36891e-f853-43e7-bcbc-2879a2513833" providerId="ADAL" clId="{09BEBDDE-AF5B-9146-8B18-471724E5E3DD}" dt="2023-11-21T09:25:14.606" v="5772" actId="20577"/>
          <ac:spMkLst>
            <pc:docMk/>
            <pc:sldMk cId="2312882381" sldId="2147138191"/>
            <ac:spMk id="14" creationId="{7F2126D2-D58F-D2D1-FE2B-ACA7E97917EE}"/>
          </ac:spMkLst>
        </pc:spChg>
        <pc:spChg chg="add mod ord">
          <ac:chgData name="Oehrli, Stefan" userId="3f36891e-f853-43e7-bcbc-2879a2513833" providerId="ADAL" clId="{09BEBDDE-AF5B-9146-8B18-471724E5E3DD}" dt="2023-11-21T14:16:15.346" v="7102" actId="20577"/>
          <ac:spMkLst>
            <pc:docMk/>
            <pc:sldMk cId="2312882381" sldId="2147138191"/>
            <ac:spMk id="15" creationId="{E9C0567E-985C-B436-2AD1-4EDF434A4723}"/>
          </ac:spMkLst>
        </pc:spChg>
        <pc:spChg chg="add mod">
          <ac:chgData name="Oehrli, Stefan" userId="3f36891e-f853-43e7-bcbc-2879a2513833" providerId="ADAL" clId="{09BEBDDE-AF5B-9146-8B18-471724E5E3DD}" dt="2023-11-21T09:35:00.578" v="6109" actId="1076"/>
          <ac:spMkLst>
            <pc:docMk/>
            <pc:sldMk cId="2312882381" sldId="2147138191"/>
            <ac:spMk id="16" creationId="{835D818A-918E-8BA1-5F9E-0FB377EED9E5}"/>
          </ac:spMkLst>
        </pc:spChg>
        <pc:spChg chg="add del mod">
          <ac:chgData name="Oehrli, Stefan" userId="3f36891e-f853-43e7-bcbc-2879a2513833" providerId="ADAL" clId="{09BEBDDE-AF5B-9146-8B18-471724E5E3DD}" dt="2023-11-21T09:35:04.024" v="6110" actId="478"/>
          <ac:spMkLst>
            <pc:docMk/>
            <pc:sldMk cId="2312882381" sldId="2147138191"/>
            <ac:spMk id="17" creationId="{9B67CDFF-623B-CB73-B26C-A44072A3892D}"/>
          </ac:spMkLst>
        </pc:spChg>
      </pc:sldChg>
      <pc:sldChg chg="new del">
        <pc:chgData name="Oehrli, Stefan" userId="3f36891e-f853-43e7-bcbc-2879a2513833" providerId="ADAL" clId="{09BEBDDE-AF5B-9146-8B18-471724E5E3DD}" dt="2023-11-21T09:22:41.323" v="5761" actId="680"/>
        <pc:sldMkLst>
          <pc:docMk/>
          <pc:sldMk cId="3472705739" sldId="2147138191"/>
        </pc:sldMkLst>
      </pc:sldChg>
      <pc:sldChg chg="addSp modSp new mod modClrScheme modAnim chgLayout">
        <pc:chgData name="Oehrli, Stefan" userId="3f36891e-f853-43e7-bcbc-2879a2513833" providerId="ADAL" clId="{09BEBDDE-AF5B-9146-8B18-471724E5E3DD}" dt="2023-11-21T10:10:04.381" v="6499"/>
        <pc:sldMkLst>
          <pc:docMk/>
          <pc:sldMk cId="3816320732" sldId="2147138192"/>
        </pc:sldMkLst>
        <pc:spChg chg="mod ord">
          <ac:chgData name="Oehrli, Stefan" userId="3f36891e-f853-43e7-bcbc-2879a2513833" providerId="ADAL" clId="{09BEBDDE-AF5B-9146-8B18-471724E5E3DD}" dt="2023-11-21T09:42:32.134" v="6219" actId="700"/>
          <ac:spMkLst>
            <pc:docMk/>
            <pc:sldMk cId="3816320732" sldId="2147138192"/>
            <ac:spMk id="2" creationId="{AC396108-BFA3-C1AD-F5AB-E868896E4460}"/>
          </ac:spMkLst>
        </pc:spChg>
        <pc:spChg chg="mod ord">
          <ac:chgData name="Oehrli, Stefan" userId="3f36891e-f853-43e7-bcbc-2879a2513833" providerId="ADAL" clId="{09BEBDDE-AF5B-9146-8B18-471724E5E3DD}" dt="2023-11-21T10:06:11.039" v="6447" actId="15"/>
          <ac:spMkLst>
            <pc:docMk/>
            <pc:sldMk cId="3816320732" sldId="2147138192"/>
            <ac:spMk id="3" creationId="{D2694F25-2A15-653B-9E8D-32C71A720F88}"/>
          </ac:spMkLst>
        </pc:spChg>
        <pc:spChg chg="mod ord">
          <ac:chgData name="Oehrli, Stefan" userId="3f36891e-f853-43e7-bcbc-2879a2513833" providerId="ADAL" clId="{09BEBDDE-AF5B-9146-8B18-471724E5E3DD}" dt="2023-11-21T09:42:32.134" v="6219" actId="700"/>
          <ac:spMkLst>
            <pc:docMk/>
            <pc:sldMk cId="3816320732" sldId="2147138192"/>
            <ac:spMk id="4" creationId="{DAC999A3-E423-431B-8584-D01014EF9AB2}"/>
          </ac:spMkLst>
        </pc:spChg>
        <pc:spChg chg="mod ord">
          <ac:chgData name="Oehrli, Stefan" userId="3f36891e-f853-43e7-bcbc-2879a2513833" providerId="ADAL" clId="{09BEBDDE-AF5B-9146-8B18-471724E5E3DD}" dt="2023-11-21T09:42:32.134" v="6219" actId="700"/>
          <ac:spMkLst>
            <pc:docMk/>
            <pc:sldMk cId="3816320732" sldId="2147138192"/>
            <ac:spMk id="5" creationId="{A73784C6-F2BE-8364-A404-D3DE68E31A45}"/>
          </ac:spMkLst>
        </pc:spChg>
        <pc:spChg chg="mod ord">
          <ac:chgData name="Oehrli, Stefan" userId="3f36891e-f853-43e7-bcbc-2879a2513833" providerId="ADAL" clId="{09BEBDDE-AF5B-9146-8B18-471724E5E3DD}" dt="2023-11-21T09:42:32.134" v="6219" actId="700"/>
          <ac:spMkLst>
            <pc:docMk/>
            <pc:sldMk cId="3816320732" sldId="2147138192"/>
            <ac:spMk id="6" creationId="{8FD27A11-05AA-0E3D-3ABA-78A599A766F1}"/>
          </ac:spMkLst>
        </pc:spChg>
        <pc:spChg chg="mod ord">
          <ac:chgData name="Oehrli, Stefan" userId="3f36891e-f853-43e7-bcbc-2879a2513833" providerId="ADAL" clId="{09BEBDDE-AF5B-9146-8B18-471724E5E3DD}" dt="2023-11-21T10:06:04.584" v="6446" actId="5793"/>
          <ac:spMkLst>
            <pc:docMk/>
            <pc:sldMk cId="3816320732" sldId="2147138192"/>
            <ac:spMk id="7" creationId="{CF8C683E-8A48-A67D-16A3-C1396F62E7F7}"/>
          </ac:spMkLst>
        </pc:spChg>
        <pc:spChg chg="add mod ord">
          <ac:chgData name="Oehrli, Stefan" userId="3f36891e-f853-43e7-bcbc-2879a2513833" providerId="ADAL" clId="{09BEBDDE-AF5B-9146-8B18-471724E5E3DD}" dt="2023-11-21T09:44:57.441" v="6296" actId="1076"/>
          <ac:spMkLst>
            <pc:docMk/>
            <pc:sldMk cId="3816320732" sldId="2147138192"/>
            <ac:spMk id="8" creationId="{BC9B1CE3-B4D6-8177-3C2F-9922A3A3C38A}"/>
          </ac:spMkLst>
        </pc:spChg>
        <pc:spChg chg="add mod ord">
          <ac:chgData name="Oehrli, Stefan" userId="3f36891e-f853-43e7-bcbc-2879a2513833" providerId="ADAL" clId="{09BEBDDE-AF5B-9146-8B18-471724E5E3DD}" dt="2023-11-21T10:07:19.616" v="6448" actId="14100"/>
          <ac:spMkLst>
            <pc:docMk/>
            <pc:sldMk cId="3816320732" sldId="2147138192"/>
            <ac:spMk id="9" creationId="{0984AE4D-3DB7-BB8C-8515-E4B3F143CB16}"/>
          </ac:spMkLst>
        </pc:spChg>
        <pc:spChg chg="add mod">
          <ac:chgData name="Oehrli, Stefan" userId="3f36891e-f853-43e7-bcbc-2879a2513833" providerId="ADAL" clId="{09BEBDDE-AF5B-9146-8B18-471724E5E3DD}" dt="2023-11-21T10:08:23.622" v="6491" actId="20577"/>
          <ac:spMkLst>
            <pc:docMk/>
            <pc:sldMk cId="3816320732" sldId="2147138192"/>
            <ac:spMk id="10" creationId="{6BFCC7A4-3119-251D-CF78-7474254E1A52}"/>
          </ac:spMkLst>
        </pc:spChg>
      </pc:sldChg>
      <pc:sldChg chg="addSp delSp modSp new mod chgLayout">
        <pc:chgData name="Oehrli, Stefan" userId="3f36891e-f853-43e7-bcbc-2879a2513833" providerId="ADAL" clId="{09BEBDDE-AF5B-9146-8B18-471724E5E3DD}" dt="2023-11-23T21:01:43.691" v="7104" actId="700"/>
        <pc:sldMkLst>
          <pc:docMk/>
          <pc:sldMk cId="354290953" sldId="2147138193"/>
        </pc:sldMkLst>
        <pc:spChg chg="del mod ord">
          <ac:chgData name="Oehrli, Stefan" userId="3f36891e-f853-43e7-bcbc-2879a2513833" providerId="ADAL" clId="{09BEBDDE-AF5B-9146-8B18-471724E5E3DD}" dt="2023-11-23T21:01:43.691" v="7104" actId="700"/>
          <ac:spMkLst>
            <pc:docMk/>
            <pc:sldMk cId="354290953" sldId="2147138193"/>
            <ac:spMk id="2" creationId="{F70BF2BB-FE4F-EC65-E9A2-BECEE5E2B134}"/>
          </ac:spMkLst>
        </pc:spChg>
        <pc:spChg chg="mod ord">
          <ac:chgData name="Oehrli, Stefan" userId="3f36891e-f853-43e7-bcbc-2879a2513833" providerId="ADAL" clId="{09BEBDDE-AF5B-9146-8B18-471724E5E3DD}" dt="2023-11-23T21:01:43.691" v="7104" actId="700"/>
          <ac:spMkLst>
            <pc:docMk/>
            <pc:sldMk cId="354290953" sldId="2147138193"/>
            <ac:spMk id="3" creationId="{09270624-DB2F-5790-7394-5247FB7484E4}"/>
          </ac:spMkLst>
        </pc:spChg>
        <pc:spChg chg="mod ord">
          <ac:chgData name="Oehrli, Stefan" userId="3f36891e-f853-43e7-bcbc-2879a2513833" providerId="ADAL" clId="{09BEBDDE-AF5B-9146-8B18-471724E5E3DD}" dt="2023-11-23T21:01:43.691" v="7104" actId="700"/>
          <ac:spMkLst>
            <pc:docMk/>
            <pc:sldMk cId="354290953" sldId="2147138193"/>
            <ac:spMk id="4" creationId="{C0E159C0-DDC6-060B-9E85-4842008AFAF6}"/>
          </ac:spMkLst>
        </pc:spChg>
        <pc:spChg chg="add mod ord">
          <ac:chgData name="Oehrli, Stefan" userId="3f36891e-f853-43e7-bcbc-2879a2513833" providerId="ADAL" clId="{09BEBDDE-AF5B-9146-8B18-471724E5E3DD}" dt="2023-11-23T21:01:43.691" v="7104" actId="700"/>
          <ac:spMkLst>
            <pc:docMk/>
            <pc:sldMk cId="354290953" sldId="2147138193"/>
            <ac:spMk id="5" creationId="{425700E5-E8D3-C4DC-DC24-E8F8452EFD13}"/>
          </ac:spMkLst>
        </pc:spChg>
        <pc:spChg chg="add mod ord">
          <ac:chgData name="Oehrli, Stefan" userId="3f36891e-f853-43e7-bcbc-2879a2513833" providerId="ADAL" clId="{09BEBDDE-AF5B-9146-8B18-471724E5E3DD}" dt="2023-11-23T21:01:43.691" v="7104" actId="700"/>
          <ac:spMkLst>
            <pc:docMk/>
            <pc:sldMk cId="354290953" sldId="2147138193"/>
            <ac:spMk id="6" creationId="{51E811E9-FE9E-A201-2FC9-4DE62FF66868}"/>
          </ac:spMkLst>
        </pc:spChg>
        <pc:spChg chg="add mod ord">
          <ac:chgData name="Oehrli, Stefan" userId="3f36891e-f853-43e7-bcbc-2879a2513833" providerId="ADAL" clId="{09BEBDDE-AF5B-9146-8B18-471724E5E3DD}" dt="2023-11-23T21:01:43.691" v="7104" actId="700"/>
          <ac:spMkLst>
            <pc:docMk/>
            <pc:sldMk cId="354290953" sldId="2147138193"/>
            <ac:spMk id="7" creationId="{C103DB0E-9CBB-1238-0235-D395009C4904}"/>
          </ac:spMkLst>
        </pc:spChg>
        <pc:spChg chg="add mod ord">
          <ac:chgData name="Oehrli, Stefan" userId="3f36891e-f853-43e7-bcbc-2879a2513833" providerId="ADAL" clId="{09BEBDDE-AF5B-9146-8B18-471724E5E3DD}" dt="2023-11-23T21:01:43.691" v="7104" actId="700"/>
          <ac:spMkLst>
            <pc:docMk/>
            <pc:sldMk cId="354290953" sldId="2147138193"/>
            <ac:spMk id="8" creationId="{1F5DFDF8-A6DB-7ABE-DF74-401BC979AD5B}"/>
          </ac:spMkLst>
        </pc:spChg>
      </pc:sldChg>
      <pc:sldChg chg="addSp delSp modSp new mod modClrScheme chgLayout">
        <pc:chgData name="Oehrli, Stefan" userId="3f36891e-f853-43e7-bcbc-2879a2513833" providerId="ADAL" clId="{09BEBDDE-AF5B-9146-8B18-471724E5E3DD}" dt="2023-11-23T21:01:48.502" v="7106" actId="700"/>
        <pc:sldMkLst>
          <pc:docMk/>
          <pc:sldMk cId="1007215444" sldId="2147138194"/>
        </pc:sldMkLst>
        <pc:spChg chg="del mod ord">
          <ac:chgData name="Oehrli, Stefan" userId="3f36891e-f853-43e7-bcbc-2879a2513833" providerId="ADAL" clId="{09BEBDDE-AF5B-9146-8B18-471724E5E3DD}" dt="2023-11-23T21:01:48.502" v="7106" actId="700"/>
          <ac:spMkLst>
            <pc:docMk/>
            <pc:sldMk cId="1007215444" sldId="2147138194"/>
            <ac:spMk id="2" creationId="{4EF83BD6-3C92-AB9B-4CBA-0FEDD81840F4}"/>
          </ac:spMkLst>
        </pc:spChg>
        <pc:spChg chg="del mod ord">
          <ac:chgData name="Oehrli, Stefan" userId="3f36891e-f853-43e7-bcbc-2879a2513833" providerId="ADAL" clId="{09BEBDDE-AF5B-9146-8B18-471724E5E3DD}" dt="2023-11-23T21:01:48.502" v="7106" actId="700"/>
          <ac:spMkLst>
            <pc:docMk/>
            <pc:sldMk cId="1007215444" sldId="2147138194"/>
            <ac:spMk id="3" creationId="{1057EBAF-8310-996C-9B80-CB0730F1CBE1}"/>
          </ac:spMkLst>
        </pc:spChg>
        <pc:spChg chg="del mod ord">
          <ac:chgData name="Oehrli, Stefan" userId="3f36891e-f853-43e7-bcbc-2879a2513833" providerId="ADAL" clId="{09BEBDDE-AF5B-9146-8B18-471724E5E3DD}" dt="2023-11-23T21:01:48.502" v="7106" actId="700"/>
          <ac:spMkLst>
            <pc:docMk/>
            <pc:sldMk cId="1007215444" sldId="2147138194"/>
            <ac:spMk id="4" creationId="{956D1F9F-52D2-7453-912B-4C6FF600FB68}"/>
          </ac:spMkLst>
        </pc:spChg>
        <pc:spChg chg="mod ord">
          <ac:chgData name="Oehrli, Stefan" userId="3f36891e-f853-43e7-bcbc-2879a2513833" providerId="ADAL" clId="{09BEBDDE-AF5B-9146-8B18-471724E5E3DD}" dt="2023-11-23T21:01:48.502" v="7106" actId="700"/>
          <ac:spMkLst>
            <pc:docMk/>
            <pc:sldMk cId="1007215444" sldId="2147138194"/>
            <ac:spMk id="5" creationId="{7CED73A2-5EF3-D238-1E73-F02FF628439C}"/>
          </ac:spMkLst>
        </pc:spChg>
        <pc:spChg chg="mod ord">
          <ac:chgData name="Oehrli, Stefan" userId="3f36891e-f853-43e7-bcbc-2879a2513833" providerId="ADAL" clId="{09BEBDDE-AF5B-9146-8B18-471724E5E3DD}" dt="2023-11-23T21:01:48.502" v="7106" actId="700"/>
          <ac:spMkLst>
            <pc:docMk/>
            <pc:sldMk cId="1007215444" sldId="2147138194"/>
            <ac:spMk id="6" creationId="{F0D1A69A-DF70-8077-C387-005346CFB0C4}"/>
          </ac:spMkLst>
        </pc:spChg>
        <pc:spChg chg="del mod ord">
          <ac:chgData name="Oehrli, Stefan" userId="3f36891e-f853-43e7-bcbc-2879a2513833" providerId="ADAL" clId="{09BEBDDE-AF5B-9146-8B18-471724E5E3DD}" dt="2023-11-23T21:01:48.502" v="7106" actId="700"/>
          <ac:spMkLst>
            <pc:docMk/>
            <pc:sldMk cId="1007215444" sldId="2147138194"/>
            <ac:spMk id="7" creationId="{427C096F-14E9-0063-969C-0765857E90E7}"/>
          </ac:spMkLst>
        </pc:spChg>
        <pc:spChg chg="add mod ord">
          <ac:chgData name="Oehrli, Stefan" userId="3f36891e-f853-43e7-bcbc-2879a2513833" providerId="ADAL" clId="{09BEBDDE-AF5B-9146-8B18-471724E5E3DD}" dt="2023-11-23T21:01:48.502" v="7106" actId="700"/>
          <ac:spMkLst>
            <pc:docMk/>
            <pc:sldMk cId="1007215444" sldId="2147138194"/>
            <ac:spMk id="8" creationId="{64E437E4-F8D9-D499-1F74-BBBE36717BDB}"/>
          </ac:spMkLst>
        </pc:spChg>
        <pc:spChg chg="add mod ord">
          <ac:chgData name="Oehrli, Stefan" userId="3f36891e-f853-43e7-bcbc-2879a2513833" providerId="ADAL" clId="{09BEBDDE-AF5B-9146-8B18-471724E5E3DD}" dt="2023-11-23T21:01:48.502" v="7106" actId="700"/>
          <ac:spMkLst>
            <pc:docMk/>
            <pc:sldMk cId="1007215444" sldId="2147138194"/>
            <ac:spMk id="9" creationId="{D6728AEA-AB60-E7F0-A515-B7BD4D6B4858}"/>
          </ac:spMkLst>
        </pc:spChg>
        <pc:spChg chg="add mod ord">
          <ac:chgData name="Oehrli, Stefan" userId="3f36891e-f853-43e7-bcbc-2879a2513833" providerId="ADAL" clId="{09BEBDDE-AF5B-9146-8B18-471724E5E3DD}" dt="2023-11-23T21:01:48.502" v="7106" actId="700"/>
          <ac:spMkLst>
            <pc:docMk/>
            <pc:sldMk cId="1007215444" sldId="2147138194"/>
            <ac:spMk id="10" creationId="{966FA6AF-5FCE-A40A-2967-A2B125B17315}"/>
          </ac:spMkLst>
        </pc:spChg>
        <pc:spChg chg="add mod ord">
          <ac:chgData name="Oehrli, Stefan" userId="3f36891e-f853-43e7-bcbc-2879a2513833" providerId="ADAL" clId="{09BEBDDE-AF5B-9146-8B18-471724E5E3DD}" dt="2023-11-23T21:01:48.502" v="7106" actId="700"/>
          <ac:spMkLst>
            <pc:docMk/>
            <pc:sldMk cId="1007215444" sldId="2147138194"/>
            <ac:spMk id="11" creationId="{3B8021DE-12A5-55A9-B9A9-9BD9733F5E6C}"/>
          </ac:spMkLst>
        </pc:spChg>
        <pc:spChg chg="add mod ord">
          <ac:chgData name="Oehrli, Stefan" userId="3f36891e-f853-43e7-bcbc-2879a2513833" providerId="ADAL" clId="{09BEBDDE-AF5B-9146-8B18-471724E5E3DD}" dt="2023-11-23T21:01:48.502" v="7106" actId="700"/>
          <ac:spMkLst>
            <pc:docMk/>
            <pc:sldMk cId="1007215444" sldId="2147138194"/>
            <ac:spMk id="12" creationId="{EF4B145D-8848-9483-0F6E-F5D29BEEADF2}"/>
          </ac:spMkLst>
        </pc:spChg>
        <pc:spChg chg="add mod ord">
          <ac:chgData name="Oehrli, Stefan" userId="3f36891e-f853-43e7-bcbc-2879a2513833" providerId="ADAL" clId="{09BEBDDE-AF5B-9146-8B18-471724E5E3DD}" dt="2023-11-23T21:01:48.502" v="7106" actId="700"/>
          <ac:spMkLst>
            <pc:docMk/>
            <pc:sldMk cId="1007215444" sldId="2147138194"/>
            <ac:spMk id="13" creationId="{C490EEFD-3542-E8BE-17FB-11717D97C116}"/>
          </ac:spMkLst>
        </pc:spChg>
      </pc:sldChg>
    </pc:docChg>
  </pc:docChgLst>
  <pc:docChgLst>
    <pc:chgData name="Oehrli, Stefan" userId="3f36891e-f853-43e7-bcbc-2879a2513833" providerId="ADAL" clId="{E6976C97-2060-8C46-9F3A-EAFB418BA348}"/>
    <pc:docChg chg="undo redo custSel addSld delSld modSld sldOrd modSection">
      <pc:chgData name="Oehrli, Stefan" userId="3f36891e-f853-43e7-bcbc-2879a2513833" providerId="ADAL" clId="{E6976C97-2060-8C46-9F3A-EAFB418BA348}" dt="2024-05-06T04:02:03.380" v="1672"/>
      <pc:docMkLst>
        <pc:docMk/>
      </pc:docMkLst>
      <pc:sldChg chg="addSp modSp add mod modShow">
        <pc:chgData name="Oehrli, Stefan" userId="3f36891e-f853-43e7-bcbc-2879a2513833" providerId="ADAL" clId="{E6976C97-2060-8C46-9F3A-EAFB418BA348}" dt="2024-04-25T09:20:29.924" v="1372" actId="729"/>
        <pc:sldMkLst>
          <pc:docMk/>
          <pc:sldMk cId="146017791" sldId="274"/>
        </pc:sldMkLst>
        <pc:spChg chg="add mod">
          <ac:chgData name="Oehrli, Stefan" userId="3f36891e-f853-43e7-bcbc-2879a2513833" providerId="ADAL" clId="{E6976C97-2060-8C46-9F3A-EAFB418BA348}" dt="2024-04-25T07:52:05.967" v="1368"/>
          <ac:spMkLst>
            <pc:docMk/>
            <pc:sldMk cId="146017791" sldId="274"/>
            <ac:spMk id="8" creationId="{1B891389-0A1D-9E68-09F4-71821C72EF6C}"/>
          </ac:spMkLst>
        </pc:spChg>
        <pc:spChg chg="add mod">
          <ac:chgData name="Oehrli, Stefan" userId="3f36891e-f853-43e7-bcbc-2879a2513833" providerId="ADAL" clId="{E6976C97-2060-8C46-9F3A-EAFB418BA348}" dt="2024-04-25T07:52:05.967" v="1368"/>
          <ac:spMkLst>
            <pc:docMk/>
            <pc:sldMk cId="146017791" sldId="274"/>
            <ac:spMk id="10" creationId="{88BE103F-3063-075D-3268-441A225446B1}"/>
          </ac:spMkLst>
        </pc:spChg>
      </pc:sldChg>
      <pc:sldChg chg="delSp modSp mod">
        <pc:chgData name="Oehrli, Stefan" userId="3f36891e-f853-43e7-bcbc-2879a2513833" providerId="ADAL" clId="{E6976C97-2060-8C46-9F3A-EAFB418BA348}" dt="2024-04-25T07:52:05.967" v="1368"/>
        <pc:sldMkLst>
          <pc:docMk/>
          <pc:sldMk cId="217193527" sldId="308"/>
        </pc:sldMkLst>
        <pc:spChg chg="del mod">
          <ac:chgData name="Oehrli, Stefan" userId="3f36891e-f853-43e7-bcbc-2879a2513833" providerId="ADAL" clId="{E6976C97-2060-8C46-9F3A-EAFB418BA348}" dt="2024-04-25T07:52:05.967" v="1368"/>
          <ac:spMkLst>
            <pc:docMk/>
            <pc:sldMk cId="217193527" sldId="308"/>
            <ac:spMk id="2" creationId="{632E2813-969E-AAAD-3C7C-2C1A14B7363A}"/>
          </ac:spMkLst>
        </pc:spChg>
      </pc:sldChg>
      <pc:sldChg chg="modSp mod">
        <pc:chgData name="Oehrli, Stefan" userId="3f36891e-f853-43e7-bcbc-2879a2513833" providerId="ADAL" clId="{E6976C97-2060-8C46-9F3A-EAFB418BA348}" dt="2024-04-23T09:09:21.956" v="124"/>
        <pc:sldMkLst>
          <pc:docMk/>
          <pc:sldMk cId="3447450657" sldId="344"/>
        </pc:sldMkLst>
        <pc:spChg chg="mod">
          <ac:chgData name="Oehrli, Stefan" userId="3f36891e-f853-43e7-bcbc-2879a2513833" providerId="ADAL" clId="{E6976C97-2060-8C46-9F3A-EAFB418BA348}" dt="2024-04-23T09:09:21.956" v="124"/>
          <ac:spMkLst>
            <pc:docMk/>
            <pc:sldMk cId="3447450657" sldId="344"/>
            <ac:spMk id="2" creationId="{1F9E552B-AE32-4808-0A30-526769E9FED8}"/>
          </ac:spMkLst>
        </pc:spChg>
        <pc:spChg chg="mod">
          <ac:chgData name="Oehrli, Stefan" userId="3f36891e-f853-43e7-bcbc-2879a2513833" providerId="ADAL" clId="{E6976C97-2060-8C46-9F3A-EAFB418BA348}" dt="2024-04-23T09:08:53.837" v="88" actId="20577"/>
          <ac:spMkLst>
            <pc:docMk/>
            <pc:sldMk cId="3447450657" sldId="344"/>
            <ac:spMk id="3" creationId="{71629877-83F9-C3AD-1532-9D122387E409}"/>
          </ac:spMkLst>
        </pc:spChg>
      </pc:sldChg>
      <pc:sldChg chg="del">
        <pc:chgData name="Oehrli, Stefan" userId="3f36891e-f853-43e7-bcbc-2879a2513833" providerId="ADAL" clId="{E6976C97-2060-8C46-9F3A-EAFB418BA348}" dt="2024-04-23T08:13:45.425" v="78" actId="2696"/>
        <pc:sldMkLst>
          <pc:docMk/>
          <pc:sldMk cId="2239675501" sldId="2147138090"/>
        </pc:sldMkLst>
      </pc:sldChg>
      <pc:sldChg chg="addSp modSp mod">
        <pc:chgData name="Oehrli, Stefan" userId="3f36891e-f853-43e7-bcbc-2879a2513833" providerId="ADAL" clId="{E6976C97-2060-8C46-9F3A-EAFB418BA348}" dt="2024-04-25T07:52:05.967" v="1368"/>
        <pc:sldMkLst>
          <pc:docMk/>
          <pc:sldMk cId="2241462360" sldId="2147138091"/>
        </pc:sldMkLst>
        <pc:spChg chg="mod">
          <ac:chgData name="Oehrli, Stefan" userId="3f36891e-f853-43e7-bcbc-2879a2513833" providerId="ADAL" clId="{E6976C97-2060-8C46-9F3A-EAFB418BA348}" dt="2024-04-23T08:10:35.888" v="40"/>
          <ac:spMkLst>
            <pc:docMk/>
            <pc:sldMk cId="2241462360" sldId="2147138091"/>
            <ac:spMk id="6" creationId="{4D3A3F73-ABFD-0E9F-AF7F-3208152178B9}"/>
          </ac:spMkLst>
        </pc:spChg>
        <pc:spChg chg="mod">
          <ac:chgData name="Oehrli, Stefan" userId="3f36891e-f853-43e7-bcbc-2879a2513833" providerId="ADAL" clId="{E6976C97-2060-8C46-9F3A-EAFB418BA348}" dt="2024-04-23T08:10:35.888" v="40"/>
          <ac:spMkLst>
            <pc:docMk/>
            <pc:sldMk cId="2241462360" sldId="2147138091"/>
            <ac:spMk id="7" creationId="{762E0E26-569F-90A5-618E-E911913B7279}"/>
          </ac:spMkLst>
        </pc:spChg>
        <pc:spChg chg="mod">
          <ac:chgData name="Oehrli, Stefan" userId="3f36891e-f853-43e7-bcbc-2879a2513833" providerId="ADAL" clId="{E6976C97-2060-8C46-9F3A-EAFB418BA348}" dt="2024-04-23T08:10:35.888" v="40"/>
          <ac:spMkLst>
            <pc:docMk/>
            <pc:sldMk cId="2241462360" sldId="2147138091"/>
            <ac:spMk id="8" creationId="{28AD319D-D9CC-C651-F145-A751D10AC2EE}"/>
          </ac:spMkLst>
        </pc:spChg>
        <pc:spChg chg="mod">
          <ac:chgData name="Oehrli, Stefan" userId="3f36891e-f853-43e7-bcbc-2879a2513833" providerId="ADAL" clId="{E6976C97-2060-8C46-9F3A-EAFB418BA348}" dt="2024-04-23T08:10:35.888" v="40"/>
          <ac:spMkLst>
            <pc:docMk/>
            <pc:sldMk cId="2241462360" sldId="2147138091"/>
            <ac:spMk id="10" creationId="{2F583B6A-C013-9DCE-4707-B78B4C2B5D9C}"/>
          </ac:spMkLst>
        </pc:spChg>
        <pc:spChg chg="mod">
          <ac:chgData name="Oehrli, Stefan" userId="3f36891e-f853-43e7-bcbc-2879a2513833" providerId="ADAL" clId="{E6976C97-2060-8C46-9F3A-EAFB418BA348}" dt="2024-04-23T08:10:35.888" v="40"/>
          <ac:spMkLst>
            <pc:docMk/>
            <pc:sldMk cId="2241462360" sldId="2147138091"/>
            <ac:spMk id="11" creationId="{6241594B-ABA2-DA80-3BFF-2C3554422283}"/>
          </ac:spMkLst>
        </pc:spChg>
        <pc:spChg chg="mod">
          <ac:chgData name="Oehrli, Stefan" userId="3f36891e-f853-43e7-bcbc-2879a2513833" providerId="ADAL" clId="{E6976C97-2060-8C46-9F3A-EAFB418BA348}" dt="2024-04-23T08:10:35.888" v="40"/>
          <ac:spMkLst>
            <pc:docMk/>
            <pc:sldMk cId="2241462360" sldId="2147138091"/>
            <ac:spMk id="12" creationId="{1F8F2DA7-1F29-1A77-B265-EDDB1244731E}"/>
          </ac:spMkLst>
        </pc:spChg>
        <pc:spChg chg="mod">
          <ac:chgData name="Oehrli, Stefan" userId="3f36891e-f853-43e7-bcbc-2879a2513833" providerId="ADAL" clId="{E6976C97-2060-8C46-9F3A-EAFB418BA348}" dt="2024-04-23T08:10:35.888" v="40"/>
          <ac:spMkLst>
            <pc:docMk/>
            <pc:sldMk cId="2241462360" sldId="2147138091"/>
            <ac:spMk id="13" creationId="{96215404-7E90-DED9-C946-D70FBE506152}"/>
          </ac:spMkLst>
        </pc:spChg>
        <pc:spChg chg="mod">
          <ac:chgData name="Oehrli, Stefan" userId="3f36891e-f853-43e7-bcbc-2879a2513833" providerId="ADAL" clId="{E6976C97-2060-8C46-9F3A-EAFB418BA348}" dt="2024-04-23T08:10:35.888" v="40"/>
          <ac:spMkLst>
            <pc:docMk/>
            <pc:sldMk cId="2241462360" sldId="2147138091"/>
            <ac:spMk id="14" creationId="{574F81E6-B613-9DD0-E28E-1932930C8438}"/>
          </ac:spMkLst>
        </pc:spChg>
        <pc:spChg chg="mod">
          <ac:chgData name="Oehrli, Stefan" userId="3f36891e-f853-43e7-bcbc-2879a2513833" providerId="ADAL" clId="{E6976C97-2060-8C46-9F3A-EAFB418BA348}" dt="2024-04-23T08:10:35.888" v="40"/>
          <ac:spMkLst>
            <pc:docMk/>
            <pc:sldMk cId="2241462360" sldId="2147138091"/>
            <ac:spMk id="15" creationId="{3F4F41D3-60FC-AB33-FC9C-BD75EDB18E36}"/>
          </ac:spMkLst>
        </pc:spChg>
        <pc:spChg chg="mod">
          <ac:chgData name="Oehrli, Stefan" userId="3f36891e-f853-43e7-bcbc-2879a2513833" providerId="ADAL" clId="{E6976C97-2060-8C46-9F3A-EAFB418BA348}" dt="2024-04-23T08:10:33.131" v="39" actId="20577"/>
          <ac:spMkLst>
            <pc:docMk/>
            <pc:sldMk cId="2241462360" sldId="2147138091"/>
            <ac:spMk id="17" creationId="{0EB2A3E7-FA19-C093-52DD-22855C4C3CAA}"/>
          </ac:spMkLst>
        </pc:spChg>
        <pc:spChg chg="mod">
          <ac:chgData name="Oehrli, Stefan" userId="3f36891e-f853-43e7-bcbc-2879a2513833" providerId="ADAL" clId="{E6976C97-2060-8C46-9F3A-EAFB418BA348}" dt="2024-04-23T08:12:23.710" v="57" actId="1076"/>
          <ac:spMkLst>
            <pc:docMk/>
            <pc:sldMk cId="2241462360" sldId="2147138091"/>
            <ac:spMk id="21" creationId="{F6FAE0B8-1014-2959-9803-3BE200AAD638}"/>
          </ac:spMkLst>
        </pc:spChg>
        <pc:spChg chg="mod">
          <ac:chgData name="Oehrli, Stefan" userId="3f36891e-f853-43e7-bcbc-2879a2513833" providerId="ADAL" clId="{E6976C97-2060-8C46-9F3A-EAFB418BA348}" dt="2024-04-23T08:12:23.710" v="57" actId="1076"/>
          <ac:spMkLst>
            <pc:docMk/>
            <pc:sldMk cId="2241462360" sldId="2147138091"/>
            <ac:spMk id="22" creationId="{3B04D1A6-A8A8-B21F-DCBA-A874C0092007}"/>
          </ac:spMkLst>
        </pc:spChg>
        <pc:spChg chg="mod">
          <ac:chgData name="Oehrli, Stefan" userId="3f36891e-f853-43e7-bcbc-2879a2513833" providerId="ADAL" clId="{E6976C97-2060-8C46-9F3A-EAFB418BA348}" dt="2024-04-23T08:12:23.710" v="57" actId="1076"/>
          <ac:spMkLst>
            <pc:docMk/>
            <pc:sldMk cId="2241462360" sldId="2147138091"/>
            <ac:spMk id="23" creationId="{794FCA43-8DCB-8D5D-A840-A0C372A37E87}"/>
          </ac:spMkLst>
        </pc:spChg>
        <pc:spChg chg="mod">
          <ac:chgData name="Oehrli, Stefan" userId="3f36891e-f853-43e7-bcbc-2879a2513833" providerId="ADAL" clId="{E6976C97-2060-8C46-9F3A-EAFB418BA348}" dt="2024-04-23T08:12:23.710" v="57" actId="1076"/>
          <ac:spMkLst>
            <pc:docMk/>
            <pc:sldMk cId="2241462360" sldId="2147138091"/>
            <ac:spMk id="25" creationId="{9E09B3D6-68D3-4625-3879-638801586451}"/>
          </ac:spMkLst>
        </pc:spChg>
        <pc:spChg chg="mod">
          <ac:chgData name="Oehrli, Stefan" userId="3f36891e-f853-43e7-bcbc-2879a2513833" providerId="ADAL" clId="{E6976C97-2060-8C46-9F3A-EAFB418BA348}" dt="2024-04-23T08:12:23.710" v="57" actId="1076"/>
          <ac:spMkLst>
            <pc:docMk/>
            <pc:sldMk cId="2241462360" sldId="2147138091"/>
            <ac:spMk id="26" creationId="{BC837DD7-E529-D7D4-B720-0BE9B88793D9}"/>
          </ac:spMkLst>
        </pc:spChg>
        <pc:spChg chg="mod">
          <ac:chgData name="Oehrli, Stefan" userId="3f36891e-f853-43e7-bcbc-2879a2513833" providerId="ADAL" clId="{E6976C97-2060-8C46-9F3A-EAFB418BA348}" dt="2024-04-23T08:12:23.710" v="57" actId="1076"/>
          <ac:spMkLst>
            <pc:docMk/>
            <pc:sldMk cId="2241462360" sldId="2147138091"/>
            <ac:spMk id="27" creationId="{F93ED3C9-408F-9F9A-6C24-09E85D284B5B}"/>
          </ac:spMkLst>
        </pc:spChg>
        <pc:spChg chg="mod">
          <ac:chgData name="Oehrli, Stefan" userId="3f36891e-f853-43e7-bcbc-2879a2513833" providerId="ADAL" clId="{E6976C97-2060-8C46-9F3A-EAFB418BA348}" dt="2024-04-23T08:12:23.710" v="57" actId="1076"/>
          <ac:spMkLst>
            <pc:docMk/>
            <pc:sldMk cId="2241462360" sldId="2147138091"/>
            <ac:spMk id="28" creationId="{6A3E7BB3-E6D0-4728-4C11-4FD5847703D4}"/>
          </ac:spMkLst>
        </pc:spChg>
        <pc:spChg chg="mod">
          <ac:chgData name="Oehrli, Stefan" userId="3f36891e-f853-43e7-bcbc-2879a2513833" providerId="ADAL" clId="{E6976C97-2060-8C46-9F3A-EAFB418BA348}" dt="2024-04-23T08:12:23.710" v="57" actId="1076"/>
          <ac:spMkLst>
            <pc:docMk/>
            <pc:sldMk cId="2241462360" sldId="2147138091"/>
            <ac:spMk id="33" creationId="{4B776AD4-07CA-2F71-90F1-AD8750861D53}"/>
          </ac:spMkLst>
        </pc:spChg>
        <pc:spChg chg="mod">
          <ac:chgData name="Oehrli, Stefan" userId="3f36891e-f853-43e7-bcbc-2879a2513833" providerId="ADAL" clId="{E6976C97-2060-8C46-9F3A-EAFB418BA348}" dt="2024-04-23T08:12:23.710" v="57" actId="1076"/>
          <ac:spMkLst>
            <pc:docMk/>
            <pc:sldMk cId="2241462360" sldId="2147138091"/>
            <ac:spMk id="36" creationId="{723F06DB-8A4E-72A8-F2B3-1B0260ED9F9B}"/>
          </ac:spMkLst>
        </pc:spChg>
        <pc:spChg chg="add mod">
          <ac:chgData name="Oehrli, Stefan" userId="3f36891e-f853-43e7-bcbc-2879a2513833" providerId="ADAL" clId="{E6976C97-2060-8C46-9F3A-EAFB418BA348}" dt="2024-04-25T07:52:05.967" v="1368"/>
          <ac:spMkLst>
            <pc:docMk/>
            <pc:sldMk cId="2241462360" sldId="2147138091"/>
            <ac:spMk id="40" creationId="{2F79E84A-F8F1-F320-9F99-8460024C83FF}"/>
          </ac:spMkLst>
        </pc:spChg>
        <pc:spChg chg="add mod">
          <ac:chgData name="Oehrli, Stefan" userId="3f36891e-f853-43e7-bcbc-2879a2513833" providerId="ADAL" clId="{E6976C97-2060-8C46-9F3A-EAFB418BA348}" dt="2024-04-25T07:52:05.967" v="1368"/>
          <ac:spMkLst>
            <pc:docMk/>
            <pc:sldMk cId="2241462360" sldId="2147138091"/>
            <ac:spMk id="41" creationId="{0428C4AA-3DC1-C788-99F9-DE74D951FC62}"/>
          </ac:spMkLst>
        </pc:spChg>
        <pc:grpChg chg="add mod">
          <ac:chgData name="Oehrli, Stefan" userId="3f36891e-f853-43e7-bcbc-2879a2513833" providerId="ADAL" clId="{E6976C97-2060-8C46-9F3A-EAFB418BA348}" dt="2024-04-23T08:10:35.888" v="40"/>
          <ac:grpSpMkLst>
            <pc:docMk/>
            <pc:sldMk cId="2241462360" sldId="2147138091"/>
            <ac:grpSpMk id="5" creationId="{0ED0B158-9444-370F-BB5D-16E6C85FEC08}"/>
          </ac:grpSpMkLst>
        </pc:grpChg>
        <pc:grpChg chg="add mod">
          <ac:chgData name="Oehrli, Stefan" userId="3f36891e-f853-43e7-bcbc-2879a2513833" providerId="ADAL" clId="{E6976C97-2060-8C46-9F3A-EAFB418BA348}" dt="2024-04-23T08:10:35.888" v="40"/>
          <ac:grpSpMkLst>
            <pc:docMk/>
            <pc:sldMk cId="2241462360" sldId="2147138091"/>
            <ac:grpSpMk id="9" creationId="{E689E83D-A7E8-48B9-BFB0-FB838D123875}"/>
          </ac:grpSpMkLst>
        </pc:grpChg>
        <pc:grpChg chg="add mod">
          <ac:chgData name="Oehrli, Stefan" userId="3f36891e-f853-43e7-bcbc-2879a2513833" providerId="ADAL" clId="{E6976C97-2060-8C46-9F3A-EAFB418BA348}" dt="2024-04-23T08:12:23.710" v="57" actId="1076"/>
          <ac:grpSpMkLst>
            <pc:docMk/>
            <pc:sldMk cId="2241462360" sldId="2147138091"/>
            <ac:grpSpMk id="16" creationId="{41CFAB29-83AB-BB4E-3827-1DD384EC7236}"/>
          </ac:grpSpMkLst>
        </pc:grpChg>
        <pc:grpChg chg="add mod">
          <ac:chgData name="Oehrli, Stefan" userId="3f36891e-f853-43e7-bcbc-2879a2513833" providerId="ADAL" clId="{E6976C97-2060-8C46-9F3A-EAFB418BA348}" dt="2024-04-23T08:12:23.710" v="57" actId="1076"/>
          <ac:grpSpMkLst>
            <pc:docMk/>
            <pc:sldMk cId="2241462360" sldId="2147138091"/>
            <ac:grpSpMk id="24" creationId="{9ADF6806-5DBE-6864-62D3-A832282A8622}"/>
          </ac:grpSpMkLst>
        </pc:grpChg>
        <pc:grpChg chg="add mod">
          <ac:chgData name="Oehrli, Stefan" userId="3f36891e-f853-43e7-bcbc-2879a2513833" providerId="ADAL" clId="{E6976C97-2060-8C46-9F3A-EAFB418BA348}" dt="2024-04-23T08:12:23.710" v="57" actId="1076"/>
          <ac:grpSpMkLst>
            <pc:docMk/>
            <pc:sldMk cId="2241462360" sldId="2147138091"/>
            <ac:grpSpMk id="37" creationId="{98171000-07B5-D604-3B1D-D17E2FF369C0}"/>
          </ac:grpSpMkLst>
        </pc:grpChg>
        <pc:picChg chg="mod">
          <ac:chgData name="Oehrli, Stefan" userId="3f36891e-f853-43e7-bcbc-2879a2513833" providerId="ADAL" clId="{E6976C97-2060-8C46-9F3A-EAFB418BA348}" dt="2024-04-23T08:09:25.865" v="34" actId="1076"/>
          <ac:picMkLst>
            <pc:docMk/>
            <pc:sldMk cId="2241462360" sldId="2147138091"/>
            <ac:picMk id="3" creationId="{EA690C77-120F-E5E0-063D-D1ABCE284564}"/>
          </ac:picMkLst>
        </pc:picChg>
        <pc:picChg chg="add mod">
          <ac:chgData name="Oehrli, Stefan" userId="3f36891e-f853-43e7-bcbc-2879a2513833" providerId="ADAL" clId="{E6976C97-2060-8C46-9F3A-EAFB418BA348}" dt="2024-04-23T08:12:35.781" v="59" actId="1076"/>
          <ac:picMkLst>
            <pc:docMk/>
            <pc:sldMk cId="2241462360" sldId="2147138091"/>
            <ac:picMk id="4" creationId="{BDA661E5-2CB1-4379-3D9C-82BF4C5BC6E7}"/>
          </ac:picMkLst>
        </pc:picChg>
        <pc:picChg chg="mod">
          <ac:chgData name="Oehrli, Stefan" userId="3f36891e-f853-43e7-bcbc-2879a2513833" providerId="ADAL" clId="{E6976C97-2060-8C46-9F3A-EAFB418BA348}" dt="2024-04-24T11:47:18.447" v="1335" actId="1076"/>
          <ac:picMkLst>
            <pc:docMk/>
            <pc:sldMk cId="2241462360" sldId="2147138091"/>
            <ac:picMk id="34" creationId="{C3B20B5A-1BFC-13EB-9061-96EF4F5F5183}"/>
          </ac:picMkLst>
        </pc:picChg>
        <pc:picChg chg="mod">
          <ac:chgData name="Oehrli, Stefan" userId="3f36891e-f853-43e7-bcbc-2879a2513833" providerId="ADAL" clId="{E6976C97-2060-8C46-9F3A-EAFB418BA348}" dt="2024-04-23T08:12:34.198" v="58" actId="1076"/>
          <ac:picMkLst>
            <pc:docMk/>
            <pc:sldMk cId="2241462360" sldId="2147138091"/>
            <ac:picMk id="35" creationId="{73ABD427-27CE-C838-0454-7938396B4941}"/>
          </ac:picMkLst>
        </pc:picChg>
        <pc:picChg chg="add mod">
          <ac:chgData name="Oehrli, Stefan" userId="3f36891e-f853-43e7-bcbc-2879a2513833" providerId="ADAL" clId="{E6976C97-2060-8C46-9F3A-EAFB418BA348}" dt="2024-04-24T11:47:22.714" v="1336" actId="1076"/>
          <ac:picMkLst>
            <pc:docMk/>
            <pc:sldMk cId="2241462360" sldId="2147138091"/>
            <ac:picMk id="39" creationId="{F008A5C9-0680-8150-43AA-CC938A873B9D}"/>
          </ac:picMkLst>
        </pc:picChg>
      </pc:sldChg>
      <pc:sldChg chg="addSp modSp">
        <pc:chgData name="Oehrli, Stefan" userId="3f36891e-f853-43e7-bcbc-2879a2513833" providerId="ADAL" clId="{E6976C97-2060-8C46-9F3A-EAFB418BA348}" dt="2024-04-25T07:52:05.967" v="1368"/>
        <pc:sldMkLst>
          <pc:docMk/>
          <pc:sldMk cId="1940722524" sldId="2147138093"/>
        </pc:sldMkLst>
        <pc:spChg chg="add mod">
          <ac:chgData name="Oehrli, Stefan" userId="3f36891e-f853-43e7-bcbc-2879a2513833" providerId="ADAL" clId="{E6976C97-2060-8C46-9F3A-EAFB418BA348}" dt="2024-04-25T07:52:05.967" v="1368"/>
          <ac:spMkLst>
            <pc:docMk/>
            <pc:sldMk cId="1940722524" sldId="2147138093"/>
            <ac:spMk id="2" creationId="{1D95CD04-2E72-94CA-1695-06D2661124D4}"/>
          </ac:spMkLst>
        </pc:spChg>
        <pc:spChg chg="add mod">
          <ac:chgData name="Oehrli, Stefan" userId="3f36891e-f853-43e7-bcbc-2879a2513833" providerId="ADAL" clId="{E6976C97-2060-8C46-9F3A-EAFB418BA348}" dt="2024-04-25T07:52:05.967" v="1368"/>
          <ac:spMkLst>
            <pc:docMk/>
            <pc:sldMk cId="1940722524" sldId="2147138093"/>
            <ac:spMk id="6" creationId="{AE12DF74-6875-4776-5A5E-AB6D2EE0A121}"/>
          </ac:spMkLst>
        </pc:spChg>
      </pc:sldChg>
      <pc:sldChg chg="addSp modSp mod">
        <pc:chgData name="Oehrli, Stefan" userId="3f36891e-f853-43e7-bcbc-2879a2513833" providerId="ADAL" clId="{E6976C97-2060-8C46-9F3A-EAFB418BA348}" dt="2024-04-25T07:52:05.967" v="1368"/>
        <pc:sldMkLst>
          <pc:docMk/>
          <pc:sldMk cId="2229416787" sldId="2147138095"/>
        </pc:sldMkLst>
        <pc:spChg chg="mod">
          <ac:chgData name="Oehrli, Stefan" userId="3f36891e-f853-43e7-bcbc-2879a2513833" providerId="ADAL" clId="{E6976C97-2060-8C46-9F3A-EAFB418BA348}" dt="2024-04-24T10:39:11.911" v="1323"/>
          <ac:spMkLst>
            <pc:docMk/>
            <pc:sldMk cId="2229416787" sldId="2147138095"/>
            <ac:spMk id="2" creationId="{FB74AED1-4003-E9C6-8D3B-2D77752399C3}"/>
          </ac:spMkLst>
        </pc:spChg>
        <pc:spChg chg="mod">
          <ac:chgData name="Oehrli, Stefan" userId="3f36891e-f853-43e7-bcbc-2879a2513833" providerId="ADAL" clId="{E6976C97-2060-8C46-9F3A-EAFB418BA348}" dt="2024-04-24T10:37:55.341" v="1273" actId="20577"/>
          <ac:spMkLst>
            <pc:docMk/>
            <pc:sldMk cId="2229416787" sldId="2147138095"/>
            <ac:spMk id="4" creationId="{946CA6F4-9448-6AD4-6D2E-3FBD4BF7C6FB}"/>
          </ac:spMkLst>
        </pc:spChg>
        <pc:spChg chg="add mod">
          <ac:chgData name="Oehrli, Stefan" userId="3f36891e-f853-43e7-bcbc-2879a2513833" providerId="ADAL" clId="{E6976C97-2060-8C46-9F3A-EAFB418BA348}" dt="2024-04-24T11:46:50.299" v="1330"/>
          <ac:spMkLst>
            <pc:docMk/>
            <pc:sldMk cId="2229416787" sldId="2147138095"/>
            <ac:spMk id="6" creationId="{E96460D5-755C-CF0E-3441-6B7B412A5B64}"/>
          </ac:spMkLst>
        </pc:spChg>
        <pc:spChg chg="add mod">
          <ac:chgData name="Oehrli, Stefan" userId="3f36891e-f853-43e7-bcbc-2879a2513833" providerId="ADAL" clId="{E6976C97-2060-8C46-9F3A-EAFB418BA348}" dt="2024-04-25T07:52:05.967" v="1368"/>
          <ac:spMkLst>
            <pc:docMk/>
            <pc:sldMk cId="2229416787" sldId="2147138095"/>
            <ac:spMk id="7" creationId="{835C1A82-2C06-99A6-0802-3BB1028C7131}"/>
          </ac:spMkLst>
        </pc:spChg>
        <pc:spChg chg="add mod">
          <ac:chgData name="Oehrli, Stefan" userId="3f36891e-f853-43e7-bcbc-2879a2513833" providerId="ADAL" clId="{E6976C97-2060-8C46-9F3A-EAFB418BA348}" dt="2024-04-25T07:52:05.967" v="1368"/>
          <ac:spMkLst>
            <pc:docMk/>
            <pc:sldMk cId="2229416787" sldId="2147138095"/>
            <ac:spMk id="8" creationId="{43D8C4E2-F175-9457-3861-81B5C2EC5631}"/>
          </ac:spMkLst>
        </pc:spChg>
      </pc:sldChg>
      <pc:sldChg chg="addSp modSp">
        <pc:chgData name="Oehrli, Stefan" userId="3f36891e-f853-43e7-bcbc-2879a2513833" providerId="ADAL" clId="{E6976C97-2060-8C46-9F3A-EAFB418BA348}" dt="2024-04-25T07:52:05.967" v="1368"/>
        <pc:sldMkLst>
          <pc:docMk/>
          <pc:sldMk cId="3058612435" sldId="2147138096"/>
        </pc:sldMkLst>
        <pc:spChg chg="add mod">
          <ac:chgData name="Oehrli, Stefan" userId="3f36891e-f853-43e7-bcbc-2879a2513833" providerId="ADAL" clId="{E6976C97-2060-8C46-9F3A-EAFB418BA348}" dt="2024-04-25T07:52:05.967" v="1368"/>
          <ac:spMkLst>
            <pc:docMk/>
            <pc:sldMk cId="3058612435" sldId="2147138096"/>
            <ac:spMk id="6" creationId="{D2213CD2-223F-1E87-47F3-C33BBE22875B}"/>
          </ac:spMkLst>
        </pc:spChg>
        <pc:spChg chg="add mod">
          <ac:chgData name="Oehrli, Stefan" userId="3f36891e-f853-43e7-bcbc-2879a2513833" providerId="ADAL" clId="{E6976C97-2060-8C46-9F3A-EAFB418BA348}" dt="2024-04-25T07:52:05.967" v="1368"/>
          <ac:spMkLst>
            <pc:docMk/>
            <pc:sldMk cId="3058612435" sldId="2147138096"/>
            <ac:spMk id="7" creationId="{81C13459-FC72-2B7A-68FE-89D706478147}"/>
          </ac:spMkLst>
        </pc:spChg>
      </pc:sldChg>
      <pc:sldChg chg="addSp modSp">
        <pc:chgData name="Oehrli, Stefan" userId="3f36891e-f853-43e7-bcbc-2879a2513833" providerId="ADAL" clId="{E6976C97-2060-8C46-9F3A-EAFB418BA348}" dt="2024-04-25T07:52:05.967" v="1368"/>
        <pc:sldMkLst>
          <pc:docMk/>
          <pc:sldMk cId="379875072" sldId="2147138097"/>
        </pc:sldMkLst>
        <pc:spChg chg="add mod">
          <ac:chgData name="Oehrli, Stefan" userId="3f36891e-f853-43e7-bcbc-2879a2513833" providerId="ADAL" clId="{E6976C97-2060-8C46-9F3A-EAFB418BA348}" dt="2024-04-25T07:52:05.967" v="1368"/>
          <ac:spMkLst>
            <pc:docMk/>
            <pc:sldMk cId="379875072" sldId="2147138097"/>
            <ac:spMk id="5" creationId="{35F63FB1-7ED9-49A4-D640-816577B91267}"/>
          </ac:spMkLst>
        </pc:spChg>
        <pc:spChg chg="add mod">
          <ac:chgData name="Oehrli, Stefan" userId="3f36891e-f853-43e7-bcbc-2879a2513833" providerId="ADAL" clId="{E6976C97-2060-8C46-9F3A-EAFB418BA348}" dt="2024-04-25T07:52:05.967" v="1368"/>
          <ac:spMkLst>
            <pc:docMk/>
            <pc:sldMk cId="379875072" sldId="2147138097"/>
            <ac:spMk id="8" creationId="{81D6E3C4-425D-B7C7-E57B-EC5C9D274F63}"/>
          </ac:spMkLst>
        </pc:spChg>
      </pc:sldChg>
      <pc:sldChg chg="addSp modSp">
        <pc:chgData name="Oehrli, Stefan" userId="3f36891e-f853-43e7-bcbc-2879a2513833" providerId="ADAL" clId="{E6976C97-2060-8C46-9F3A-EAFB418BA348}" dt="2024-04-25T07:52:05.967" v="1368"/>
        <pc:sldMkLst>
          <pc:docMk/>
          <pc:sldMk cId="3474791128" sldId="2147138098"/>
        </pc:sldMkLst>
        <pc:spChg chg="add mod">
          <ac:chgData name="Oehrli, Stefan" userId="3f36891e-f853-43e7-bcbc-2879a2513833" providerId="ADAL" clId="{E6976C97-2060-8C46-9F3A-EAFB418BA348}" dt="2024-04-25T07:52:05.967" v="1368"/>
          <ac:spMkLst>
            <pc:docMk/>
            <pc:sldMk cId="3474791128" sldId="2147138098"/>
            <ac:spMk id="6" creationId="{17290F91-E7D7-37A9-5D26-DC201AF53D93}"/>
          </ac:spMkLst>
        </pc:spChg>
        <pc:spChg chg="add mod">
          <ac:chgData name="Oehrli, Stefan" userId="3f36891e-f853-43e7-bcbc-2879a2513833" providerId="ADAL" clId="{E6976C97-2060-8C46-9F3A-EAFB418BA348}" dt="2024-04-25T07:52:05.967" v="1368"/>
          <ac:spMkLst>
            <pc:docMk/>
            <pc:sldMk cId="3474791128" sldId="2147138098"/>
            <ac:spMk id="7" creationId="{583CCA56-8178-0A2B-744D-5C814291B3A1}"/>
          </ac:spMkLst>
        </pc:spChg>
      </pc:sldChg>
      <pc:sldChg chg="addSp delSp mod addAnim delAnim modShow">
        <pc:chgData name="Oehrli, Stefan" userId="3f36891e-f853-43e7-bcbc-2879a2513833" providerId="ADAL" clId="{E6976C97-2060-8C46-9F3A-EAFB418BA348}" dt="2024-04-25T09:20:26.110" v="1371" actId="729"/>
        <pc:sldMkLst>
          <pc:docMk/>
          <pc:sldMk cId="3843352936" sldId="2147138100"/>
        </pc:sldMkLst>
        <pc:picChg chg="add del">
          <ac:chgData name="Oehrli, Stefan" userId="3f36891e-f853-43e7-bcbc-2879a2513833" providerId="ADAL" clId="{E6976C97-2060-8C46-9F3A-EAFB418BA348}" dt="2024-04-23T09:37:13.218" v="405" actId="478"/>
          <ac:picMkLst>
            <pc:docMk/>
            <pc:sldMk cId="3843352936" sldId="2147138100"/>
            <ac:picMk id="11" creationId="{D877CA97-1685-A632-3CF6-9641F5B2E675}"/>
          </ac:picMkLst>
        </pc:picChg>
      </pc:sldChg>
      <pc:sldChg chg="modSp">
        <pc:chgData name="Oehrli, Stefan" userId="3f36891e-f853-43e7-bcbc-2879a2513833" providerId="ADAL" clId="{E6976C97-2060-8C46-9F3A-EAFB418BA348}" dt="2024-04-24T12:16:56.857" v="1337" actId="790"/>
        <pc:sldMkLst>
          <pc:docMk/>
          <pc:sldMk cId="288964143" sldId="2147138101"/>
        </pc:sldMkLst>
        <pc:spChg chg="mod">
          <ac:chgData name="Oehrli, Stefan" userId="3f36891e-f853-43e7-bcbc-2879a2513833" providerId="ADAL" clId="{E6976C97-2060-8C46-9F3A-EAFB418BA348}" dt="2024-04-24T12:16:56.857" v="1337" actId="790"/>
          <ac:spMkLst>
            <pc:docMk/>
            <pc:sldMk cId="288964143" sldId="2147138101"/>
            <ac:spMk id="8" creationId="{5EE79F3A-A0A9-701D-5D8B-7F8B130B5732}"/>
          </ac:spMkLst>
        </pc:spChg>
      </pc:sldChg>
      <pc:sldChg chg="modSp">
        <pc:chgData name="Oehrli, Stefan" userId="3f36891e-f853-43e7-bcbc-2879a2513833" providerId="ADAL" clId="{E6976C97-2060-8C46-9F3A-EAFB418BA348}" dt="2024-04-24T10:36:25.922" v="1268" actId="20577"/>
        <pc:sldMkLst>
          <pc:docMk/>
          <pc:sldMk cId="3368936083" sldId="2147138109"/>
        </pc:sldMkLst>
        <pc:spChg chg="mod">
          <ac:chgData name="Oehrli, Stefan" userId="3f36891e-f853-43e7-bcbc-2879a2513833" providerId="ADAL" clId="{E6976C97-2060-8C46-9F3A-EAFB418BA348}" dt="2024-04-24T10:36:25.922" v="1268" actId="20577"/>
          <ac:spMkLst>
            <pc:docMk/>
            <pc:sldMk cId="3368936083" sldId="2147138109"/>
            <ac:spMk id="3" creationId="{9C018C55-05F7-440F-D0D1-4C23FD52D6AF}"/>
          </ac:spMkLst>
        </pc:spChg>
      </pc:sldChg>
      <pc:sldChg chg="modSp mod">
        <pc:chgData name="Oehrli, Stefan" userId="3f36891e-f853-43e7-bcbc-2879a2513833" providerId="ADAL" clId="{E6976C97-2060-8C46-9F3A-EAFB418BA348}" dt="2024-04-23T14:02:31.592" v="863" actId="20577"/>
        <pc:sldMkLst>
          <pc:docMk/>
          <pc:sldMk cId="4159375980" sldId="2147138110"/>
        </pc:sldMkLst>
        <pc:spChg chg="mod">
          <ac:chgData name="Oehrli, Stefan" userId="3f36891e-f853-43e7-bcbc-2879a2513833" providerId="ADAL" clId="{E6976C97-2060-8C46-9F3A-EAFB418BA348}" dt="2024-04-23T14:02:31.592" v="863" actId="20577"/>
          <ac:spMkLst>
            <pc:docMk/>
            <pc:sldMk cId="4159375980" sldId="2147138110"/>
            <ac:spMk id="9" creationId="{2033E105-22FF-3F94-15F0-366E8E86D770}"/>
          </ac:spMkLst>
        </pc:spChg>
      </pc:sldChg>
      <pc:sldChg chg="addSp delSp modSp mod">
        <pc:chgData name="Oehrli, Stefan" userId="3f36891e-f853-43e7-bcbc-2879a2513833" providerId="ADAL" clId="{E6976C97-2060-8C46-9F3A-EAFB418BA348}" dt="2024-04-23T14:26:40.180" v="1085" actId="14100"/>
        <pc:sldMkLst>
          <pc:docMk/>
          <pc:sldMk cId="2826333923" sldId="2147138119"/>
        </pc:sldMkLst>
        <pc:spChg chg="add del mod">
          <ac:chgData name="Oehrli, Stefan" userId="3f36891e-f853-43e7-bcbc-2879a2513833" providerId="ADAL" clId="{E6976C97-2060-8C46-9F3A-EAFB418BA348}" dt="2024-04-23T14:26:23.306" v="1081"/>
          <ac:spMkLst>
            <pc:docMk/>
            <pc:sldMk cId="2826333923" sldId="2147138119"/>
            <ac:spMk id="3" creationId="{000E3A59-48F8-D476-7E62-B8063DF294FC}"/>
          </ac:spMkLst>
        </pc:spChg>
        <pc:spChg chg="add del mod">
          <ac:chgData name="Oehrli, Stefan" userId="3f36891e-f853-43e7-bcbc-2879a2513833" providerId="ADAL" clId="{E6976C97-2060-8C46-9F3A-EAFB418BA348}" dt="2024-04-23T14:26:35.835" v="1083"/>
          <ac:spMkLst>
            <pc:docMk/>
            <pc:sldMk cId="2826333923" sldId="2147138119"/>
            <ac:spMk id="8" creationId="{283AE6A0-6130-F942-E7F6-150400E8D992}"/>
          </ac:spMkLst>
        </pc:spChg>
        <pc:picChg chg="add del mod">
          <ac:chgData name="Oehrli, Stefan" userId="3f36891e-f853-43e7-bcbc-2879a2513833" providerId="ADAL" clId="{E6976C97-2060-8C46-9F3A-EAFB418BA348}" dt="2024-04-23T14:26:34.815" v="1082" actId="478"/>
          <ac:picMkLst>
            <pc:docMk/>
            <pc:sldMk cId="2826333923" sldId="2147138119"/>
            <ac:picMk id="4" creationId="{67022554-A129-6EC5-21DE-1911F948BD31}"/>
          </ac:picMkLst>
        </pc:picChg>
        <pc:picChg chg="add mod">
          <ac:chgData name="Oehrli, Stefan" userId="3f36891e-f853-43e7-bcbc-2879a2513833" providerId="ADAL" clId="{E6976C97-2060-8C46-9F3A-EAFB418BA348}" dt="2024-04-23T14:26:40.180" v="1085" actId="14100"/>
          <ac:picMkLst>
            <pc:docMk/>
            <pc:sldMk cId="2826333923" sldId="2147138119"/>
            <ac:picMk id="9" creationId="{EDFE5C45-D888-C4E6-8730-0B50FED24CAD}"/>
          </ac:picMkLst>
        </pc:picChg>
        <pc:picChg chg="del">
          <ac:chgData name="Oehrli, Stefan" userId="3f36891e-f853-43e7-bcbc-2879a2513833" providerId="ADAL" clId="{E6976C97-2060-8C46-9F3A-EAFB418BA348}" dt="2024-04-23T14:26:07.289" v="1080" actId="478"/>
          <ac:picMkLst>
            <pc:docMk/>
            <pc:sldMk cId="2826333923" sldId="2147138119"/>
            <ac:picMk id="14" creationId="{5DDB58A2-B3C7-10E5-2E6A-227AB4475995}"/>
          </ac:picMkLst>
        </pc:picChg>
      </pc:sldChg>
      <pc:sldChg chg="modSp mod">
        <pc:chgData name="Oehrli, Stefan" userId="3f36891e-f853-43e7-bcbc-2879a2513833" providerId="ADAL" clId="{E6976C97-2060-8C46-9F3A-EAFB418BA348}" dt="2024-04-24T10:35:39.038" v="1267" actId="1076"/>
        <pc:sldMkLst>
          <pc:docMk/>
          <pc:sldMk cId="666160610" sldId="2147138121"/>
        </pc:sldMkLst>
        <pc:spChg chg="mod">
          <ac:chgData name="Oehrli, Stefan" userId="3f36891e-f853-43e7-bcbc-2879a2513833" providerId="ADAL" clId="{E6976C97-2060-8C46-9F3A-EAFB418BA348}" dt="2024-04-23T09:10:41.848" v="207" actId="20577"/>
          <ac:spMkLst>
            <pc:docMk/>
            <pc:sldMk cId="666160610" sldId="2147138121"/>
            <ac:spMk id="8" creationId="{7B7C21A9-BA8E-8035-8AF7-8D125C866046}"/>
          </ac:spMkLst>
        </pc:spChg>
        <pc:picChg chg="mod">
          <ac:chgData name="Oehrli, Stefan" userId="3f36891e-f853-43e7-bcbc-2879a2513833" providerId="ADAL" clId="{E6976C97-2060-8C46-9F3A-EAFB418BA348}" dt="2024-04-24T10:35:39.038" v="1267" actId="1076"/>
          <ac:picMkLst>
            <pc:docMk/>
            <pc:sldMk cId="666160610" sldId="2147138121"/>
            <ac:picMk id="19" creationId="{5B4FC075-4F81-DA69-730F-84B41EA31162}"/>
          </ac:picMkLst>
        </pc:picChg>
      </pc:sldChg>
      <pc:sldChg chg="modSp mod">
        <pc:chgData name="Oehrli, Stefan" userId="3f36891e-f853-43e7-bcbc-2879a2513833" providerId="ADAL" clId="{E6976C97-2060-8C46-9F3A-EAFB418BA348}" dt="2024-04-23T09:41:34.396" v="452" actId="14100"/>
        <pc:sldMkLst>
          <pc:docMk/>
          <pc:sldMk cId="608967408" sldId="2147138183"/>
        </pc:sldMkLst>
        <pc:spChg chg="mod">
          <ac:chgData name="Oehrli, Stefan" userId="3f36891e-f853-43e7-bcbc-2879a2513833" providerId="ADAL" clId="{E6976C97-2060-8C46-9F3A-EAFB418BA348}" dt="2024-04-23T09:41:34.396" v="452" actId="14100"/>
          <ac:spMkLst>
            <pc:docMk/>
            <pc:sldMk cId="608967408" sldId="2147138183"/>
            <ac:spMk id="8" creationId="{F722C1A2-8CB2-3FD8-BDA6-16F5D4E58EC0}"/>
          </ac:spMkLst>
        </pc:spChg>
      </pc:sldChg>
      <pc:sldChg chg="modSp mod">
        <pc:chgData name="Oehrli, Stefan" userId="3f36891e-f853-43e7-bcbc-2879a2513833" providerId="ADAL" clId="{E6976C97-2060-8C46-9F3A-EAFB418BA348}" dt="2024-04-23T09:41:46.060" v="458" actId="1076"/>
        <pc:sldMkLst>
          <pc:docMk/>
          <pc:sldMk cId="359752795" sldId="2147138185"/>
        </pc:sldMkLst>
        <pc:spChg chg="mod">
          <ac:chgData name="Oehrli, Stefan" userId="3f36891e-f853-43e7-bcbc-2879a2513833" providerId="ADAL" clId="{E6976C97-2060-8C46-9F3A-EAFB418BA348}" dt="2024-04-23T09:41:27.579" v="447" actId="20577"/>
          <ac:spMkLst>
            <pc:docMk/>
            <pc:sldMk cId="359752795" sldId="2147138185"/>
            <ac:spMk id="3" creationId="{BCDD5297-0405-9219-1F8C-D2FECB445D68}"/>
          </ac:spMkLst>
        </pc:spChg>
        <pc:spChg chg="mod">
          <ac:chgData name="Oehrli, Stefan" userId="3f36891e-f853-43e7-bcbc-2879a2513833" providerId="ADAL" clId="{E6976C97-2060-8C46-9F3A-EAFB418BA348}" dt="2024-04-23T09:41:46.060" v="458" actId="1076"/>
          <ac:spMkLst>
            <pc:docMk/>
            <pc:sldMk cId="359752795" sldId="2147138185"/>
            <ac:spMk id="8" creationId="{FEEC9AB0-CCA6-525D-E878-7FA4B450EEC4}"/>
          </ac:spMkLst>
        </pc:spChg>
      </pc:sldChg>
      <pc:sldChg chg="modSp mod">
        <pc:chgData name="Oehrli, Stefan" userId="3f36891e-f853-43e7-bcbc-2879a2513833" providerId="ADAL" clId="{E6976C97-2060-8C46-9F3A-EAFB418BA348}" dt="2024-04-23T09:12:15.261" v="209" actId="1076"/>
        <pc:sldMkLst>
          <pc:docMk/>
          <pc:sldMk cId="47853685" sldId="2147138186"/>
        </pc:sldMkLst>
        <pc:picChg chg="mod">
          <ac:chgData name="Oehrli, Stefan" userId="3f36891e-f853-43e7-bcbc-2879a2513833" providerId="ADAL" clId="{E6976C97-2060-8C46-9F3A-EAFB418BA348}" dt="2024-04-23T09:12:15.261" v="209" actId="1076"/>
          <ac:picMkLst>
            <pc:docMk/>
            <pc:sldMk cId="47853685" sldId="2147138186"/>
            <ac:picMk id="7" creationId="{C03D7ED1-049D-126A-B88D-196C2D20CE88}"/>
          </ac:picMkLst>
        </pc:picChg>
      </pc:sldChg>
      <pc:sldChg chg="modSp mod modAnim">
        <pc:chgData name="Oehrli, Stefan" userId="3f36891e-f853-43e7-bcbc-2879a2513833" providerId="ADAL" clId="{E6976C97-2060-8C46-9F3A-EAFB418BA348}" dt="2024-05-06T03:54:02.785" v="1427" actId="404"/>
        <pc:sldMkLst>
          <pc:docMk/>
          <pc:sldMk cId="3736502658" sldId="2147138187"/>
        </pc:sldMkLst>
        <pc:spChg chg="mod">
          <ac:chgData name="Oehrli, Stefan" userId="3f36891e-f853-43e7-bcbc-2879a2513833" providerId="ADAL" clId="{E6976C97-2060-8C46-9F3A-EAFB418BA348}" dt="2024-05-06T03:54:02.785" v="1427" actId="404"/>
          <ac:spMkLst>
            <pc:docMk/>
            <pc:sldMk cId="3736502658" sldId="2147138187"/>
            <ac:spMk id="3" creationId="{7345E89E-1AF6-0EEE-F052-FE458C10D639}"/>
          </ac:spMkLst>
        </pc:spChg>
        <pc:picChg chg="mod">
          <ac:chgData name="Oehrli, Stefan" userId="3f36891e-f853-43e7-bcbc-2879a2513833" providerId="ADAL" clId="{E6976C97-2060-8C46-9F3A-EAFB418BA348}" dt="2024-04-25T07:31:05.420" v="1354" actId="1076"/>
          <ac:picMkLst>
            <pc:docMk/>
            <pc:sldMk cId="3736502658" sldId="2147138187"/>
            <ac:picMk id="7" creationId="{F7EF9DDA-76E9-B4C0-19A5-316686C37EDB}"/>
          </ac:picMkLst>
        </pc:picChg>
      </pc:sldChg>
      <pc:sldChg chg="addSp modSp mod modAnim">
        <pc:chgData name="Oehrli, Stefan" userId="3f36891e-f853-43e7-bcbc-2879a2513833" providerId="ADAL" clId="{E6976C97-2060-8C46-9F3A-EAFB418BA348}" dt="2024-05-06T04:02:03.380" v="1672"/>
        <pc:sldMkLst>
          <pc:docMk/>
          <pc:sldMk cId="529553536" sldId="2147138188"/>
        </pc:sldMkLst>
        <pc:spChg chg="mod">
          <ac:chgData name="Oehrli, Stefan" userId="3f36891e-f853-43e7-bcbc-2879a2513833" providerId="ADAL" clId="{E6976C97-2060-8C46-9F3A-EAFB418BA348}" dt="2024-05-06T04:02:03.380" v="1672"/>
          <ac:spMkLst>
            <pc:docMk/>
            <pc:sldMk cId="529553536" sldId="2147138188"/>
            <ac:spMk id="4" creationId="{946CA6F4-9448-6AD4-6D2E-3FBD4BF7C6FB}"/>
          </ac:spMkLst>
        </pc:spChg>
        <pc:spChg chg="add mod">
          <ac:chgData name="Oehrli, Stefan" userId="3f36891e-f853-43e7-bcbc-2879a2513833" providerId="ADAL" clId="{E6976C97-2060-8C46-9F3A-EAFB418BA348}" dt="2024-04-25T07:52:05.967" v="1368"/>
          <ac:spMkLst>
            <pc:docMk/>
            <pc:sldMk cId="529553536" sldId="2147138188"/>
            <ac:spMk id="6" creationId="{78A8C85F-5626-67F6-251F-133648840269}"/>
          </ac:spMkLst>
        </pc:spChg>
        <pc:spChg chg="add mod">
          <ac:chgData name="Oehrli, Stefan" userId="3f36891e-f853-43e7-bcbc-2879a2513833" providerId="ADAL" clId="{E6976C97-2060-8C46-9F3A-EAFB418BA348}" dt="2024-04-25T07:52:05.967" v="1368"/>
          <ac:spMkLst>
            <pc:docMk/>
            <pc:sldMk cId="529553536" sldId="2147138188"/>
            <ac:spMk id="7" creationId="{944FE559-6B7D-4DE5-228C-47E096929592}"/>
          </ac:spMkLst>
        </pc:spChg>
        <pc:picChg chg="mod">
          <ac:chgData name="Oehrli, Stefan" userId="3f36891e-f853-43e7-bcbc-2879a2513833" providerId="ADAL" clId="{E6976C97-2060-8C46-9F3A-EAFB418BA348}" dt="2024-05-06T03:59:13.844" v="1622" actId="1076"/>
          <ac:picMkLst>
            <pc:docMk/>
            <pc:sldMk cId="529553536" sldId="2147138188"/>
            <ac:picMk id="2" creationId="{764922C8-43D4-FBA5-14AB-0C594B9B9E90}"/>
          </ac:picMkLst>
        </pc:picChg>
      </pc:sldChg>
      <pc:sldChg chg="addSp modSp">
        <pc:chgData name="Oehrli, Stefan" userId="3f36891e-f853-43e7-bcbc-2879a2513833" providerId="ADAL" clId="{E6976C97-2060-8C46-9F3A-EAFB418BA348}" dt="2024-04-25T07:52:05.967" v="1368"/>
        <pc:sldMkLst>
          <pc:docMk/>
          <pc:sldMk cId="3307806032" sldId="2147138189"/>
        </pc:sldMkLst>
        <pc:spChg chg="add mod">
          <ac:chgData name="Oehrli, Stefan" userId="3f36891e-f853-43e7-bcbc-2879a2513833" providerId="ADAL" clId="{E6976C97-2060-8C46-9F3A-EAFB418BA348}" dt="2024-04-25T07:52:05.967" v="1368"/>
          <ac:spMkLst>
            <pc:docMk/>
            <pc:sldMk cId="3307806032" sldId="2147138189"/>
            <ac:spMk id="2" creationId="{5DB083CE-42FF-B16C-133D-ED4EABC90FE5}"/>
          </ac:spMkLst>
        </pc:spChg>
        <pc:spChg chg="add mod">
          <ac:chgData name="Oehrli, Stefan" userId="3f36891e-f853-43e7-bcbc-2879a2513833" providerId="ADAL" clId="{E6976C97-2060-8C46-9F3A-EAFB418BA348}" dt="2024-04-25T07:52:05.967" v="1368"/>
          <ac:spMkLst>
            <pc:docMk/>
            <pc:sldMk cId="3307806032" sldId="2147138189"/>
            <ac:spMk id="6" creationId="{46B4C97E-7ECE-6CEB-EE46-6B02B9EE22AA}"/>
          </ac:spMkLst>
        </pc:spChg>
      </pc:sldChg>
      <pc:sldChg chg="addSp modSp mod">
        <pc:chgData name="Oehrli, Stefan" userId="3f36891e-f853-43e7-bcbc-2879a2513833" providerId="ADAL" clId="{E6976C97-2060-8C46-9F3A-EAFB418BA348}" dt="2024-05-06T04:00:10.508" v="1671" actId="20577"/>
        <pc:sldMkLst>
          <pc:docMk/>
          <pc:sldMk cId="2582172254" sldId="2147138190"/>
        </pc:sldMkLst>
        <pc:spChg chg="mod">
          <ac:chgData name="Oehrli, Stefan" userId="3f36891e-f853-43e7-bcbc-2879a2513833" providerId="ADAL" clId="{E6976C97-2060-8C46-9F3A-EAFB418BA348}" dt="2024-05-06T04:00:10.508" v="1671" actId="20577"/>
          <ac:spMkLst>
            <pc:docMk/>
            <pc:sldMk cId="2582172254" sldId="2147138190"/>
            <ac:spMk id="4" creationId="{946CA6F4-9448-6AD4-6D2E-3FBD4BF7C6FB}"/>
          </ac:spMkLst>
        </pc:spChg>
        <pc:spChg chg="add mod">
          <ac:chgData name="Oehrli, Stefan" userId="3f36891e-f853-43e7-bcbc-2879a2513833" providerId="ADAL" clId="{E6976C97-2060-8C46-9F3A-EAFB418BA348}" dt="2024-04-25T07:52:05.967" v="1368"/>
          <ac:spMkLst>
            <pc:docMk/>
            <pc:sldMk cId="2582172254" sldId="2147138190"/>
            <ac:spMk id="6" creationId="{86A8954B-FF95-767D-16CB-B21B36974089}"/>
          </ac:spMkLst>
        </pc:spChg>
        <pc:spChg chg="add mod">
          <ac:chgData name="Oehrli, Stefan" userId="3f36891e-f853-43e7-bcbc-2879a2513833" providerId="ADAL" clId="{E6976C97-2060-8C46-9F3A-EAFB418BA348}" dt="2024-04-25T07:52:05.967" v="1368"/>
          <ac:spMkLst>
            <pc:docMk/>
            <pc:sldMk cId="2582172254" sldId="2147138190"/>
            <ac:spMk id="7" creationId="{2A5E0A26-819B-2A38-9595-90DD7C7D61C3}"/>
          </ac:spMkLst>
        </pc:spChg>
      </pc:sldChg>
      <pc:sldChg chg="addSp delSp modSp del mod modClrScheme chgLayout">
        <pc:chgData name="Oehrli, Stefan" userId="3f36891e-f853-43e7-bcbc-2879a2513833" providerId="ADAL" clId="{E6976C97-2060-8C46-9F3A-EAFB418BA348}" dt="2024-04-25T07:32:02.870" v="1355" actId="2696"/>
        <pc:sldMkLst>
          <pc:docMk/>
          <pc:sldMk cId="354290953" sldId="2147138193"/>
        </pc:sldMkLst>
        <pc:spChg chg="add mod ord">
          <ac:chgData name="Oehrli, Stefan" userId="3f36891e-f853-43e7-bcbc-2879a2513833" providerId="ADAL" clId="{E6976C97-2060-8C46-9F3A-EAFB418BA348}" dt="2024-04-23T09:20:16.016" v="211" actId="700"/>
          <ac:spMkLst>
            <pc:docMk/>
            <pc:sldMk cId="354290953" sldId="2147138193"/>
            <ac:spMk id="2" creationId="{42999F29-3E35-9B4C-A501-61B5364B888D}"/>
          </ac:spMkLst>
        </pc:spChg>
        <pc:spChg chg="mod ord">
          <ac:chgData name="Oehrli, Stefan" userId="3f36891e-f853-43e7-bcbc-2879a2513833" providerId="ADAL" clId="{E6976C97-2060-8C46-9F3A-EAFB418BA348}" dt="2024-04-23T09:20:16.016" v="211" actId="700"/>
          <ac:spMkLst>
            <pc:docMk/>
            <pc:sldMk cId="354290953" sldId="2147138193"/>
            <ac:spMk id="3" creationId="{09270624-DB2F-5790-7394-5247FB7484E4}"/>
          </ac:spMkLst>
        </pc:spChg>
        <pc:spChg chg="mod ord">
          <ac:chgData name="Oehrli, Stefan" userId="3f36891e-f853-43e7-bcbc-2879a2513833" providerId="ADAL" clId="{E6976C97-2060-8C46-9F3A-EAFB418BA348}" dt="2024-04-23T09:20:16.016" v="211" actId="700"/>
          <ac:spMkLst>
            <pc:docMk/>
            <pc:sldMk cId="354290953" sldId="2147138193"/>
            <ac:spMk id="4" creationId="{C0E159C0-DDC6-060B-9E85-4842008AFAF6}"/>
          </ac:spMkLst>
        </pc:spChg>
        <pc:spChg chg="del mod ord">
          <ac:chgData name="Oehrli, Stefan" userId="3f36891e-f853-43e7-bcbc-2879a2513833" providerId="ADAL" clId="{E6976C97-2060-8C46-9F3A-EAFB418BA348}" dt="2024-04-23T09:20:16.016" v="211" actId="700"/>
          <ac:spMkLst>
            <pc:docMk/>
            <pc:sldMk cId="354290953" sldId="2147138193"/>
            <ac:spMk id="5" creationId="{425700E5-E8D3-C4DC-DC24-E8F8452EFD13}"/>
          </ac:spMkLst>
        </pc:spChg>
        <pc:spChg chg="del mod ord">
          <ac:chgData name="Oehrli, Stefan" userId="3f36891e-f853-43e7-bcbc-2879a2513833" providerId="ADAL" clId="{E6976C97-2060-8C46-9F3A-EAFB418BA348}" dt="2024-04-23T09:20:16.016" v="211" actId="700"/>
          <ac:spMkLst>
            <pc:docMk/>
            <pc:sldMk cId="354290953" sldId="2147138193"/>
            <ac:spMk id="6" creationId="{51E811E9-FE9E-A201-2FC9-4DE62FF66868}"/>
          </ac:spMkLst>
        </pc:spChg>
        <pc:spChg chg="del mod ord">
          <ac:chgData name="Oehrli, Stefan" userId="3f36891e-f853-43e7-bcbc-2879a2513833" providerId="ADAL" clId="{E6976C97-2060-8C46-9F3A-EAFB418BA348}" dt="2024-04-23T09:20:16.016" v="211" actId="700"/>
          <ac:spMkLst>
            <pc:docMk/>
            <pc:sldMk cId="354290953" sldId="2147138193"/>
            <ac:spMk id="7" creationId="{C103DB0E-9CBB-1238-0235-D395009C4904}"/>
          </ac:spMkLst>
        </pc:spChg>
        <pc:spChg chg="del">
          <ac:chgData name="Oehrli, Stefan" userId="3f36891e-f853-43e7-bcbc-2879a2513833" providerId="ADAL" clId="{E6976C97-2060-8C46-9F3A-EAFB418BA348}" dt="2024-04-23T09:20:16.016" v="211" actId="700"/>
          <ac:spMkLst>
            <pc:docMk/>
            <pc:sldMk cId="354290953" sldId="2147138193"/>
            <ac:spMk id="8" creationId="{1F5DFDF8-A6DB-7ABE-DF74-401BC979AD5B}"/>
          </ac:spMkLst>
        </pc:spChg>
        <pc:spChg chg="add mod ord">
          <ac:chgData name="Oehrli, Stefan" userId="3f36891e-f853-43e7-bcbc-2879a2513833" providerId="ADAL" clId="{E6976C97-2060-8C46-9F3A-EAFB418BA348}" dt="2024-04-23T14:34:10.538" v="1263" actId="20577"/>
          <ac:spMkLst>
            <pc:docMk/>
            <pc:sldMk cId="354290953" sldId="2147138193"/>
            <ac:spMk id="9" creationId="{FBD96851-6005-03F5-3EDF-B1B1F37DFAAF}"/>
          </ac:spMkLst>
        </pc:spChg>
        <pc:spChg chg="add mod ord">
          <ac:chgData name="Oehrli, Stefan" userId="3f36891e-f853-43e7-bcbc-2879a2513833" providerId="ADAL" clId="{E6976C97-2060-8C46-9F3A-EAFB418BA348}" dt="2024-04-23T09:20:16.016" v="211" actId="700"/>
          <ac:spMkLst>
            <pc:docMk/>
            <pc:sldMk cId="354290953" sldId="2147138193"/>
            <ac:spMk id="10" creationId="{6EFDB57F-5728-2AC6-67D3-89A50C7B0088}"/>
          </ac:spMkLst>
        </pc:spChg>
      </pc:sldChg>
      <pc:sldChg chg="mod modShow">
        <pc:chgData name="Oehrli, Stefan" userId="3f36891e-f853-43e7-bcbc-2879a2513833" providerId="ADAL" clId="{E6976C97-2060-8C46-9F3A-EAFB418BA348}" dt="2024-04-25T07:32:07.930" v="1356" actId="729"/>
        <pc:sldMkLst>
          <pc:docMk/>
          <pc:sldMk cId="1007215444" sldId="2147138194"/>
        </pc:sldMkLst>
      </pc:sldChg>
      <pc:sldChg chg="addSp modSp add mod">
        <pc:chgData name="Oehrli, Stefan" userId="3f36891e-f853-43e7-bcbc-2879a2513833" providerId="ADAL" clId="{E6976C97-2060-8C46-9F3A-EAFB418BA348}" dt="2024-04-25T07:52:05.967" v="1368"/>
        <pc:sldMkLst>
          <pc:docMk/>
          <pc:sldMk cId="3255326133" sldId="2147138195"/>
        </pc:sldMkLst>
        <pc:spChg chg="add mod">
          <ac:chgData name="Oehrli, Stefan" userId="3f36891e-f853-43e7-bcbc-2879a2513833" providerId="ADAL" clId="{E6976C97-2060-8C46-9F3A-EAFB418BA348}" dt="2024-04-25T07:52:05.967" v="1368"/>
          <ac:spMkLst>
            <pc:docMk/>
            <pc:sldMk cId="3255326133" sldId="2147138195"/>
            <ac:spMk id="4" creationId="{8F194001-0E39-FED6-2BAC-7837A930F90B}"/>
          </ac:spMkLst>
        </pc:spChg>
        <pc:spChg chg="add mod">
          <ac:chgData name="Oehrli, Stefan" userId="3f36891e-f853-43e7-bcbc-2879a2513833" providerId="ADAL" clId="{E6976C97-2060-8C46-9F3A-EAFB418BA348}" dt="2024-04-25T07:52:05.967" v="1368"/>
          <ac:spMkLst>
            <pc:docMk/>
            <pc:sldMk cId="3255326133" sldId="2147138195"/>
            <ac:spMk id="5" creationId="{CF6CBAE3-9293-0AD3-C8A9-107BFC6E5089}"/>
          </ac:spMkLst>
        </pc:spChg>
        <pc:spChg chg="mod">
          <ac:chgData name="Oehrli, Stefan" userId="3f36891e-f853-43e7-bcbc-2879a2513833" providerId="ADAL" clId="{E6976C97-2060-8C46-9F3A-EAFB418BA348}" dt="2024-04-23T08:13:38.308" v="77" actId="1036"/>
          <ac:spMkLst>
            <pc:docMk/>
            <pc:sldMk cId="3255326133" sldId="2147138195"/>
            <ac:spMk id="15" creationId="{C33D7343-3A22-4022-A7E9-7FFF163293CA}"/>
          </ac:spMkLst>
        </pc:spChg>
        <pc:spChg chg="mod">
          <ac:chgData name="Oehrli, Stefan" userId="3f36891e-f853-43e7-bcbc-2879a2513833" providerId="ADAL" clId="{E6976C97-2060-8C46-9F3A-EAFB418BA348}" dt="2024-04-23T08:13:51.319" v="85" actId="1036"/>
          <ac:spMkLst>
            <pc:docMk/>
            <pc:sldMk cId="3255326133" sldId="2147138195"/>
            <ac:spMk id="20" creationId="{CD70640B-2E66-4E7A-A3D1-EDE2D07BCF48}"/>
          </ac:spMkLst>
        </pc:spChg>
      </pc:sldChg>
      <pc:sldChg chg="new mod modShow">
        <pc:chgData name="Oehrli, Stefan" userId="3f36891e-f853-43e7-bcbc-2879a2513833" providerId="ADAL" clId="{E6976C97-2060-8C46-9F3A-EAFB418BA348}" dt="2024-04-25T07:32:07.930" v="1356" actId="729"/>
        <pc:sldMkLst>
          <pc:docMk/>
          <pc:sldMk cId="1520814761" sldId="2147138196"/>
        </pc:sldMkLst>
      </pc:sldChg>
      <pc:sldChg chg="delSp add mod delAnim modAnim modShow">
        <pc:chgData name="Oehrli, Stefan" userId="3f36891e-f853-43e7-bcbc-2879a2513833" providerId="ADAL" clId="{E6976C97-2060-8C46-9F3A-EAFB418BA348}" dt="2024-04-25T09:20:23.774" v="1370" actId="729"/>
        <pc:sldMkLst>
          <pc:docMk/>
          <pc:sldMk cId="2500466773" sldId="2147138197"/>
        </pc:sldMkLst>
        <pc:picChg chg="del">
          <ac:chgData name="Oehrli, Stefan" userId="3f36891e-f853-43e7-bcbc-2879a2513833" providerId="ADAL" clId="{E6976C97-2060-8C46-9F3A-EAFB418BA348}" dt="2024-04-23T09:37:22.499" v="409" actId="478"/>
          <ac:picMkLst>
            <pc:docMk/>
            <pc:sldMk cId="2500466773" sldId="2147138197"/>
            <ac:picMk id="11" creationId="{D877CA97-1685-A632-3CF6-9641F5B2E675}"/>
          </ac:picMkLst>
        </pc:picChg>
      </pc:sldChg>
      <pc:sldChg chg="addSp delSp modSp add del mod addAnim delAnim">
        <pc:chgData name="Oehrli, Stefan" userId="3f36891e-f853-43e7-bcbc-2879a2513833" providerId="ADAL" clId="{E6976C97-2060-8C46-9F3A-EAFB418BA348}" dt="2024-04-23T09:37:13.788" v="406" actId="2890"/>
        <pc:sldMkLst>
          <pc:docMk/>
          <pc:sldMk cId="3671199156" sldId="2147138197"/>
        </pc:sldMkLst>
        <pc:spChg chg="add del mod">
          <ac:chgData name="Oehrli, Stefan" userId="3f36891e-f853-43e7-bcbc-2879a2513833" providerId="ADAL" clId="{E6976C97-2060-8C46-9F3A-EAFB418BA348}" dt="2024-04-23T09:37:12.316" v="404" actId="478"/>
          <ac:spMkLst>
            <pc:docMk/>
            <pc:sldMk cId="3671199156" sldId="2147138197"/>
            <ac:spMk id="3" creationId="{5AA1E8DD-E51D-74BA-D095-913B4D81100B}"/>
          </ac:spMkLst>
        </pc:spChg>
        <pc:picChg chg="add del">
          <ac:chgData name="Oehrli, Stefan" userId="3f36891e-f853-43e7-bcbc-2879a2513833" providerId="ADAL" clId="{E6976C97-2060-8C46-9F3A-EAFB418BA348}" dt="2024-04-23T09:37:12.316" v="404" actId="478"/>
          <ac:picMkLst>
            <pc:docMk/>
            <pc:sldMk cId="3671199156" sldId="2147138197"/>
            <ac:picMk id="10" creationId="{ED412094-1908-3F9A-F9B9-E2C15AC731C5}"/>
          </ac:picMkLst>
        </pc:picChg>
        <pc:picChg chg="mod">
          <ac:chgData name="Oehrli, Stefan" userId="3f36891e-f853-43e7-bcbc-2879a2513833" providerId="ADAL" clId="{E6976C97-2060-8C46-9F3A-EAFB418BA348}" dt="2024-04-23T09:36:48.740" v="402" actId="166"/>
          <ac:picMkLst>
            <pc:docMk/>
            <pc:sldMk cId="3671199156" sldId="2147138197"/>
            <ac:picMk id="11" creationId="{D877CA97-1685-A632-3CF6-9641F5B2E675}"/>
          </ac:picMkLst>
        </pc:picChg>
      </pc:sldChg>
      <pc:sldChg chg="addSp delSp modSp add mod modAnim modShow">
        <pc:chgData name="Oehrli, Stefan" userId="3f36891e-f853-43e7-bcbc-2879a2513833" providerId="ADAL" clId="{E6976C97-2060-8C46-9F3A-EAFB418BA348}" dt="2024-04-25T09:20:23.774" v="1370" actId="729"/>
        <pc:sldMkLst>
          <pc:docMk/>
          <pc:sldMk cId="2326204635" sldId="2147138198"/>
        </pc:sldMkLst>
        <pc:spChg chg="add del mod">
          <ac:chgData name="Oehrli, Stefan" userId="3f36891e-f853-43e7-bcbc-2879a2513833" providerId="ADAL" clId="{E6976C97-2060-8C46-9F3A-EAFB418BA348}" dt="2024-04-23T09:37:49.896" v="417" actId="478"/>
          <ac:spMkLst>
            <pc:docMk/>
            <pc:sldMk cId="2326204635" sldId="2147138198"/>
            <ac:spMk id="3" creationId="{D093AF67-4C0C-1F62-04E5-E9FD663FAAD7}"/>
          </ac:spMkLst>
        </pc:spChg>
        <pc:picChg chg="del">
          <ac:chgData name="Oehrli, Stefan" userId="3f36891e-f853-43e7-bcbc-2879a2513833" providerId="ADAL" clId="{E6976C97-2060-8C46-9F3A-EAFB418BA348}" dt="2024-04-23T09:37:47.572" v="416" actId="478"/>
          <ac:picMkLst>
            <pc:docMk/>
            <pc:sldMk cId="2326204635" sldId="2147138198"/>
            <ac:picMk id="10" creationId="{ED412094-1908-3F9A-F9B9-E2C15AC731C5}"/>
          </ac:picMkLst>
        </pc:picChg>
        <pc:picChg chg="add del mod">
          <ac:chgData name="Oehrli, Stefan" userId="3f36891e-f853-43e7-bcbc-2879a2513833" providerId="ADAL" clId="{E6976C97-2060-8C46-9F3A-EAFB418BA348}" dt="2024-04-23T09:37:55.651" v="418" actId="166"/>
          <ac:picMkLst>
            <pc:docMk/>
            <pc:sldMk cId="2326204635" sldId="2147138198"/>
            <ac:picMk id="11" creationId="{D877CA97-1685-A632-3CF6-9641F5B2E675}"/>
          </ac:picMkLst>
        </pc:picChg>
      </pc:sldChg>
      <pc:sldChg chg="addSp delSp modSp new mod ord modClrScheme chgLayout">
        <pc:chgData name="Oehrli, Stefan" userId="3f36891e-f853-43e7-bcbc-2879a2513833" providerId="ADAL" clId="{E6976C97-2060-8C46-9F3A-EAFB418BA348}" dt="2024-04-23T14:00:16.745" v="834" actId="20577"/>
        <pc:sldMkLst>
          <pc:docMk/>
          <pc:sldMk cId="2101678055" sldId="2147138199"/>
        </pc:sldMkLst>
        <pc:spChg chg="mod ord">
          <ac:chgData name="Oehrli, Stefan" userId="3f36891e-f853-43e7-bcbc-2879a2513833" providerId="ADAL" clId="{E6976C97-2060-8C46-9F3A-EAFB418BA348}" dt="2024-04-23T14:00:09.201" v="830"/>
          <ac:spMkLst>
            <pc:docMk/>
            <pc:sldMk cId="2101678055" sldId="2147138199"/>
            <ac:spMk id="2" creationId="{DB31F098-2BB4-812D-24F4-875B62545590}"/>
          </ac:spMkLst>
        </pc:spChg>
        <pc:spChg chg="mod ord">
          <ac:chgData name="Oehrli, Stefan" userId="3f36891e-f853-43e7-bcbc-2879a2513833" providerId="ADAL" clId="{E6976C97-2060-8C46-9F3A-EAFB418BA348}" dt="2024-04-23T14:00:16.745" v="834" actId="20577"/>
          <ac:spMkLst>
            <pc:docMk/>
            <pc:sldMk cId="2101678055" sldId="2147138199"/>
            <ac:spMk id="3" creationId="{478534EA-B75E-1872-8F9D-4F11BB9F3029}"/>
          </ac:spMkLst>
        </pc:spChg>
        <pc:spChg chg="mod ord">
          <ac:chgData name="Oehrli, Stefan" userId="3f36891e-f853-43e7-bcbc-2879a2513833" providerId="ADAL" clId="{E6976C97-2060-8C46-9F3A-EAFB418BA348}" dt="2024-04-23T13:59:55.977" v="827" actId="700"/>
          <ac:spMkLst>
            <pc:docMk/>
            <pc:sldMk cId="2101678055" sldId="2147138199"/>
            <ac:spMk id="4" creationId="{9EA972F4-BCC5-15B9-39B5-8E324FFBF5D2}"/>
          </ac:spMkLst>
        </pc:spChg>
        <pc:spChg chg="mod ord">
          <ac:chgData name="Oehrli, Stefan" userId="3f36891e-f853-43e7-bcbc-2879a2513833" providerId="ADAL" clId="{E6976C97-2060-8C46-9F3A-EAFB418BA348}" dt="2024-04-23T13:59:55.977" v="827" actId="700"/>
          <ac:spMkLst>
            <pc:docMk/>
            <pc:sldMk cId="2101678055" sldId="2147138199"/>
            <ac:spMk id="5" creationId="{BA67CCA9-9E7B-F519-9683-7060FB6BE905}"/>
          </ac:spMkLst>
        </pc:spChg>
        <pc:spChg chg="mod ord">
          <ac:chgData name="Oehrli, Stefan" userId="3f36891e-f853-43e7-bcbc-2879a2513833" providerId="ADAL" clId="{E6976C97-2060-8C46-9F3A-EAFB418BA348}" dt="2024-04-23T13:59:55.977" v="827" actId="700"/>
          <ac:spMkLst>
            <pc:docMk/>
            <pc:sldMk cId="2101678055" sldId="2147138199"/>
            <ac:spMk id="6" creationId="{3937EC73-E5C4-2D89-AF07-D084EEE152B3}"/>
          </ac:spMkLst>
        </pc:spChg>
        <pc:spChg chg="del mod ord">
          <ac:chgData name="Oehrli, Stefan" userId="3f36891e-f853-43e7-bcbc-2879a2513833" providerId="ADAL" clId="{E6976C97-2060-8C46-9F3A-EAFB418BA348}" dt="2024-04-23T13:59:52.754" v="826" actId="478"/>
          <ac:spMkLst>
            <pc:docMk/>
            <pc:sldMk cId="2101678055" sldId="2147138199"/>
            <ac:spMk id="7" creationId="{E26371B9-CF46-3663-FE65-58A6E419B0B7}"/>
          </ac:spMkLst>
        </pc:spChg>
        <pc:spChg chg="add del mod ord">
          <ac:chgData name="Oehrli, Stefan" userId="3f36891e-f853-43e7-bcbc-2879a2513833" providerId="ADAL" clId="{E6976C97-2060-8C46-9F3A-EAFB418BA348}" dt="2024-04-23T13:59:43.411" v="822" actId="478"/>
          <ac:spMkLst>
            <pc:docMk/>
            <pc:sldMk cId="2101678055" sldId="2147138199"/>
            <ac:spMk id="8" creationId="{D38C2A9E-C5B5-7F0B-EF43-A91D86D077CC}"/>
          </ac:spMkLst>
        </pc:spChg>
        <pc:spChg chg="add mod ord">
          <ac:chgData name="Oehrli, Stefan" userId="3f36891e-f853-43e7-bcbc-2879a2513833" providerId="ADAL" clId="{E6976C97-2060-8C46-9F3A-EAFB418BA348}" dt="2024-04-23T14:00:02.878" v="829" actId="14100"/>
          <ac:spMkLst>
            <pc:docMk/>
            <pc:sldMk cId="2101678055" sldId="2147138199"/>
            <ac:spMk id="9" creationId="{F557896F-6925-4B19-D106-ACD4FD6FA540}"/>
          </ac:spMkLst>
        </pc:spChg>
        <pc:spChg chg="add del mod">
          <ac:chgData name="Oehrli, Stefan" userId="3f36891e-f853-43e7-bcbc-2879a2513833" providerId="ADAL" clId="{E6976C97-2060-8C46-9F3A-EAFB418BA348}" dt="2024-04-23T13:59:46.229" v="823" actId="478"/>
          <ac:spMkLst>
            <pc:docMk/>
            <pc:sldMk cId="2101678055" sldId="2147138199"/>
            <ac:spMk id="11" creationId="{6B33DF3D-9E70-F4DF-E447-C0F66E6FAD1A}"/>
          </ac:spMkLst>
        </pc:spChg>
      </pc:sldChg>
      <pc:sldChg chg="addSp delSp modSp new mod modClrScheme chgLayout">
        <pc:chgData name="Oehrli, Stefan" userId="3f36891e-f853-43e7-bcbc-2879a2513833" providerId="ADAL" clId="{E6976C97-2060-8C46-9F3A-EAFB418BA348}" dt="2024-04-23T14:25:07.616" v="1077" actId="114"/>
        <pc:sldMkLst>
          <pc:docMk/>
          <pc:sldMk cId="1125153236" sldId="2147138200"/>
        </pc:sldMkLst>
        <pc:spChg chg="del mod ord">
          <ac:chgData name="Oehrli, Stefan" userId="3f36891e-f853-43e7-bcbc-2879a2513833" providerId="ADAL" clId="{E6976C97-2060-8C46-9F3A-EAFB418BA348}" dt="2024-04-23T14:12:39.381" v="873" actId="700"/>
          <ac:spMkLst>
            <pc:docMk/>
            <pc:sldMk cId="1125153236" sldId="2147138200"/>
            <ac:spMk id="2" creationId="{1AC470ED-78D1-474B-20C5-28B9D4E6453B}"/>
          </ac:spMkLst>
        </pc:spChg>
        <pc:spChg chg="del mod ord">
          <ac:chgData name="Oehrli, Stefan" userId="3f36891e-f853-43e7-bcbc-2879a2513833" providerId="ADAL" clId="{E6976C97-2060-8C46-9F3A-EAFB418BA348}" dt="2024-04-23T14:12:39.381" v="873" actId="700"/>
          <ac:spMkLst>
            <pc:docMk/>
            <pc:sldMk cId="1125153236" sldId="2147138200"/>
            <ac:spMk id="3" creationId="{0D4B32B3-B0E7-7D3F-C619-A526A86F12F5}"/>
          </ac:spMkLst>
        </pc:spChg>
        <pc:spChg chg="del mod ord">
          <ac:chgData name="Oehrli, Stefan" userId="3f36891e-f853-43e7-bcbc-2879a2513833" providerId="ADAL" clId="{E6976C97-2060-8C46-9F3A-EAFB418BA348}" dt="2024-04-23T14:12:39.381" v="873" actId="700"/>
          <ac:spMkLst>
            <pc:docMk/>
            <pc:sldMk cId="1125153236" sldId="2147138200"/>
            <ac:spMk id="4" creationId="{91FD816C-BB24-3E3C-B97C-8C1502D02DAF}"/>
          </ac:spMkLst>
        </pc:spChg>
        <pc:spChg chg="mod ord">
          <ac:chgData name="Oehrli, Stefan" userId="3f36891e-f853-43e7-bcbc-2879a2513833" providerId="ADAL" clId="{E6976C97-2060-8C46-9F3A-EAFB418BA348}" dt="2024-04-23T14:12:39.381" v="873" actId="700"/>
          <ac:spMkLst>
            <pc:docMk/>
            <pc:sldMk cId="1125153236" sldId="2147138200"/>
            <ac:spMk id="5" creationId="{F09E358F-338A-4E64-C3BF-E7A3070F09AA}"/>
          </ac:spMkLst>
        </pc:spChg>
        <pc:spChg chg="mod ord">
          <ac:chgData name="Oehrli, Stefan" userId="3f36891e-f853-43e7-bcbc-2879a2513833" providerId="ADAL" clId="{E6976C97-2060-8C46-9F3A-EAFB418BA348}" dt="2024-04-23T14:12:39.381" v="873" actId="700"/>
          <ac:spMkLst>
            <pc:docMk/>
            <pc:sldMk cId="1125153236" sldId="2147138200"/>
            <ac:spMk id="6" creationId="{0C42D28D-851E-8729-BC7A-C54854DCEF9F}"/>
          </ac:spMkLst>
        </pc:spChg>
        <pc:spChg chg="del mod">
          <ac:chgData name="Oehrli, Stefan" userId="3f36891e-f853-43e7-bcbc-2879a2513833" providerId="ADAL" clId="{E6976C97-2060-8C46-9F3A-EAFB418BA348}" dt="2024-04-23T14:12:39.381" v="873" actId="700"/>
          <ac:spMkLst>
            <pc:docMk/>
            <pc:sldMk cId="1125153236" sldId="2147138200"/>
            <ac:spMk id="7" creationId="{57A0203A-3A9D-DC79-662E-366CEB94F17C}"/>
          </ac:spMkLst>
        </pc:spChg>
        <pc:spChg chg="add mod ord">
          <ac:chgData name="Oehrli, Stefan" userId="3f36891e-f853-43e7-bcbc-2879a2513833" providerId="ADAL" clId="{E6976C97-2060-8C46-9F3A-EAFB418BA348}" dt="2024-04-23T14:19:27.399" v="1026" actId="20577"/>
          <ac:spMkLst>
            <pc:docMk/>
            <pc:sldMk cId="1125153236" sldId="2147138200"/>
            <ac:spMk id="8" creationId="{8869E05B-381A-F239-FD9F-1276999A25B3}"/>
          </ac:spMkLst>
        </pc:spChg>
        <pc:spChg chg="add del mod ord">
          <ac:chgData name="Oehrli, Stefan" userId="3f36891e-f853-43e7-bcbc-2879a2513833" providerId="ADAL" clId="{E6976C97-2060-8C46-9F3A-EAFB418BA348}" dt="2024-04-23T14:12:58.807" v="876" actId="3680"/>
          <ac:spMkLst>
            <pc:docMk/>
            <pc:sldMk cId="1125153236" sldId="2147138200"/>
            <ac:spMk id="9" creationId="{B73A2A35-9C68-B9B1-8475-EE407D2D529F}"/>
          </ac:spMkLst>
        </pc:spChg>
        <pc:spChg chg="add mod ord">
          <ac:chgData name="Oehrli, Stefan" userId="3f36891e-f853-43e7-bcbc-2879a2513833" providerId="ADAL" clId="{E6976C97-2060-8C46-9F3A-EAFB418BA348}" dt="2024-04-23T14:20:16.976" v="1027"/>
          <ac:spMkLst>
            <pc:docMk/>
            <pc:sldMk cId="1125153236" sldId="2147138200"/>
            <ac:spMk id="10" creationId="{25629252-61C1-6814-770B-95663B0AC3D0}"/>
          </ac:spMkLst>
        </pc:spChg>
        <pc:spChg chg="add mod">
          <ac:chgData name="Oehrli, Stefan" userId="3f36891e-f853-43e7-bcbc-2879a2513833" providerId="ADAL" clId="{E6976C97-2060-8C46-9F3A-EAFB418BA348}" dt="2024-04-23T14:25:07.616" v="1077" actId="114"/>
          <ac:spMkLst>
            <pc:docMk/>
            <pc:sldMk cId="1125153236" sldId="2147138200"/>
            <ac:spMk id="13" creationId="{C6BEBD63-243B-B92C-B20F-A1BBCE5241D1}"/>
          </ac:spMkLst>
        </pc:spChg>
        <pc:graphicFrameChg chg="add del mod ord modGraphic">
          <ac:chgData name="Oehrli, Stefan" userId="3f36891e-f853-43e7-bcbc-2879a2513833" providerId="ADAL" clId="{E6976C97-2060-8C46-9F3A-EAFB418BA348}" dt="2024-04-23T14:12:49.618" v="875" actId="3680"/>
          <ac:graphicFrameMkLst>
            <pc:docMk/>
            <pc:sldMk cId="1125153236" sldId="2147138200"/>
            <ac:graphicFrameMk id="11" creationId="{18F89489-7245-45E0-5FCA-8C2FAC96BD09}"/>
          </ac:graphicFrameMkLst>
        </pc:graphicFrameChg>
        <pc:graphicFrameChg chg="add mod ord modGraphic">
          <ac:chgData name="Oehrli, Stefan" userId="3f36891e-f853-43e7-bcbc-2879a2513833" providerId="ADAL" clId="{E6976C97-2060-8C46-9F3A-EAFB418BA348}" dt="2024-04-23T14:24:11.008" v="1059" actId="14100"/>
          <ac:graphicFrameMkLst>
            <pc:docMk/>
            <pc:sldMk cId="1125153236" sldId="2147138200"/>
            <ac:graphicFrameMk id="12" creationId="{27A28D25-8376-0042-E745-07F85BEEA568}"/>
          </ac:graphicFrameMkLst>
        </pc:graphicFrameChg>
      </pc:sldChg>
      <pc:sldChg chg="addSp delSp modSp new mod modClrScheme chgLayout">
        <pc:chgData name="Oehrli, Stefan" userId="3f36891e-f853-43e7-bcbc-2879a2513833" providerId="ADAL" clId="{E6976C97-2060-8C46-9F3A-EAFB418BA348}" dt="2024-04-23T14:33:53.515" v="1261" actId="14100"/>
        <pc:sldMkLst>
          <pc:docMk/>
          <pc:sldMk cId="2363004670" sldId="2147138201"/>
        </pc:sldMkLst>
        <pc:spChg chg="mod ord">
          <ac:chgData name="Oehrli, Stefan" userId="3f36891e-f853-43e7-bcbc-2879a2513833" providerId="ADAL" clId="{E6976C97-2060-8C46-9F3A-EAFB418BA348}" dt="2024-04-23T14:33:39.189" v="1255" actId="700"/>
          <ac:spMkLst>
            <pc:docMk/>
            <pc:sldMk cId="2363004670" sldId="2147138201"/>
            <ac:spMk id="2" creationId="{734E9B7A-1720-76C7-7875-A6786DD3D299}"/>
          </ac:spMkLst>
        </pc:spChg>
        <pc:spChg chg="mod ord">
          <ac:chgData name="Oehrli, Stefan" userId="3f36891e-f853-43e7-bcbc-2879a2513833" providerId="ADAL" clId="{E6976C97-2060-8C46-9F3A-EAFB418BA348}" dt="2024-04-23T14:33:53.515" v="1261" actId="14100"/>
          <ac:spMkLst>
            <pc:docMk/>
            <pc:sldMk cId="2363004670" sldId="2147138201"/>
            <ac:spMk id="3" creationId="{996D2F5D-8248-5FB3-C041-B036C08D3B78}"/>
          </ac:spMkLst>
        </pc:spChg>
        <pc:spChg chg="mod ord">
          <ac:chgData name="Oehrli, Stefan" userId="3f36891e-f853-43e7-bcbc-2879a2513833" providerId="ADAL" clId="{E6976C97-2060-8C46-9F3A-EAFB418BA348}" dt="2024-04-23T14:33:39.189" v="1255" actId="700"/>
          <ac:spMkLst>
            <pc:docMk/>
            <pc:sldMk cId="2363004670" sldId="2147138201"/>
            <ac:spMk id="4" creationId="{9CD8E2B0-CDFC-5203-5EB1-352B85303E1F}"/>
          </ac:spMkLst>
        </pc:spChg>
        <pc:spChg chg="mod ord">
          <ac:chgData name="Oehrli, Stefan" userId="3f36891e-f853-43e7-bcbc-2879a2513833" providerId="ADAL" clId="{E6976C97-2060-8C46-9F3A-EAFB418BA348}" dt="2024-04-23T14:33:39.189" v="1255" actId="700"/>
          <ac:spMkLst>
            <pc:docMk/>
            <pc:sldMk cId="2363004670" sldId="2147138201"/>
            <ac:spMk id="5" creationId="{3FA49A9B-502B-90BE-AA15-72CF774D9788}"/>
          </ac:spMkLst>
        </pc:spChg>
        <pc:spChg chg="mod ord">
          <ac:chgData name="Oehrli, Stefan" userId="3f36891e-f853-43e7-bcbc-2879a2513833" providerId="ADAL" clId="{E6976C97-2060-8C46-9F3A-EAFB418BA348}" dt="2024-04-23T14:33:39.189" v="1255" actId="700"/>
          <ac:spMkLst>
            <pc:docMk/>
            <pc:sldMk cId="2363004670" sldId="2147138201"/>
            <ac:spMk id="6" creationId="{8BF86A08-2693-82ED-14AF-2F999DFAA1B4}"/>
          </ac:spMkLst>
        </pc:spChg>
        <pc:spChg chg="del">
          <ac:chgData name="Oehrli, Stefan" userId="3f36891e-f853-43e7-bcbc-2879a2513833" providerId="ADAL" clId="{E6976C97-2060-8C46-9F3A-EAFB418BA348}" dt="2024-04-23T14:32:22.836" v="1249" actId="700"/>
          <ac:spMkLst>
            <pc:docMk/>
            <pc:sldMk cId="2363004670" sldId="2147138201"/>
            <ac:spMk id="7" creationId="{DCB32908-C2E0-FD5E-41AB-9FDE0D054E3F}"/>
          </ac:spMkLst>
        </pc:spChg>
        <pc:spChg chg="add del mod ord">
          <ac:chgData name="Oehrli, Stefan" userId="3f36891e-f853-43e7-bcbc-2879a2513833" providerId="ADAL" clId="{E6976C97-2060-8C46-9F3A-EAFB418BA348}" dt="2024-04-23T14:33:41.695" v="1256"/>
          <ac:spMkLst>
            <pc:docMk/>
            <pc:sldMk cId="2363004670" sldId="2147138201"/>
            <ac:spMk id="8" creationId="{005358AC-64B5-FEF3-FAE7-CF74788A45B2}"/>
          </ac:spMkLst>
        </pc:spChg>
        <pc:picChg chg="add mod">
          <ac:chgData name="Oehrli, Stefan" userId="3f36891e-f853-43e7-bcbc-2879a2513833" providerId="ADAL" clId="{E6976C97-2060-8C46-9F3A-EAFB418BA348}" dt="2024-04-23T14:33:49.632" v="1260" actId="1076"/>
          <ac:picMkLst>
            <pc:docMk/>
            <pc:sldMk cId="2363004670" sldId="2147138201"/>
            <ac:picMk id="9" creationId="{E8661E3D-8FFD-247A-E114-DF3D8F458F46}"/>
          </ac:picMkLst>
        </pc:picChg>
      </pc:sldChg>
    </pc:docChg>
  </pc:docChgLst>
  <pc:docChgLst>
    <pc:chgData name="Oehrli, Stefan" userId="3f36891e-f853-43e7-bcbc-2879a2513833" providerId="ADAL" clId="{BEB5DB81-D722-724F-85CE-75021972ADA7}"/>
    <pc:docChg chg="undo custSel addSld delSld modSld sldOrd modSection">
      <pc:chgData name="Oehrli, Stefan" userId="3f36891e-f853-43e7-bcbc-2879a2513833" providerId="ADAL" clId="{BEB5DB81-D722-724F-85CE-75021972ADA7}" dt="2023-04-04T18:33:52.092" v="6260" actId="20577"/>
      <pc:docMkLst>
        <pc:docMk/>
      </pc:docMkLst>
      <pc:sldChg chg="modSp mod">
        <pc:chgData name="Oehrli, Stefan" userId="3f36891e-f853-43e7-bcbc-2879a2513833" providerId="ADAL" clId="{BEB5DB81-D722-724F-85CE-75021972ADA7}" dt="2023-04-03T20:39:26.762" v="1290" actId="20577"/>
        <pc:sldMkLst>
          <pc:docMk/>
          <pc:sldMk cId="3447450657" sldId="344"/>
        </pc:sldMkLst>
        <pc:spChg chg="mod">
          <ac:chgData name="Oehrli, Stefan" userId="3f36891e-f853-43e7-bcbc-2879a2513833" providerId="ADAL" clId="{BEB5DB81-D722-724F-85CE-75021972ADA7}" dt="2023-04-03T20:38:45.488" v="1279"/>
          <ac:spMkLst>
            <pc:docMk/>
            <pc:sldMk cId="3447450657" sldId="344"/>
            <ac:spMk id="8" creationId="{3B72ACB7-875F-88E1-8FF9-E339AB5CEA90}"/>
          </ac:spMkLst>
        </pc:spChg>
        <pc:spChg chg="mod">
          <ac:chgData name="Oehrli, Stefan" userId="3f36891e-f853-43e7-bcbc-2879a2513833" providerId="ADAL" clId="{BEB5DB81-D722-724F-85CE-75021972ADA7}" dt="2023-04-03T20:38:44.193" v="1278" actId="21"/>
          <ac:spMkLst>
            <pc:docMk/>
            <pc:sldMk cId="3447450657" sldId="344"/>
            <ac:spMk id="9" creationId="{4722DDC2-84AC-744A-549D-84D37EC6E174}"/>
          </ac:spMkLst>
        </pc:spChg>
        <pc:spChg chg="mod">
          <ac:chgData name="Oehrli, Stefan" userId="3f36891e-f853-43e7-bcbc-2879a2513833" providerId="ADAL" clId="{BEB5DB81-D722-724F-85CE-75021972ADA7}" dt="2023-04-03T20:39:26.762" v="1290" actId="20577"/>
          <ac:spMkLst>
            <pc:docMk/>
            <pc:sldMk cId="3447450657" sldId="344"/>
            <ac:spMk id="10" creationId="{2510B16E-5797-8D5D-1A8B-7AEBFCCACEC2}"/>
          </ac:spMkLst>
        </pc:spChg>
      </pc:sldChg>
      <pc:sldChg chg="mod modShow">
        <pc:chgData name="Oehrli, Stefan" userId="3f36891e-f853-43e7-bcbc-2879a2513833" providerId="ADAL" clId="{BEB5DB81-D722-724F-85CE-75021972ADA7}" dt="2023-04-03T21:43:43.924" v="2892" actId="729"/>
        <pc:sldMkLst>
          <pc:docMk/>
          <pc:sldMk cId="2850394091" sldId="458"/>
        </pc:sldMkLst>
      </pc:sldChg>
      <pc:sldChg chg="modSp mod">
        <pc:chgData name="Oehrli, Stefan" userId="3f36891e-f853-43e7-bcbc-2879a2513833" providerId="ADAL" clId="{BEB5DB81-D722-724F-85CE-75021972ADA7}" dt="2023-04-03T20:38:55.777" v="1280" actId="20577"/>
        <pc:sldMkLst>
          <pc:docMk/>
          <pc:sldMk cId="472890992" sldId="463"/>
        </pc:sldMkLst>
        <pc:spChg chg="mod">
          <ac:chgData name="Oehrli, Stefan" userId="3f36891e-f853-43e7-bcbc-2879a2513833" providerId="ADAL" clId="{BEB5DB81-D722-724F-85CE-75021972ADA7}" dt="2023-04-03T20:38:55.777" v="1280" actId="20577"/>
          <ac:spMkLst>
            <pc:docMk/>
            <pc:sldMk cId="472890992" sldId="463"/>
            <ac:spMk id="3" creationId="{321964B1-400E-60C1-07DD-E5DA125F2DE4}"/>
          </ac:spMkLst>
        </pc:spChg>
      </pc:sldChg>
      <pc:sldChg chg="modSp mod">
        <pc:chgData name="Oehrli, Stefan" userId="3f36891e-f853-43e7-bcbc-2879a2513833" providerId="ADAL" clId="{BEB5DB81-D722-724F-85CE-75021972ADA7}" dt="2023-04-03T20:49:19.881" v="1825"/>
        <pc:sldMkLst>
          <pc:docMk/>
          <pc:sldMk cId="1625272212" sldId="464"/>
        </pc:sldMkLst>
        <pc:spChg chg="mod">
          <ac:chgData name="Oehrli, Stefan" userId="3f36891e-f853-43e7-bcbc-2879a2513833" providerId="ADAL" clId="{BEB5DB81-D722-724F-85CE-75021972ADA7}" dt="2023-04-03T20:39:00.333" v="1282" actId="20577"/>
          <ac:spMkLst>
            <pc:docMk/>
            <pc:sldMk cId="1625272212" sldId="464"/>
            <ac:spMk id="3" creationId="{D13591C9-121C-8337-ED36-8FBC79879363}"/>
          </ac:spMkLst>
        </pc:spChg>
        <pc:spChg chg="mod">
          <ac:chgData name="Oehrli, Stefan" userId="3f36891e-f853-43e7-bcbc-2879a2513833" providerId="ADAL" clId="{BEB5DB81-D722-724F-85CE-75021972ADA7}" dt="2023-04-03T20:49:19.881" v="1825"/>
          <ac:spMkLst>
            <pc:docMk/>
            <pc:sldMk cId="1625272212" sldId="464"/>
            <ac:spMk id="4" creationId="{BA0812C7-5101-1582-9B26-0594EDDF2511}"/>
          </ac:spMkLst>
        </pc:spChg>
      </pc:sldChg>
      <pc:sldChg chg="modSp mod ord">
        <pc:chgData name="Oehrli, Stefan" userId="3f36891e-f853-43e7-bcbc-2879a2513833" providerId="ADAL" clId="{BEB5DB81-D722-724F-85CE-75021972ADA7}" dt="2023-04-03T20:38:09.730" v="1270" actId="20577"/>
        <pc:sldMkLst>
          <pc:docMk/>
          <pc:sldMk cId="3850440555" sldId="465"/>
        </pc:sldMkLst>
        <pc:spChg chg="mod">
          <ac:chgData name="Oehrli, Stefan" userId="3f36891e-f853-43e7-bcbc-2879a2513833" providerId="ADAL" clId="{BEB5DB81-D722-724F-85CE-75021972ADA7}" dt="2023-04-03T20:38:09.730" v="1270" actId="20577"/>
          <ac:spMkLst>
            <pc:docMk/>
            <pc:sldMk cId="3850440555" sldId="465"/>
            <ac:spMk id="3" creationId="{32EC780A-CC4D-8F17-D824-D04A8B01C89D}"/>
          </ac:spMkLst>
        </pc:spChg>
      </pc:sldChg>
      <pc:sldChg chg="modSp mod">
        <pc:chgData name="Oehrli, Stefan" userId="3f36891e-f853-43e7-bcbc-2879a2513833" providerId="ADAL" clId="{BEB5DB81-D722-724F-85CE-75021972ADA7}" dt="2023-04-03T20:39:06.798" v="1287" actId="20577"/>
        <pc:sldMkLst>
          <pc:docMk/>
          <pc:sldMk cId="936731009" sldId="466"/>
        </pc:sldMkLst>
        <pc:spChg chg="mod">
          <ac:chgData name="Oehrli, Stefan" userId="3f36891e-f853-43e7-bcbc-2879a2513833" providerId="ADAL" clId="{BEB5DB81-D722-724F-85CE-75021972ADA7}" dt="2023-04-03T20:39:06.798" v="1287" actId="20577"/>
          <ac:spMkLst>
            <pc:docMk/>
            <pc:sldMk cId="936731009" sldId="466"/>
            <ac:spMk id="3" creationId="{E134B6D7-B842-E873-0FF6-6DFB153E459D}"/>
          </ac:spMkLst>
        </pc:spChg>
      </pc:sldChg>
      <pc:sldChg chg="modSp mod">
        <pc:chgData name="Oehrli, Stefan" userId="3f36891e-f853-43e7-bcbc-2879a2513833" providerId="ADAL" clId="{BEB5DB81-D722-724F-85CE-75021972ADA7}" dt="2023-04-03T20:39:14.595" v="1288" actId="20577"/>
        <pc:sldMkLst>
          <pc:docMk/>
          <pc:sldMk cId="3156609275" sldId="467"/>
        </pc:sldMkLst>
        <pc:spChg chg="mod">
          <ac:chgData name="Oehrli, Stefan" userId="3f36891e-f853-43e7-bcbc-2879a2513833" providerId="ADAL" clId="{BEB5DB81-D722-724F-85CE-75021972ADA7}" dt="2023-04-03T20:39:14.595" v="1288" actId="20577"/>
          <ac:spMkLst>
            <pc:docMk/>
            <pc:sldMk cId="3156609275" sldId="467"/>
            <ac:spMk id="3" creationId="{6FB3999A-3DD6-F5F6-F341-1E8F7EBCF858}"/>
          </ac:spMkLst>
        </pc:spChg>
      </pc:sldChg>
      <pc:sldChg chg="modSp mod">
        <pc:chgData name="Oehrli, Stefan" userId="3f36891e-f853-43e7-bcbc-2879a2513833" providerId="ADAL" clId="{BEB5DB81-D722-724F-85CE-75021972ADA7}" dt="2023-04-03T21:43:21.992" v="2891" actId="122"/>
        <pc:sldMkLst>
          <pc:docMk/>
          <pc:sldMk cId="2714054722" sldId="469"/>
        </pc:sldMkLst>
        <pc:spChg chg="mod">
          <ac:chgData name="Oehrli, Stefan" userId="3f36891e-f853-43e7-bcbc-2879a2513833" providerId="ADAL" clId="{BEB5DB81-D722-724F-85CE-75021972ADA7}" dt="2023-04-03T21:43:21.992" v="2891" actId="122"/>
          <ac:spMkLst>
            <pc:docMk/>
            <pc:sldMk cId="2714054722" sldId="469"/>
            <ac:spMk id="12" creationId="{9DA62D43-749B-A9B4-A7EA-2CF16A7C81B2}"/>
          </ac:spMkLst>
        </pc:spChg>
      </pc:sldChg>
      <pc:sldChg chg="addSp delSp modSp mod modClrScheme modAnim chgLayout">
        <pc:chgData name="Oehrli, Stefan" userId="3f36891e-f853-43e7-bcbc-2879a2513833" providerId="ADAL" clId="{BEB5DB81-D722-724F-85CE-75021972ADA7}" dt="2023-04-04T03:54:02.474" v="3160"/>
        <pc:sldMkLst>
          <pc:docMk/>
          <pc:sldMk cId="1153880397" sldId="470"/>
        </pc:sldMkLst>
        <pc:spChg chg="add del mod ord">
          <ac:chgData name="Oehrli, Stefan" userId="3f36891e-f853-43e7-bcbc-2879a2513833" providerId="ADAL" clId="{BEB5DB81-D722-724F-85CE-75021972ADA7}" dt="2023-04-04T03:53:23.379" v="3157" actId="113"/>
          <ac:spMkLst>
            <pc:docMk/>
            <pc:sldMk cId="1153880397" sldId="470"/>
            <ac:spMk id="2" creationId="{C0801084-F41C-99CB-6C15-5F3EDECF1FC3}"/>
          </ac:spMkLst>
        </pc:spChg>
        <pc:spChg chg="add del mod ord">
          <ac:chgData name="Oehrli, Stefan" userId="3f36891e-f853-43e7-bcbc-2879a2513833" providerId="ADAL" clId="{BEB5DB81-D722-724F-85CE-75021972ADA7}" dt="2023-04-03T21:31:56.432" v="2641"/>
          <ac:spMkLst>
            <pc:docMk/>
            <pc:sldMk cId="1153880397" sldId="470"/>
            <ac:spMk id="3" creationId="{BCCE1CC0-F57C-7F9B-24E6-41280894A2BC}"/>
          </ac:spMkLst>
        </pc:spChg>
        <pc:spChg chg="mod ord">
          <ac:chgData name="Oehrli, Stefan" userId="3f36891e-f853-43e7-bcbc-2879a2513833" providerId="ADAL" clId="{BEB5DB81-D722-724F-85CE-75021972ADA7}" dt="2023-04-03T21:31:30.722" v="2630" actId="700"/>
          <ac:spMkLst>
            <pc:docMk/>
            <pc:sldMk cId="1153880397" sldId="470"/>
            <ac:spMk id="5" creationId="{DBE92217-B413-080C-A813-C2F89A18A9DA}"/>
          </ac:spMkLst>
        </pc:spChg>
        <pc:spChg chg="mod ord">
          <ac:chgData name="Oehrli, Stefan" userId="3f36891e-f853-43e7-bcbc-2879a2513833" providerId="ADAL" clId="{BEB5DB81-D722-724F-85CE-75021972ADA7}" dt="2023-04-03T21:31:30.722" v="2630" actId="700"/>
          <ac:spMkLst>
            <pc:docMk/>
            <pc:sldMk cId="1153880397" sldId="470"/>
            <ac:spMk id="6" creationId="{8604E253-9CB3-1D9D-F062-FB7A11242BE1}"/>
          </ac:spMkLst>
        </pc:spChg>
        <pc:spChg chg="mod ord">
          <ac:chgData name="Oehrli, Stefan" userId="3f36891e-f853-43e7-bcbc-2879a2513833" providerId="ADAL" clId="{BEB5DB81-D722-724F-85CE-75021972ADA7}" dt="2023-04-03T21:31:30.722" v="2630" actId="700"/>
          <ac:spMkLst>
            <pc:docMk/>
            <pc:sldMk cId="1153880397" sldId="470"/>
            <ac:spMk id="11" creationId="{F85A845C-DC77-5A80-9D42-5143A7A9A73C}"/>
          </ac:spMkLst>
        </pc:spChg>
        <pc:spChg chg="del mod ord">
          <ac:chgData name="Oehrli, Stefan" userId="3f36891e-f853-43e7-bcbc-2879a2513833" providerId="ADAL" clId="{BEB5DB81-D722-724F-85CE-75021972ADA7}" dt="2023-04-03T21:31:30.722" v="2630" actId="700"/>
          <ac:spMkLst>
            <pc:docMk/>
            <pc:sldMk cId="1153880397" sldId="470"/>
            <ac:spMk id="12" creationId="{9DA62D43-749B-A9B4-A7EA-2CF16A7C81B2}"/>
          </ac:spMkLst>
        </pc:spChg>
        <pc:spChg chg="mod ord">
          <ac:chgData name="Oehrli, Stefan" userId="3f36891e-f853-43e7-bcbc-2879a2513833" providerId="ADAL" clId="{BEB5DB81-D722-724F-85CE-75021972ADA7}" dt="2023-04-03T21:31:30.722" v="2630" actId="700"/>
          <ac:spMkLst>
            <pc:docMk/>
            <pc:sldMk cId="1153880397" sldId="470"/>
            <ac:spMk id="13" creationId="{9EEEFBE2-D58B-0304-1EEF-C6A93EAE2FDB}"/>
          </ac:spMkLst>
        </pc:spChg>
        <pc:picChg chg="add del mod">
          <ac:chgData name="Oehrli, Stefan" userId="3f36891e-f853-43e7-bcbc-2879a2513833" providerId="ADAL" clId="{BEB5DB81-D722-724F-85CE-75021972ADA7}" dt="2023-04-03T21:31:38.975" v="2635"/>
          <ac:picMkLst>
            <pc:docMk/>
            <pc:sldMk cId="1153880397" sldId="470"/>
            <ac:picMk id="7" creationId="{6EF06718-C002-4AB9-7E35-D60C9B0C975A}"/>
          </ac:picMkLst>
        </pc:picChg>
        <pc:picChg chg="add mod">
          <ac:chgData name="Oehrli, Stefan" userId="3f36891e-f853-43e7-bcbc-2879a2513833" providerId="ADAL" clId="{BEB5DB81-D722-724F-85CE-75021972ADA7}" dt="2023-04-03T21:32:21.143" v="2652" actId="1076"/>
          <ac:picMkLst>
            <pc:docMk/>
            <pc:sldMk cId="1153880397" sldId="470"/>
            <ac:picMk id="9" creationId="{A61FEC2F-D7C6-91D8-7B41-414E7F4BD194}"/>
          </ac:picMkLst>
        </pc:picChg>
      </pc:sldChg>
      <pc:sldChg chg="addSp delSp modSp mod ord modClrScheme chgLayout">
        <pc:chgData name="Oehrli, Stefan" userId="3f36891e-f853-43e7-bcbc-2879a2513833" providerId="ADAL" clId="{BEB5DB81-D722-724F-85CE-75021972ADA7}" dt="2023-04-03T20:32:24.775" v="1214" actId="114"/>
        <pc:sldMkLst>
          <pc:docMk/>
          <pc:sldMk cId="545680952" sldId="471"/>
        </pc:sldMkLst>
        <pc:spChg chg="add del mod ord">
          <ac:chgData name="Oehrli, Stefan" userId="3f36891e-f853-43e7-bcbc-2879a2513833" providerId="ADAL" clId="{BEB5DB81-D722-724F-85CE-75021972ADA7}" dt="2023-04-03T19:54:53.805" v="734"/>
          <ac:spMkLst>
            <pc:docMk/>
            <pc:sldMk cId="545680952" sldId="471"/>
            <ac:spMk id="2" creationId="{7E42747D-2794-A346-07CE-5E2586BDA1F5}"/>
          </ac:spMkLst>
        </pc:spChg>
        <pc:spChg chg="mod ord">
          <ac:chgData name="Oehrli, Stefan" userId="3f36891e-f853-43e7-bcbc-2879a2513833" providerId="ADAL" clId="{BEB5DB81-D722-724F-85CE-75021972ADA7}" dt="2023-04-03T19:54:50.207" v="733" actId="700"/>
          <ac:spMkLst>
            <pc:docMk/>
            <pc:sldMk cId="545680952" sldId="471"/>
            <ac:spMk id="5" creationId="{3DA20614-23DB-259A-331D-99757A344804}"/>
          </ac:spMkLst>
        </pc:spChg>
        <pc:spChg chg="mod ord">
          <ac:chgData name="Oehrli, Stefan" userId="3f36891e-f853-43e7-bcbc-2879a2513833" providerId="ADAL" clId="{BEB5DB81-D722-724F-85CE-75021972ADA7}" dt="2023-04-03T19:54:50.207" v="733" actId="700"/>
          <ac:spMkLst>
            <pc:docMk/>
            <pc:sldMk cId="545680952" sldId="471"/>
            <ac:spMk id="6" creationId="{876B435F-1241-E387-0E3B-C759EDCB74A2}"/>
          </ac:spMkLst>
        </pc:spChg>
        <pc:spChg chg="mod ord">
          <ac:chgData name="Oehrli, Stefan" userId="3f36891e-f853-43e7-bcbc-2879a2513833" providerId="ADAL" clId="{BEB5DB81-D722-724F-85CE-75021972ADA7}" dt="2023-04-03T19:54:50.207" v="733" actId="700"/>
          <ac:spMkLst>
            <pc:docMk/>
            <pc:sldMk cId="545680952" sldId="471"/>
            <ac:spMk id="7" creationId="{54344B74-8186-A6F7-4C9A-6FB029B1170F}"/>
          </ac:spMkLst>
        </pc:spChg>
        <pc:spChg chg="mod ord">
          <ac:chgData name="Oehrli, Stefan" userId="3f36891e-f853-43e7-bcbc-2879a2513833" providerId="ADAL" clId="{BEB5DB81-D722-724F-85CE-75021972ADA7}" dt="2023-04-03T20:32:24.775" v="1214" actId="114"/>
          <ac:spMkLst>
            <pc:docMk/>
            <pc:sldMk cId="545680952" sldId="471"/>
            <ac:spMk id="8" creationId="{AD765B08-EA1F-9773-F4D5-4A7378FF2C80}"/>
          </ac:spMkLst>
        </pc:spChg>
        <pc:spChg chg="mod ord">
          <ac:chgData name="Oehrli, Stefan" userId="3f36891e-f853-43e7-bcbc-2879a2513833" providerId="ADAL" clId="{BEB5DB81-D722-724F-85CE-75021972ADA7}" dt="2023-04-03T19:54:50.207" v="733" actId="700"/>
          <ac:spMkLst>
            <pc:docMk/>
            <pc:sldMk cId="545680952" sldId="471"/>
            <ac:spMk id="9" creationId="{41C1E998-12B4-EED0-C537-424C19392290}"/>
          </ac:spMkLst>
        </pc:spChg>
        <pc:spChg chg="add del mod">
          <ac:chgData name="Oehrli, Stefan" userId="3f36891e-f853-43e7-bcbc-2879a2513833" providerId="ADAL" clId="{BEB5DB81-D722-724F-85CE-75021972ADA7}" dt="2023-04-03T19:55:54.411" v="736"/>
          <ac:spMkLst>
            <pc:docMk/>
            <pc:sldMk cId="545680952" sldId="471"/>
            <ac:spMk id="10" creationId="{08F8DD7B-AFD2-348A-6CF2-3196E51295EC}"/>
          </ac:spMkLst>
        </pc:spChg>
        <pc:picChg chg="add del mod">
          <ac:chgData name="Oehrli, Stefan" userId="3f36891e-f853-43e7-bcbc-2879a2513833" providerId="ADAL" clId="{BEB5DB81-D722-724F-85CE-75021972ADA7}" dt="2023-04-03T19:55:53.299" v="735" actId="478"/>
          <ac:picMkLst>
            <pc:docMk/>
            <pc:sldMk cId="545680952" sldId="471"/>
            <ac:picMk id="3" creationId="{3F5D0FA2-7FDC-C88E-AEEA-53901A28AE3C}"/>
          </ac:picMkLst>
        </pc:picChg>
        <pc:picChg chg="add mod">
          <ac:chgData name="Oehrli, Stefan" userId="3f36891e-f853-43e7-bcbc-2879a2513833" providerId="ADAL" clId="{BEB5DB81-D722-724F-85CE-75021972ADA7}" dt="2023-04-03T20:01:10.905" v="933" actId="1076"/>
          <ac:picMkLst>
            <pc:docMk/>
            <pc:sldMk cId="545680952" sldId="471"/>
            <ac:picMk id="11" creationId="{F0244582-1FE8-291E-0000-8C885F39FC47}"/>
          </ac:picMkLst>
        </pc:picChg>
      </pc:sldChg>
      <pc:sldChg chg="addSp delSp modSp mod modClrScheme modAnim chgLayout">
        <pc:chgData name="Oehrli, Stefan" userId="3f36891e-f853-43e7-bcbc-2879a2513833" providerId="ADAL" clId="{BEB5DB81-D722-724F-85CE-75021972ADA7}" dt="2023-04-04T05:27:07.432" v="4258"/>
        <pc:sldMkLst>
          <pc:docMk/>
          <pc:sldMk cId="3036863141" sldId="472"/>
        </pc:sldMkLst>
        <pc:spChg chg="add mod ord">
          <ac:chgData name="Oehrli, Stefan" userId="3f36891e-f853-43e7-bcbc-2879a2513833" providerId="ADAL" clId="{BEB5DB81-D722-724F-85CE-75021972ADA7}" dt="2023-04-03T21:28:55.815" v="2628"/>
          <ac:spMkLst>
            <pc:docMk/>
            <pc:sldMk cId="3036863141" sldId="472"/>
            <ac:spMk id="2" creationId="{5B6A190F-E3F2-F6C0-EB51-368535B6210E}"/>
          </ac:spMkLst>
        </pc:spChg>
        <pc:spChg chg="add mod ord">
          <ac:chgData name="Oehrli, Stefan" userId="3f36891e-f853-43e7-bcbc-2879a2513833" providerId="ADAL" clId="{BEB5DB81-D722-724F-85CE-75021972ADA7}" dt="2023-04-03T21:29:17.567" v="2629"/>
          <ac:spMkLst>
            <pc:docMk/>
            <pc:sldMk cId="3036863141" sldId="472"/>
            <ac:spMk id="3" creationId="{B0901ECB-D5A0-0003-363D-35910B4E5326}"/>
          </ac:spMkLst>
        </pc:spChg>
        <pc:spChg chg="add del mod ord">
          <ac:chgData name="Oehrli, Stefan" userId="3f36891e-f853-43e7-bcbc-2879a2513833" providerId="ADAL" clId="{BEB5DB81-D722-724F-85CE-75021972ADA7}" dt="2023-04-03T21:28:27.765" v="2622"/>
          <ac:spMkLst>
            <pc:docMk/>
            <pc:sldMk cId="3036863141" sldId="472"/>
            <ac:spMk id="4" creationId="{380DA253-ABFA-1BD8-18C5-911396FEF62C}"/>
          </ac:spMkLst>
        </pc:spChg>
        <pc:spChg chg="mod ord">
          <ac:chgData name="Oehrli, Stefan" userId="3f36891e-f853-43e7-bcbc-2879a2513833" providerId="ADAL" clId="{BEB5DB81-D722-724F-85CE-75021972ADA7}" dt="2023-04-03T21:28:24.871" v="2621" actId="700"/>
          <ac:spMkLst>
            <pc:docMk/>
            <pc:sldMk cId="3036863141" sldId="472"/>
            <ac:spMk id="5" creationId="{12029315-EA9E-D291-2100-43D1174BA458}"/>
          </ac:spMkLst>
        </pc:spChg>
        <pc:spChg chg="mod ord">
          <ac:chgData name="Oehrli, Stefan" userId="3f36891e-f853-43e7-bcbc-2879a2513833" providerId="ADAL" clId="{BEB5DB81-D722-724F-85CE-75021972ADA7}" dt="2023-04-03T21:28:24.871" v="2621" actId="700"/>
          <ac:spMkLst>
            <pc:docMk/>
            <pc:sldMk cId="3036863141" sldId="472"/>
            <ac:spMk id="6" creationId="{8B1D37E2-BBEE-F900-072C-3FF3F33A9497}"/>
          </ac:spMkLst>
        </pc:spChg>
        <pc:spChg chg="del mod ord">
          <ac:chgData name="Oehrli, Stefan" userId="3f36891e-f853-43e7-bcbc-2879a2513833" providerId="ADAL" clId="{BEB5DB81-D722-724F-85CE-75021972ADA7}" dt="2023-04-03T21:28:24.871" v="2621" actId="700"/>
          <ac:spMkLst>
            <pc:docMk/>
            <pc:sldMk cId="3036863141" sldId="472"/>
            <ac:spMk id="7" creationId="{7AB64799-9857-3A1D-5502-8B28474D5315}"/>
          </ac:spMkLst>
        </pc:spChg>
        <pc:spChg chg="mod ord">
          <ac:chgData name="Oehrli, Stefan" userId="3f36891e-f853-43e7-bcbc-2879a2513833" providerId="ADAL" clId="{BEB5DB81-D722-724F-85CE-75021972ADA7}" dt="2023-04-04T05:27:00.374" v="4257" actId="404"/>
          <ac:spMkLst>
            <pc:docMk/>
            <pc:sldMk cId="3036863141" sldId="472"/>
            <ac:spMk id="8" creationId="{3138A1FC-DE2E-C99D-2FEE-ECEC2F901B58}"/>
          </ac:spMkLst>
        </pc:spChg>
        <pc:spChg chg="del mod ord">
          <ac:chgData name="Oehrli, Stefan" userId="3f36891e-f853-43e7-bcbc-2879a2513833" providerId="ADAL" clId="{BEB5DB81-D722-724F-85CE-75021972ADA7}" dt="2023-04-03T21:28:24.871" v="2621" actId="700"/>
          <ac:spMkLst>
            <pc:docMk/>
            <pc:sldMk cId="3036863141" sldId="472"/>
            <ac:spMk id="9" creationId="{461A9EF2-0A24-6C2E-E326-21C0D1E4802B}"/>
          </ac:spMkLst>
        </pc:spChg>
        <pc:picChg chg="add mod">
          <ac:chgData name="Oehrli, Stefan" userId="3f36891e-f853-43e7-bcbc-2879a2513833" providerId="ADAL" clId="{BEB5DB81-D722-724F-85CE-75021972ADA7}" dt="2023-04-03T21:28:38.769" v="2626" actId="1076"/>
          <ac:picMkLst>
            <pc:docMk/>
            <pc:sldMk cId="3036863141" sldId="472"/>
            <ac:picMk id="10" creationId="{0040DD61-E931-C2A0-C23A-69E299BB9403}"/>
          </ac:picMkLst>
        </pc:picChg>
      </pc:sldChg>
      <pc:sldChg chg="addSp delSp modSp del mod ord">
        <pc:chgData name="Oehrli, Stefan" userId="3f36891e-f853-43e7-bcbc-2879a2513833" providerId="ADAL" clId="{BEB5DB81-D722-724F-85CE-75021972ADA7}" dt="2023-04-04T07:33:13.574" v="5306" actId="2696"/>
        <pc:sldMkLst>
          <pc:docMk/>
          <pc:sldMk cId="2405720067" sldId="473"/>
        </pc:sldMkLst>
        <pc:spChg chg="add del mod">
          <ac:chgData name="Oehrli, Stefan" userId="3f36891e-f853-43e7-bcbc-2879a2513833" providerId="ADAL" clId="{BEB5DB81-D722-724F-85CE-75021972ADA7}" dt="2023-04-04T06:38:03.616" v="4402"/>
          <ac:spMkLst>
            <pc:docMk/>
            <pc:sldMk cId="2405720067" sldId="473"/>
            <ac:spMk id="2" creationId="{8C0C0734-D1D7-BBED-CED6-823BA76A7AD0}"/>
          </ac:spMkLst>
        </pc:spChg>
        <pc:spChg chg="mod">
          <ac:chgData name="Oehrli, Stefan" userId="3f36891e-f853-43e7-bcbc-2879a2513833" providerId="ADAL" clId="{BEB5DB81-D722-724F-85CE-75021972ADA7}" dt="2023-04-04T06:38:41.846" v="4449"/>
          <ac:spMkLst>
            <pc:docMk/>
            <pc:sldMk cId="2405720067" sldId="473"/>
            <ac:spMk id="7" creationId="{85B50D58-ADDC-D86F-1B86-FFD7746AF8B2}"/>
          </ac:spMkLst>
        </pc:spChg>
        <pc:spChg chg="del">
          <ac:chgData name="Oehrli, Stefan" userId="3f36891e-f853-43e7-bcbc-2879a2513833" providerId="ADAL" clId="{BEB5DB81-D722-724F-85CE-75021972ADA7}" dt="2023-04-03T20:36:13.658" v="1265"/>
          <ac:spMkLst>
            <pc:docMk/>
            <pc:sldMk cId="2405720067" sldId="473"/>
            <ac:spMk id="8" creationId="{DF6ADF7D-FF4F-5826-62C5-DD0E8DE620CD}"/>
          </ac:spMkLst>
        </pc:spChg>
        <pc:spChg chg="mod">
          <ac:chgData name="Oehrli, Stefan" userId="3f36891e-f853-43e7-bcbc-2879a2513833" providerId="ADAL" clId="{BEB5DB81-D722-724F-85CE-75021972ADA7}" dt="2023-04-04T06:39:52.086" v="4460"/>
          <ac:spMkLst>
            <pc:docMk/>
            <pc:sldMk cId="2405720067" sldId="473"/>
            <ac:spMk id="9" creationId="{F62B89D5-A706-6766-E77E-FAA051C79F0F}"/>
          </ac:spMkLst>
        </pc:spChg>
        <pc:spChg chg="add del mod">
          <ac:chgData name="Oehrli, Stefan" userId="3f36891e-f853-43e7-bcbc-2879a2513833" providerId="ADAL" clId="{BEB5DB81-D722-724F-85CE-75021972ADA7}" dt="2023-04-04T06:47:49.773" v="4464"/>
          <ac:spMkLst>
            <pc:docMk/>
            <pc:sldMk cId="2405720067" sldId="473"/>
            <ac:spMk id="10" creationId="{590486D5-F0F0-1DB3-BC95-14048CA6DA06}"/>
          </ac:spMkLst>
        </pc:spChg>
        <pc:spChg chg="add mod">
          <ac:chgData name="Oehrli, Stefan" userId="3f36891e-f853-43e7-bcbc-2879a2513833" providerId="ADAL" clId="{BEB5DB81-D722-724F-85CE-75021972ADA7}" dt="2023-04-04T07:25:25.301" v="5305"/>
          <ac:spMkLst>
            <pc:docMk/>
            <pc:sldMk cId="2405720067" sldId="473"/>
            <ac:spMk id="14" creationId="{49A31C2A-055B-D0A8-0498-8BFD1984C8EA}"/>
          </ac:spMkLst>
        </pc:spChg>
        <pc:picChg chg="add del mod">
          <ac:chgData name="Oehrli, Stefan" userId="3f36891e-f853-43e7-bcbc-2879a2513833" providerId="ADAL" clId="{BEB5DB81-D722-724F-85CE-75021972ADA7}" dt="2023-04-04T06:47:44.303" v="4461" actId="478"/>
          <ac:picMkLst>
            <pc:docMk/>
            <pc:sldMk cId="2405720067" sldId="473"/>
            <ac:picMk id="3" creationId="{A7A35FE7-6840-AA81-898F-DBEBA520D63D}"/>
          </ac:picMkLst>
        </pc:picChg>
        <pc:picChg chg="add del mod">
          <ac:chgData name="Oehrli, Stefan" userId="3f36891e-f853-43e7-bcbc-2879a2513833" providerId="ADAL" clId="{BEB5DB81-D722-724F-85CE-75021972ADA7}" dt="2023-04-04T06:47:48.043" v="4463"/>
          <ac:picMkLst>
            <pc:docMk/>
            <pc:sldMk cId="2405720067" sldId="473"/>
            <ac:picMk id="11" creationId="{39B81051-499E-82A5-E87E-3EEF97D8DB8B}"/>
          </ac:picMkLst>
        </pc:picChg>
        <pc:picChg chg="add del mod">
          <ac:chgData name="Oehrli, Stefan" userId="3f36891e-f853-43e7-bcbc-2879a2513833" providerId="ADAL" clId="{BEB5DB81-D722-724F-85CE-75021972ADA7}" dt="2023-04-04T07:25:13.698" v="5304" actId="478"/>
          <ac:picMkLst>
            <pc:docMk/>
            <pc:sldMk cId="2405720067" sldId="473"/>
            <ac:picMk id="12" creationId="{E95E7727-AEAD-7ED4-ADE1-E6DF5EC7539F}"/>
          </ac:picMkLst>
        </pc:picChg>
        <pc:picChg chg="add del mod">
          <ac:chgData name="Oehrli, Stefan" userId="3f36891e-f853-43e7-bcbc-2879a2513833" providerId="ADAL" clId="{BEB5DB81-D722-724F-85CE-75021972ADA7}" dt="2023-04-04T06:38:02.249" v="4401" actId="478"/>
          <ac:picMkLst>
            <pc:docMk/>
            <pc:sldMk cId="2405720067" sldId="473"/>
            <ac:picMk id="1026" creationId="{C119AC10-D50D-C11F-5827-DB0DF2660F01}"/>
          </ac:picMkLst>
        </pc:picChg>
      </pc:sldChg>
      <pc:sldChg chg="modSp del mod">
        <pc:chgData name="Oehrli, Stefan" userId="3f36891e-f853-43e7-bcbc-2879a2513833" providerId="ADAL" clId="{BEB5DB81-D722-724F-85CE-75021972ADA7}" dt="2023-04-04T08:35:50.479" v="6092" actId="2696"/>
        <pc:sldMkLst>
          <pc:docMk/>
          <pc:sldMk cId="2977534450" sldId="474"/>
        </pc:sldMkLst>
        <pc:spChg chg="mod">
          <ac:chgData name="Oehrli, Stefan" userId="3f36891e-f853-43e7-bcbc-2879a2513833" providerId="ADAL" clId="{BEB5DB81-D722-724F-85CE-75021972ADA7}" dt="2023-04-04T08:29:52.258" v="5741"/>
          <ac:spMkLst>
            <pc:docMk/>
            <pc:sldMk cId="2977534450" sldId="474"/>
            <ac:spMk id="7" creationId="{C124A808-16DB-889A-9FA2-0EC159F08028}"/>
          </ac:spMkLst>
        </pc:spChg>
        <pc:spChg chg="mod">
          <ac:chgData name="Oehrli, Stefan" userId="3f36891e-f853-43e7-bcbc-2879a2513833" providerId="ADAL" clId="{BEB5DB81-D722-724F-85CE-75021972ADA7}" dt="2023-04-04T08:35:45.510" v="6090" actId="21"/>
          <ac:spMkLst>
            <pc:docMk/>
            <pc:sldMk cId="2977534450" sldId="474"/>
            <ac:spMk id="8" creationId="{D6C69559-AFCC-9F44-3767-14E98B80048D}"/>
          </ac:spMkLst>
        </pc:spChg>
        <pc:spChg chg="mod">
          <ac:chgData name="Oehrli, Stefan" userId="3f36891e-f853-43e7-bcbc-2879a2513833" providerId="ADAL" clId="{BEB5DB81-D722-724F-85CE-75021972ADA7}" dt="2023-04-04T08:31:30.989" v="5775" actId="21"/>
          <ac:spMkLst>
            <pc:docMk/>
            <pc:sldMk cId="2977534450" sldId="474"/>
            <ac:spMk id="9" creationId="{F1F65E65-F395-1F1E-86BF-B9944CA8B1F8}"/>
          </ac:spMkLst>
        </pc:spChg>
      </pc:sldChg>
      <pc:sldChg chg="modSp del mod">
        <pc:chgData name="Oehrli, Stefan" userId="3f36891e-f853-43e7-bcbc-2879a2513833" providerId="ADAL" clId="{BEB5DB81-D722-724F-85CE-75021972ADA7}" dt="2023-04-04T05:55:59.554" v="4400" actId="2696"/>
        <pc:sldMkLst>
          <pc:docMk/>
          <pc:sldMk cId="786320037" sldId="475"/>
        </pc:sldMkLst>
        <pc:spChg chg="mod">
          <ac:chgData name="Oehrli, Stefan" userId="3f36891e-f853-43e7-bcbc-2879a2513833" providerId="ADAL" clId="{BEB5DB81-D722-724F-85CE-75021972ADA7}" dt="2023-04-03T20:48:44.843" v="1794"/>
          <ac:spMkLst>
            <pc:docMk/>
            <pc:sldMk cId="786320037" sldId="475"/>
            <ac:spMk id="7" creationId="{EEB4B357-7EAB-F585-A84A-4F95FA8BB24F}"/>
          </ac:spMkLst>
        </pc:spChg>
        <pc:spChg chg="mod">
          <ac:chgData name="Oehrli, Stefan" userId="3f36891e-f853-43e7-bcbc-2879a2513833" providerId="ADAL" clId="{BEB5DB81-D722-724F-85CE-75021972ADA7}" dt="2023-04-04T05:53:50.206" v="4342"/>
          <ac:spMkLst>
            <pc:docMk/>
            <pc:sldMk cId="786320037" sldId="475"/>
            <ac:spMk id="8" creationId="{BF8E3DEC-0F74-B67D-CB13-FB3B7013B74A}"/>
          </ac:spMkLst>
        </pc:spChg>
        <pc:spChg chg="mod">
          <ac:chgData name="Oehrli, Stefan" userId="3f36891e-f853-43e7-bcbc-2879a2513833" providerId="ADAL" clId="{BEB5DB81-D722-724F-85CE-75021972ADA7}" dt="2023-04-03T20:48:33.285" v="1793"/>
          <ac:spMkLst>
            <pc:docMk/>
            <pc:sldMk cId="786320037" sldId="475"/>
            <ac:spMk id="9" creationId="{05AB40B2-0AAB-812A-3DB8-3A75A22EE2CD}"/>
          </ac:spMkLst>
        </pc:spChg>
      </pc:sldChg>
      <pc:sldChg chg="addSp delSp modSp mod ord modClrScheme chgLayout">
        <pc:chgData name="Oehrli, Stefan" userId="3f36891e-f853-43e7-bcbc-2879a2513833" providerId="ADAL" clId="{BEB5DB81-D722-724F-85CE-75021972ADA7}" dt="2023-04-03T21:24:37.423" v="2620" actId="20577"/>
        <pc:sldMkLst>
          <pc:docMk/>
          <pc:sldMk cId="2614753443" sldId="476"/>
        </pc:sldMkLst>
        <pc:spChg chg="add mod ord">
          <ac:chgData name="Oehrli, Stefan" userId="3f36891e-f853-43e7-bcbc-2879a2513833" providerId="ADAL" clId="{BEB5DB81-D722-724F-85CE-75021972ADA7}" dt="2023-04-03T21:24:37.423" v="2620" actId="20577"/>
          <ac:spMkLst>
            <pc:docMk/>
            <pc:sldMk cId="2614753443" sldId="476"/>
            <ac:spMk id="2" creationId="{EC543CBB-3DEA-BAD9-A51D-BA4890B74650}"/>
          </ac:spMkLst>
        </pc:spChg>
        <pc:spChg chg="add mod ord">
          <ac:chgData name="Oehrli, Stefan" userId="3f36891e-f853-43e7-bcbc-2879a2513833" providerId="ADAL" clId="{BEB5DB81-D722-724F-85CE-75021972ADA7}" dt="2023-04-03T21:20:40.099" v="2472" actId="20577"/>
          <ac:spMkLst>
            <pc:docMk/>
            <pc:sldMk cId="2614753443" sldId="476"/>
            <ac:spMk id="3" creationId="{953EBBEF-9F80-1E50-7E37-1BA1E49CA4C7}"/>
          </ac:spMkLst>
        </pc:spChg>
        <pc:spChg chg="add del mod ord">
          <ac:chgData name="Oehrli, Stefan" userId="3f36891e-f853-43e7-bcbc-2879a2513833" providerId="ADAL" clId="{BEB5DB81-D722-724F-85CE-75021972ADA7}" dt="2023-04-03T21:15:46.064" v="2405"/>
          <ac:spMkLst>
            <pc:docMk/>
            <pc:sldMk cId="2614753443" sldId="476"/>
            <ac:spMk id="4" creationId="{F08469E9-72D1-E271-48A0-59C2EE260191}"/>
          </ac:spMkLst>
        </pc:spChg>
        <pc:spChg chg="mod ord">
          <ac:chgData name="Oehrli, Stefan" userId="3f36891e-f853-43e7-bcbc-2879a2513833" providerId="ADAL" clId="{BEB5DB81-D722-724F-85CE-75021972ADA7}" dt="2023-04-03T21:14:16.088" v="2402" actId="700"/>
          <ac:spMkLst>
            <pc:docMk/>
            <pc:sldMk cId="2614753443" sldId="476"/>
            <ac:spMk id="5" creationId="{41B17600-1BC2-33E1-93E8-56FB18BCEB06}"/>
          </ac:spMkLst>
        </pc:spChg>
        <pc:spChg chg="mod ord">
          <ac:chgData name="Oehrli, Stefan" userId="3f36891e-f853-43e7-bcbc-2879a2513833" providerId="ADAL" clId="{BEB5DB81-D722-724F-85CE-75021972ADA7}" dt="2023-04-03T21:14:16.088" v="2402" actId="700"/>
          <ac:spMkLst>
            <pc:docMk/>
            <pc:sldMk cId="2614753443" sldId="476"/>
            <ac:spMk id="6" creationId="{9327615F-79FA-0A0A-734E-43EC7CC22164}"/>
          </ac:spMkLst>
        </pc:spChg>
        <pc:spChg chg="mod ord">
          <ac:chgData name="Oehrli, Stefan" userId="3f36891e-f853-43e7-bcbc-2879a2513833" providerId="ADAL" clId="{BEB5DB81-D722-724F-85CE-75021972ADA7}" dt="2023-04-03T21:14:16.088" v="2402" actId="700"/>
          <ac:spMkLst>
            <pc:docMk/>
            <pc:sldMk cId="2614753443" sldId="476"/>
            <ac:spMk id="7" creationId="{FDCE342E-9C74-44D0-C5AF-5584031EAB83}"/>
          </ac:spMkLst>
        </pc:spChg>
        <pc:spChg chg="del mod ord">
          <ac:chgData name="Oehrli, Stefan" userId="3f36891e-f853-43e7-bcbc-2879a2513833" providerId="ADAL" clId="{BEB5DB81-D722-724F-85CE-75021972ADA7}" dt="2023-04-03T21:14:16.088" v="2402" actId="700"/>
          <ac:spMkLst>
            <pc:docMk/>
            <pc:sldMk cId="2614753443" sldId="476"/>
            <ac:spMk id="8" creationId="{F076258F-E499-5848-1A39-DA9C713AFB55}"/>
          </ac:spMkLst>
        </pc:spChg>
        <pc:spChg chg="del mod ord">
          <ac:chgData name="Oehrli, Stefan" userId="3f36891e-f853-43e7-bcbc-2879a2513833" providerId="ADAL" clId="{BEB5DB81-D722-724F-85CE-75021972ADA7}" dt="2023-04-03T21:14:16.088" v="2402" actId="700"/>
          <ac:spMkLst>
            <pc:docMk/>
            <pc:sldMk cId="2614753443" sldId="476"/>
            <ac:spMk id="9" creationId="{571C7F35-6884-EB5A-4942-D90FC4202101}"/>
          </ac:spMkLst>
        </pc:spChg>
        <pc:spChg chg="add mod">
          <ac:chgData name="Oehrli, Stefan" userId="3f36891e-f853-43e7-bcbc-2879a2513833" providerId="ADAL" clId="{BEB5DB81-D722-724F-85CE-75021972ADA7}" dt="2023-04-03T21:18:31.271" v="2435" actId="1076"/>
          <ac:spMkLst>
            <pc:docMk/>
            <pc:sldMk cId="2614753443" sldId="476"/>
            <ac:spMk id="10" creationId="{A9A29765-6356-5589-AE03-A490DDE27894}"/>
          </ac:spMkLst>
        </pc:spChg>
        <pc:picChg chg="add mod">
          <ac:chgData name="Oehrli, Stefan" userId="3f36891e-f853-43e7-bcbc-2879a2513833" providerId="ADAL" clId="{BEB5DB81-D722-724F-85CE-75021972ADA7}" dt="2023-04-03T21:15:55.275" v="2406" actId="1440"/>
          <ac:picMkLst>
            <pc:docMk/>
            <pc:sldMk cId="2614753443" sldId="476"/>
            <ac:picMk id="2050" creationId="{CA0E5F7A-2072-05CE-3D9F-7739E74E9459}"/>
          </ac:picMkLst>
        </pc:picChg>
      </pc:sldChg>
      <pc:sldChg chg="addSp delSp modSp mod ord modClrScheme chgLayout">
        <pc:chgData name="Oehrli, Stefan" userId="3f36891e-f853-43e7-bcbc-2879a2513833" providerId="ADAL" clId="{BEB5DB81-D722-724F-85CE-75021972ADA7}" dt="2023-04-04T04:51:33.207" v="3528" actId="20577"/>
        <pc:sldMkLst>
          <pc:docMk/>
          <pc:sldMk cId="1408013480" sldId="477"/>
        </pc:sldMkLst>
        <pc:spChg chg="mod ord">
          <ac:chgData name="Oehrli, Stefan" userId="3f36891e-f853-43e7-bcbc-2879a2513833" providerId="ADAL" clId="{BEB5DB81-D722-724F-85CE-75021972ADA7}" dt="2023-04-04T04:38:34.965" v="3210" actId="700"/>
          <ac:spMkLst>
            <pc:docMk/>
            <pc:sldMk cId="1408013480" sldId="477"/>
            <ac:spMk id="2" creationId="{2DA3416A-D838-4C12-A22B-2C75D411925F}"/>
          </ac:spMkLst>
        </pc:spChg>
        <pc:spChg chg="del mod ord">
          <ac:chgData name="Oehrli, Stefan" userId="3f36891e-f853-43e7-bcbc-2879a2513833" providerId="ADAL" clId="{BEB5DB81-D722-724F-85CE-75021972ADA7}" dt="2023-04-04T04:38:34.965" v="3210" actId="700"/>
          <ac:spMkLst>
            <pc:docMk/>
            <pc:sldMk cId="1408013480" sldId="477"/>
            <ac:spMk id="3" creationId="{F3EC1BE7-15DA-A7CA-C2B5-6D73ADC1AA24}"/>
          </ac:spMkLst>
        </pc:spChg>
        <pc:spChg chg="mod ord">
          <ac:chgData name="Oehrli, Stefan" userId="3f36891e-f853-43e7-bcbc-2879a2513833" providerId="ADAL" clId="{BEB5DB81-D722-724F-85CE-75021972ADA7}" dt="2023-04-04T04:38:34.965" v="3210" actId="700"/>
          <ac:spMkLst>
            <pc:docMk/>
            <pc:sldMk cId="1408013480" sldId="477"/>
            <ac:spMk id="4" creationId="{7D6D760A-E161-32D9-A581-6DBC6C5031AB}"/>
          </ac:spMkLst>
        </pc:spChg>
        <pc:spChg chg="mod ord">
          <ac:chgData name="Oehrli, Stefan" userId="3f36891e-f853-43e7-bcbc-2879a2513833" providerId="ADAL" clId="{BEB5DB81-D722-724F-85CE-75021972ADA7}" dt="2023-04-04T04:38:34.965" v="3210" actId="700"/>
          <ac:spMkLst>
            <pc:docMk/>
            <pc:sldMk cId="1408013480" sldId="477"/>
            <ac:spMk id="5" creationId="{8EDB13EE-C3BA-0CB5-408F-FFC511E76E08}"/>
          </ac:spMkLst>
        </pc:spChg>
        <pc:spChg chg="mod ord">
          <ac:chgData name="Oehrli, Stefan" userId="3f36891e-f853-43e7-bcbc-2879a2513833" providerId="ADAL" clId="{BEB5DB81-D722-724F-85CE-75021972ADA7}" dt="2023-04-04T04:38:34.965" v="3210" actId="700"/>
          <ac:spMkLst>
            <pc:docMk/>
            <pc:sldMk cId="1408013480" sldId="477"/>
            <ac:spMk id="6" creationId="{161A59BD-1FE2-B67A-20B0-6B46100EFDD9}"/>
          </ac:spMkLst>
        </pc:spChg>
        <pc:spChg chg="add del mod ord">
          <ac:chgData name="Oehrli, Stefan" userId="3f36891e-f853-43e7-bcbc-2879a2513833" providerId="ADAL" clId="{BEB5DB81-D722-724F-85CE-75021972ADA7}" dt="2023-04-04T04:38:36.528" v="3211"/>
          <ac:spMkLst>
            <pc:docMk/>
            <pc:sldMk cId="1408013480" sldId="477"/>
            <ac:spMk id="7" creationId="{AF31C4F1-F5E9-C5CE-611D-A5D778CC0250}"/>
          </ac:spMkLst>
        </pc:spChg>
        <pc:spChg chg="add mod ord">
          <ac:chgData name="Oehrli, Stefan" userId="3f36891e-f853-43e7-bcbc-2879a2513833" providerId="ADAL" clId="{BEB5DB81-D722-724F-85CE-75021972ADA7}" dt="2023-04-04T04:51:33.207" v="3528" actId="20577"/>
          <ac:spMkLst>
            <pc:docMk/>
            <pc:sldMk cId="1408013480" sldId="477"/>
            <ac:spMk id="8" creationId="{BA993795-5C05-9E5B-D605-ABC939A17BC6}"/>
          </ac:spMkLst>
        </pc:spChg>
        <pc:picChg chg="add mod">
          <ac:chgData name="Oehrli, Stefan" userId="3f36891e-f853-43e7-bcbc-2879a2513833" providerId="ADAL" clId="{BEB5DB81-D722-724F-85CE-75021972ADA7}" dt="2023-04-04T04:38:45.871" v="3214" actId="1076"/>
          <ac:picMkLst>
            <pc:docMk/>
            <pc:sldMk cId="1408013480" sldId="477"/>
            <ac:picMk id="9" creationId="{E017896B-7498-4A96-DAC3-4B1ACC882EBA}"/>
          </ac:picMkLst>
        </pc:picChg>
      </pc:sldChg>
      <pc:sldChg chg="addSp delSp modSp mod ord modClrScheme chgLayout">
        <pc:chgData name="Oehrli, Stefan" userId="3f36891e-f853-43e7-bcbc-2879a2513833" providerId="ADAL" clId="{BEB5DB81-D722-724F-85CE-75021972ADA7}" dt="2023-04-04T05:14:25.885" v="3846" actId="113"/>
        <pc:sldMkLst>
          <pc:docMk/>
          <pc:sldMk cId="1271595410" sldId="478"/>
        </pc:sldMkLst>
        <pc:spChg chg="mod ord">
          <ac:chgData name="Oehrli, Stefan" userId="3f36891e-f853-43e7-bcbc-2879a2513833" providerId="ADAL" clId="{BEB5DB81-D722-724F-85CE-75021972ADA7}" dt="2023-04-04T05:09:26.815" v="3562" actId="700"/>
          <ac:spMkLst>
            <pc:docMk/>
            <pc:sldMk cId="1271595410" sldId="478"/>
            <ac:spMk id="2" creationId="{233874A5-5D74-D776-5932-2BDE67F283F7}"/>
          </ac:spMkLst>
        </pc:spChg>
        <pc:spChg chg="del mod ord">
          <ac:chgData name="Oehrli, Stefan" userId="3f36891e-f853-43e7-bcbc-2879a2513833" providerId="ADAL" clId="{BEB5DB81-D722-724F-85CE-75021972ADA7}" dt="2023-04-04T05:09:26.815" v="3562" actId="700"/>
          <ac:spMkLst>
            <pc:docMk/>
            <pc:sldMk cId="1271595410" sldId="478"/>
            <ac:spMk id="3" creationId="{48412A47-DD28-6775-461A-1CF95EEA0642}"/>
          </ac:spMkLst>
        </pc:spChg>
        <pc:spChg chg="mod ord">
          <ac:chgData name="Oehrli, Stefan" userId="3f36891e-f853-43e7-bcbc-2879a2513833" providerId="ADAL" clId="{BEB5DB81-D722-724F-85CE-75021972ADA7}" dt="2023-04-04T05:09:26.815" v="3562" actId="700"/>
          <ac:spMkLst>
            <pc:docMk/>
            <pc:sldMk cId="1271595410" sldId="478"/>
            <ac:spMk id="4" creationId="{41DFAE58-1DC3-9D11-B348-F28BF14C9D7F}"/>
          </ac:spMkLst>
        </pc:spChg>
        <pc:spChg chg="mod ord">
          <ac:chgData name="Oehrli, Stefan" userId="3f36891e-f853-43e7-bcbc-2879a2513833" providerId="ADAL" clId="{BEB5DB81-D722-724F-85CE-75021972ADA7}" dt="2023-04-04T05:09:26.815" v="3562" actId="700"/>
          <ac:spMkLst>
            <pc:docMk/>
            <pc:sldMk cId="1271595410" sldId="478"/>
            <ac:spMk id="5" creationId="{2ED41217-9816-A485-7235-901CB88803B9}"/>
          </ac:spMkLst>
        </pc:spChg>
        <pc:spChg chg="mod ord">
          <ac:chgData name="Oehrli, Stefan" userId="3f36891e-f853-43e7-bcbc-2879a2513833" providerId="ADAL" clId="{BEB5DB81-D722-724F-85CE-75021972ADA7}" dt="2023-04-04T05:09:26.815" v="3562" actId="700"/>
          <ac:spMkLst>
            <pc:docMk/>
            <pc:sldMk cId="1271595410" sldId="478"/>
            <ac:spMk id="6" creationId="{AC854395-20A2-E5BD-B446-965077EE2B3C}"/>
          </ac:spMkLst>
        </pc:spChg>
        <pc:spChg chg="add mod ord">
          <ac:chgData name="Oehrli, Stefan" userId="3f36891e-f853-43e7-bcbc-2879a2513833" providerId="ADAL" clId="{BEB5DB81-D722-724F-85CE-75021972ADA7}" dt="2023-04-04T05:14:25.885" v="3846" actId="113"/>
          <ac:spMkLst>
            <pc:docMk/>
            <pc:sldMk cId="1271595410" sldId="478"/>
            <ac:spMk id="7" creationId="{8E3C75D1-6BF8-CC31-79E1-C4D6EAAB1052}"/>
          </ac:spMkLst>
        </pc:spChg>
        <pc:spChg chg="add del mod ord">
          <ac:chgData name="Oehrli, Stefan" userId="3f36891e-f853-43e7-bcbc-2879a2513833" providerId="ADAL" clId="{BEB5DB81-D722-724F-85CE-75021972ADA7}" dt="2023-04-04T05:09:28.868" v="3563"/>
          <ac:spMkLst>
            <pc:docMk/>
            <pc:sldMk cId="1271595410" sldId="478"/>
            <ac:spMk id="8" creationId="{B6718D16-2125-723D-5921-E8A5311DC6C0}"/>
          </ac:spMkLst>
        </pc:spChg>
        <pc:picChg chg="add mod">
          <ac:chgData name="Oehrli, Stefan" userId="3f36891e-f853-43e7-bcbc-2879a2513833" providerId="ADAL" clId="{BEB5DB81-D722-724F-85CE-75021972ADA7}" dt="2023-04-04T05:09:37.564" v="3566" actId="1076"/>
          <ac:picMkLst>
            <pc:docMk/>
            <pc:sldMk cId="1271595410" sldId="478"/>
            <ac:picMk id="9" creationId="{FFCBB4B8-DF5B-5388-889E-CE9BF0546A72}"/>
          </ac:picMkLst>
        </pc:picChg>
      </pc:sldChg>
      <pc:sldChg chg="addSp delSp modSp add del mod ord modClrScheme chgLayout">
        <pc:chgData name="Oehrli, Stefan" userId="3f36891e-f853-43e7-bcbc-2879a2513833" providerId="ADAL" clId="{BEB5DB81-D722-724F-85CE-75021972ADA7}" dt="2023-04-03T19:30:21.501" v="243" actId="2696"/>
        <pc:sldMkLst>
          <pc:docMk/>
          <pc:sldMk cId="1985595969" sldId="479"/>
        </pc:sldMkLst>
        <pc:spChg chg="add mod ord">
          <ac:chgData name="Oehrli, Stefan" userId="3f36891e-f853-43e7-bcbc-2879a2513833" providerId="ADAL" clId="{BEB5DB81-D722-724F-85CE-75021972ADA7}" dt="2023-04-03T19:20:30.425" v="235" actId="700"/>
          <ac:spMkLst>
            <pc:docMk/>
            <pc:sldMk cId="1985595969" sldId="479"/>
            <ac:spMk id="2" creationId="{D5AEC11B-89AD-EA7F-3A75-192AE6FDCDDD}"/>
          </ac:spMkLst>
        </pc:spChg>
        <pc:spChg chg="add del mod ord">
          <ac:chgData name="Oehrli, Stefan" userId="3f36891e-f853-43e7-bcbc-2879a2513833" providerId="ADAL" clId="{BEB5DB81-D722-724F-85CE-75021972ADA7}" dt="2023-04-03T19:15:29.595" v="163"/>
          <ac:spMkLst>
            <pc:docMk/>
            <pc:sldMk cId="1985595969" sldId="479"/>
            <ac:spMk id="3" creationId="{F611CBC8-5CEC-7AF0-3F0D-66BD40092E27}"/>
          </ac:spMkLst>
        </pc:spChg>
        <pc:spChg chg="mod ord">
          <ac:chgData name="Oehrli, Stefan" userId="3f36891e-f853-43e7-bcbc-2879a2513833" providerId="ADAL" clId="{BEB5DB81-D722-724F-85CE-75021972ADA7}" dt="2023-04-03T19:20:30.425" v="235" actId="700"/>
          <ac:spMkLst>
            <pc:docMk/>
            <pc:sldMk cId="1985595969" sldId="479"/>
            <ac:spMk id="5" creationId="{3DA20614-23DB-259A-331D-99757A344804}"/>
          </ac:spMkLst>
        </pc:spChg>
        <pc:spChg chg="mod ord">
          <ac:chgData name="Oehrli, Stefan" userId="3f36891e-f853-43e7-bcbc-2879a2513833" providerId="ADAL" clId="{BEB5DB81-D722-724F-85CE-75021972ADA7}" dt="2023-04-03T19:20:30.425" v="235" actId="700"/>
          <ac:spMkLst>
            <pc:docMk/>
            <pc:sldMk cId="1985595969" sldId="479"/>
            <ac:spMk id="6" creationId="{876B435F-1241-E387-0E3B-C759EDCB74A2}"/>
          </ac:spMkLst>
        </pc:spChg>
        <pc:spChg chg="mod ord">
          <ac:chgData name="Oehrli, Stefan" userId="3f36891e-f853-43e7-bcbc-2879a2513833" providerId="ADAL" clId="{BEB5DB81-D722-724F-85CE-75021972ADA7}" dt="2023-04-03T19:20:30.425" v="235" actId="700"/>
          <ac:spMkLst>
            <pc:docMk/>
            <pc:sldMk cId="1985595969" sldId="479"/>
            <ac:spMk id="7" creationId="{54344B74-8186-A6F7-4C9A-6FB029B1170F}"/>
          </ac:spMkLst>
        </pc:spChg>
        <pc:spChg chg="del mod ord">
          <ac:chgData name="Oehrli, Stefan" userId="3f36891e-f853-43e7-bcbc-2879a2513833" providerId="ADAL" clId="{BEB5DB81-D722-724F-85CE-75021972ADA7}" dt="2023-04-03T19:09:18.098" v="162" actId="700"/>
          <ac:spMkLst>
            <pc:docMk/>
            <pc:sldMk cId="1985595969" sldId="479"/>
            <ac:spMk id="8" creationId="{AD765B08-EA1F-9773-F4D5-4A7378FF2C80}"/>
          </ac:spMkLst>
        </pc:spChg>
        <pc:spChg chg="mod ord">
          <ac:chgData name="Oehrli, Stefan" userId="3f36891e-f853-43e7-bcbc-2879a2513833" providerId="ADAL" clId="{BEB5DB81-D722-724F-85CE-75021972ADA7}" dt="2023-04-03T19:30:17.744" v="242" actId="21"/>
          <ac:spMkLst>
            <pc:docMk/>
            <pc:sldMk cId="1985595969" sldId="479"/>
            <ac:spMk id="9" creationId="{41C1E998-12B4-EED0-C537-424C19392290}"/>
          </ac:spMkLst>
        </pc:spChg>
        <pc:spChg chg="add del mod">
          <ac:chgData name="Oehrli, Stefan" userId="3f36891e-f853-43e7-bcbc-2879a2513833" providerId="ADAL" clId="{BEB5DB81-D722-724F-85CE-75021972ADA7}" dt="2023-04-03T19:16:31.965" v="165"/>
          <ac:spMkLst>
            <pc:docMk/>
            <pc:sldMk cId="1985595969" sldId="479"/>
            <ac:spMk id="11" creationId="{C533C01A-2C15-6EFA-BDF3-413DEF40A697}"/>
          </ac:spMkLst>
        </pc:spChg>
        <pc:spChg chg="add del mod">
          <ac:chgData name="Oehrli, Stefan" userId="3f36891e-f853-43e7-bcbc-2879a2513833" providerId="ADAL" clId="{BEB5DB81-D722-724F-85CE-75021972ADA7}" dt="2023-04-03T19:20:18.037" v="232" actId="700"/>
          <ac:spMkLst>
            <pc:docMk/>
            <pc:sldMk cId="1985595969" sldId="479"/>
            <ac:spMk id="14" creationId="{C498AF99-4865-F4A3-474D-C45DB0D91406}"/>
          </ac:spMkLst>
        </pc:spChg>
        <pc:spChg chg="add del mod ord">
          <ac:chgData name="Oehrli, Stefan" userId="3f36891e-f853-43e7-bcbc-2879a2513833" providerId="ADAL" clId="{BEB5DB81-D722-724F-85CE-75021972ADA7}" dt="2023-04-03T19:20:27.330" v="234" actId="700"/>
          <ac:spMkLst>
            <pc:docMk/>
            <pc:sldMk cId="1985595969" sldId="479"/>
            <ac:spMk id="15" creationId="{7D7DB18D-C3B5-6333-A806-28EE11D4F016}"/>
          </ac:spMkLst>
        </pc:spChg>
        <pc:spChg chg="add mod">
          <ac:chgData name="Oehrli, Stefan" userId="3f36891e-f853-43e7-bcbc-2879a2513833" providerId="ADAL" clId="{BEB5DB81-D722-724F-85CE-75021972ADA7}" dt="2023-04-03T19:20:21.242" v="233" actId="767"/>
          <ac:spMkLst>
            <pc:docMk/>
            <pc:sldMk cId="1985595969" sldId="479"/>
            <ac:spMk id="16" creationId="{05D3DC33-9929-C59E-682C-A31BEF26201C}"/>
          </ac:spMkLst>
        </pc:spChg>
        <pc:spChg chg="add mod ord">
          <ac:chgData name="Oehrli, Stefan" userId="3f36891e-f853-43e7-bcbc-2879a2513833" providerId="ADAL" clId="{BEB5DB81-D722-724F-85CE-75021972ADA7}" dt="2023-04-03T19:20:30.425" v="235" actId="700"/>
          <ac:spMkLst>
            <pc:docMk/>
            <pc:sldMk cId="1985595969" sldId="479"/>
            <ac:spMk id="17" creationId="{23E0DE62-BB77-A98F-970E-F77C3A153C6A}"/>
          </ac:spMkLst>
        </pc:spChg>
        <pc:picChg chg="add del mod">
          <ac:chgData name="Oehrli, Stefan" userId="3f36891e-f853-43e7-bcbc-2879a2513833" providerId="ADAL" clId="{BEB5DB81-D722-724F-85CE-75021972ADA7}" dt="2023-04-03T19:16:30.850" v="164" actId="478"/>
          <ac:picMkLst>
            <pc:docMk/>
            <pc:sldMk cId="1985595969" sldId="479"/>
            <ac:picMk id="4" creationId="{5A21C428-23FA-A5D3-E34B-3FE294B0C667}"/>
          </ac:picMkLst>
        </pc:picChg>
        <pc:picChg chg="add del mod">
          <ac:chgData name="Oehrli, Stefan" userId="3f36891e-f853-43e7-bcbc-2879a2513833" providerId="ADAL" clId="{BEB5DB81-D722-724F-85CE-75021972ADA7}" dt="2023-04-03T19:20:12.362" v="231" actId="21"/>
          <ac:picMkLst>
            <pc:docMk/>
            <pc:sldMk cId="1985595969" sldId="479"/>
            <ac:picMk id="12" creationId="{1298D8D0-834A-AFE5-84EE-3F89092AB0C7}"/>
          </ac:picMkLst>
        </pc:picChg>
      </pc:sldChg>
      <pc:sldChg chg="addSp delSp modSp new mod chgLayout">
        <pc:chgData name="Oehrli, Stefan" userId="3f36891e-f853-43e7-bcbc-2879a2513833" providerId="ADAL" clId="{BEB5DB81-D722-724F-85CE-75021972ADA7}" dt="2023-04-04T18:33:52.092" v="6260" actId="20577"/>
        <pc:sldMkLst>
          <pc:docMk/>
          <pc:sldMk cId="4239886515" sldId="480"/>
        </pc:sldMkLst>
        <pc:spChg chg="del mod ord">
          <ac:chgData name="Oehrli, Stefan" userId="3f36891e-f853-43e7-bcbc-2879a2513833" providerId="ADAL" clId="{BEB5DB81-D722-724F-85CE-75021972ADA7}" dt="2023-04-03T13:03:58.775" v="7" actId="700"/>
          <ac:spMkLst>
            <pc:docMk/>
            <pc:sldMk cId="4239886515" sldId="480"/>
            <ac:spMk id="2" creationId="{4AA560AA-A67C-F2B3-8970-11906A4131DE}"/>
          </ac:spMkLst>
        </pc:spChg>
        <pc:spChg chg="add mod ord">
          <ac:chgData name="Oehrli, Stefan" userId="3f36891e-f853-43e7-bcbc-2879a2513833" providerId="ADAL" clId="{BEB5DB81-D722-724F-85CE-75021972ADA7}" dt="2023-04-03T13:05:20.027" v="9"/>
          <ac:spMkLst>
            <pc:docMk/>
            <pc:sldMk cId="4239886515" sldId="480"/>
            <ac:spMk id="3" creationId="{1CFF8D79-E5D0-CB92-E5C1-9AB31A6E8C25}"/>
          </ac:spMkLst>
        </pc:spChg>
        <pc:spChg chg="add mod ord">
          <ac:chgData name="Oehrli, Stefan" userId="3f36891e-f853-43e7-bcbc-2879a2513833" providerId="ADAL" clId="{BEB5DB81-D722-724F-85CE-75021972ADA7}" dt="2023-04-04T18:33:52.092" v="6260" actId="20577"/>
          <ac:spMkLst>
            <pc:docMk/>
            <pc:sldMk cId="4239886515" sldId="480"/>
            <ac:spMk id="4" creationId="{F4D16C22-C1BC-AD85-0A01-6D918C31FBC0}"/>
          </ac:spMkLst>
        </pc:spChg>
        <pc:spChg chg="add mod ord">
          <ac:chgData name="Oehrli, Stefan" userId="3f36891e-f853-43e7-bcbc-2879a2513833" providerId="ADAL" clId="{BEB5DB81-D722-724F-85CE-75021972ADA7}" dt="2023-04-03T21:06:29.567" v="2285" actId="20577"/>
          <ac:spMkLst>
            <pc:docMk/>
            <pc:sldMk cId="4239886515" sldId="480"/>
            <ac:spMk id="5" creationId="{81432748-12E5-D009-5764-A6F202D8D5C1}"/>
          </ac:spMkLst>
        </pc:spChg>
      </pc:sldChg>
      <pc:sldChg chg="modSp add mod ord">
        <pc:chgData name="Oehrli, Stefan" userId="3f36891e-f853-43e7-bcbc-2879a2513833" providerId="ADAL" clId="{BEB5DB81-D722-724F-85CE-75021972ADA7}" dt="2023-04-03T19:18:18.574" v="178" actId="20578"/>
        <pc:sldMkLst>
          <pc:docMk/>
          <pc:sldMk cId="1928709485" sldId="481"/>
        </pc:sldMkLst>
        <pc:spChg chg="mod">
          <ac:chgData name="Oehrli, Stefan" userId="3f36891e-f853-43e7-bcbc-2879a2513833" providerId="ADAL" clId="{BEB5DB81-D722-724F-85CE-75021972ADA7}" dt="2023-04-03T13:07:43.314" v="82" actId="20577"/>
          <ac:spMkLst>
            <pc:docMk/>
            <pc:sldMk cId="1928709485" sldId="481"/>
            <ac:spMk id="2" creationId="{6B7D050A-F3DB-4B0A-8C3E-8F4D3EE9CC12}"/>
          </ac:spMkLst>
        </pc:spChg>
      </pc:sldChg>
      <pc:sldChg chg="addSp delSp modSp new mod modClrScheme chgLayout">
        <pc:chgData name="Oehrli, Stefan" userId="3f36891e-f853-43e7-bcbc-2879a2513833" providerId="ADAL" clId="{BEB5DB81-D722-724F-85CE-75021972ADA7}" dt="2023-04-03T20:46:12.965" v="1717" actId="20577"/>
        <pc:sldMkLst>
          <pc:docMk/>
          <pc:sldMk cId="4174432396" sldId="482"/>
        </pc:sldMkLst>
        <pc:spChg chg="mod ord">
          <ac:chgData name="Oehrli, Stefan" userId="3f36891e-f853-43e7-bcbc-2879a2513833" providerId="ADAL" clId="{BEB5DB81-D722-724F-85CE-75021972ADA7}" dt="2023-04-03T20:34:55.467" v="1215" actId="700"/>
          <ac:spMkLst>
            <pc:docMk/>
            <pc:sldMk cId="4174432396" sldId="482"/>
            <ac:spMk id="2" creationId="{25558306-403D-6C14-0D47-BD5150E42E84}"/>
          </ac:spMkLst>
        </pc:spChg>
        <pc:spChg chg="mod ord">
          <ac:chgData name="Oehrli, Stefan" userId="3f36891e-f853-43e7-bcbc-2879a2513833" providerId="ADAL" clId="{BEB5DB81-D722-724F-85CE-75021972ADA7}" dt="2023-04-03T20:46:12.965" v="1717" actId="20577"/>
          <ac:spMkLst>
            <pc:docMk/>
            <pc:sldMk cId="4174432396" sldId="482"/>
            <ac:spMk id="3" creationId="{8D291947-2B30-4181-6810-2FEC406B0DB7}"/>
          </ac:spMkLst>
        </pc:spChg>
        <pc:spChg chg="mod ord">
          <ac:chgData name="Oehrli, Stefan" userId="3f36891e-f853-43e7-bcbc-2879a2513833" providerId="ADAL" clId="{BEB5DB81-D722-724F-85CE-75021972ADA7}" dt="2023-04-03T20:34:55.467" v="1215" actId="700"/>
          <ac:spMkLst>
            <pc:docMk/>
            <pc:sldMk cId="4174432396" sldId="482"/>
            <ac:spMk id="4" creationId="{3F24D6B6-172A-1A07-9C6D-823D25A27FB9}"/>
          </ac:spMkLst>
        </pc:spChg>
        <pc:spChg chg="mod ord">
          <ac:chgData name="Oehrli, Stefan" userId="3f36891e-f853-43e7-bcbc-2879a2513833" providerId="ADAL" clId="{BEB5DB81-D722-724F-85CE-75021972ADA7}" dt="2023-04-03T20:34:55.467" v="1215" actId="700"/>
          <ac:spMkLst>
            <pc:docMk/>
            <pc:sldMk cId="4174432396" sldId="482"/>
            <ac:spMk id="5" creationId="{8E345C3D-84FD-BBA3-0308-CD9B28F0F0C9}"/>
          </ac:spMkLst>
        </pc:spChg>
        <pc:spChg chg="mod ord">
          <ac:chgData name="Oehrli, Stefan" userId="3f36891e-f853-43e7-bcbc-2879a2513833" providerId="ADAL" clId="{BEB5DB81-D722-724F-85CE-75021972ADA7}" dt="2023-04-03T20:34:55.467" v="1215" actId="700"/>
          <ac:spMkLst>
            <pc:docMk/>
            <pc:sldMk cId="4174432396" sldId="482"/>
            <ac:spMk id="6" creationId="{671903D4-72AB-71FA-B564-42B364CC1074}"/>
          </ac:spMkLst>
        </pc:spChg>
        <pc:spChg chg="add del mod ord">
          <ac:chgData name="Oehrli, Stefan" userId="3f36891e-f853-43e7-bcbc-2879a2513833" providerId="ADAL" clId="{BEB5DB81-D722-724F-85CE-75021972ADA7}" dt="2023-04-03T20:34:57.309" v="1216"/>
          <ac:spMkLst>
            <pc:docMk/>
            <pc:sldMk cId="4174432396" sldId="482"/>
            <ac:spMk id="7" creationId="{37559EF5-1664-7E41-13BB-F60A7FA34578}"/>
          </ac:spMkLst>
        </pc:spChg>
        <pc:picChg chg="add mod">
          <ac:chgData name="Oehrli, Stefan" userId="3f36891e-f853-43e7-bcbc-2879a2513833" providerId="ADAL" clId="{BEB5DB81-D722-724F-85CE-75021972ADA7}" dt="2023-04-03T20:34:57.309" v="1216"/>
          <ac:picMkLst>
            <pc:docMk/>
            <pc:sldMk cId="4174432396" sldId="482"/>
            <ac:picMk id="8" creationId="{346C02ED-87C5-E921-3251-15DCA642B2D8}"/>
          </ac:picMkLst>
        </pc:picChg>
      </pc:sldChg>
      <pc:sldChg chg="addSp delSp modSp new del mod chgLayout">
        <pc:chgData name="Oehrli, Stefan" userId="3f36891e-f853-43e7-bcbc-2879a2513833" providerId="ADAL" clId="{BEB5DB81-D722-724F-85CE-75021972ADA7}" dt="2023-04-04T07:57:40.596" v="5709" actId="2696"/>
        <pc:sldMkLst>
          <pc:docMk/>
          <pc:sldMk cId="987968932" sldId="483"/>
        </pc:sldMkLst>
        <pc:spChg chg="del">
          <ac:chgData name="Oehrli, Stefan" userId="3f36891e-f853-43e7-bcbc-2879a2513833" providerId="ADAL" clId="{BEB5DB81-D722-724F-85CE-75021972ADA7}" dt="2023-04-04T05:43:10.538" v="4263" actId="700"/>
          <ac:spMkLst>
            <pc:docMk/>
            <pc:sldMk cId="987968932" sldId="483"/>
            <ac:spMk id="2" creationId="{15D7DB5A-4D0A-3477-DAAD-FB85CF83CE9F}"/>
          </ac:spMkLst>
        </pc:spChg>
        <pc:spChg chg="mod ord">
          <ac:chgData name="Oehrli, Stefan" userId="3f36891e-f853-43e7-bcbc-2879a2513833" providerId="ADAL" clId="{BEB5DB81-D722-724F-85CE-75021972ADA7}" dt="2023-04-04T05:43:10.538" v="4263" actId="700"/>
          <ac:spMkLst>
            <pc:docMk/>
            <pc:sldMk cId="987968932" sldId="483"/>
            <ac:spMk id="3" creationId="{85644990-BA4D-8940-6C72-6EB768EBDEB0}"/>
          </ac:spMkLst>
        </pc:spChg>
        <pc:spChg chg="del">
          <ac:chgData name="Oehrli, Stefan" userId="3f36891e-f853-43e7-bcbc-2879a2513833" providerId="ADAL" clId="{BEB5DB81-D722-724F-85CE-75021972ADA7}" dt="2023-04-04T05:43:10.538" v="4263" actId="700"/>
          <ac:spMkLst>
            <pc:docMk/>
            <pc:sldMk cId="987968932" sldId="483"/>
            <ac:spMk id="4" creationId="{FE313287-A553-744D-3A06-4CB97638E944}"/>
          </ac:spMkLst>
        </pc:spChg>
        <pc:spChg chg="mod ord">
          <ac:chgData name="Oehrli, Stefan" userId="3f36891e-f853-43e7-bcbc-2879a2513833" providerId="ADAL" clId="{BEB5DB81-D722-724F-85CE-75021972ADA7}" dt="2023-04-04T05:43:10.538" v="4263" actId="700"/>
          <ac:spMkLst>
            <pc:docMk/>
            <pc:sldMk cId="987968932" sldId="483"/>
            <ac:spMk id="5" creationId="{1BF55F7F-202E-E506-8A4A-460733D36436}"/>
          </ac:spMkLst>
        </pc:spChg>
        <pc:spChg chg="mod ord">
          <ac:chgData name="Oehrli, Stefan" userId="3f36891e-f853-43e7-bcbc-2879a2513833" providerId="ADAL" clId="{BEB5DB81-D722-724F-85CE-75021972ADA7}" dt="2023-04-04T05:43:10.538" v="4263" actId="700"/>
          <ac:spMkLst>
            <pc:docMk/>
            <pc:sldMk cId="987968932" sldId="483"/>
            <ac:spMk id="6" creationId="{7848A1C0-DA39-2B73-56FF-55167E1A5CED}"/>
          </ac:spMkLst>
        </pc:spChg>
        <pc:spChg chg="add mod ord">
          <ac:chgData name="Oehrli, Stefan" userId="3f36891e-f853-43e7-bcbc-2879a2513833" providerId="ADAL" clId="{BEB5DB81-D722-724F-85CE-75021972ADA7}" dt="2023-04-04T05:43:10.538" v="4263" actId="700"/>
          <ac:spMkLst>
            <pc:docMk/>
            <pc:sldMk cId="987968932" sldId="483"/>
            <ac:spMk id="7" creationId="{9BA87B35-1ED2-FE79-1F53-74E5125CEFF9}"/>
          </ac:spMkLst>
        </pc:spChg>
        <pc:spChg chg="add mod ord">
          <ac:chgData name="Oehrli, Stefan" userId="3f36891e-f853-43e7-bcbc-2879a2513833" providerId="ADAL" clId="{BEB5DB81-D722-724F-85CE-75021972ADA7}" dt="2023-04-04T05:43:10.538" v="4263" actId="700"/>
          <ac:spMkLst>
            <pc:docMk/>
            <pc:sldMk cId="987968932" sldId="483"/>
            <ac:spMk id="8" creationId="{FCABBB6F-7C5C-FE86-4ADA-2824440EC69B}"/>
          </ac:spMkLst>
        </pc:spChg>
      </pc:sldChg>
      <pc:sldChg chg="addSp delSp modSp new mod ord">
        <pc:chgData name="Oehrli, Stefan" userId="3f36891e-f853-43e7-bcbc-2879a2513833" providerId="ADAL" clId="{BEB5DB81-D722-724F-85CE-75021972ADA7}" dt="2023-04-03T19:18:18.574" v="178" actId="20578"/>
        <pc:sldMkLst>
          <pc:docMk/>
          <pc:sldMk cId="3649216632" sldId="484"/>
        </pc:sldMkLst>
        <pc:spChg chg="mod">
          <ac:chgData name="Oehrli, Stefan" userId="3f36891e-f853-43e7-bcbc-2879a2513833" providerId="ADAL" clId="{BEB5DB81-D722-724F-85CE-75021972ADA7}" dt="2023-04-03T19:08:33.309" v="158" actId="20577"/>
          <ac:spMkLst>
            <pc:docMk/>
            <pc:sldMk cId="3649216632" sldId="484"/>
            <ac:spMk id="2" creationId="{BB37F925-E785-3812-1201-536C455F9F1C}"/>
          </ac:spMkLst>
        </pc:spChg>
        <pc:spChg chg="del mod">
          <ac:chgData name="Oehrli, Stefan" userId="3f36891e-f853-43e7-bcbc-2879a2513833" providerId="ADAL" clId="{BEB5DB81-D722-724F-85CE-75021972ADA7}" dt="2023-04-03T19:08:15.721" v="136"/>
          <ac:spMkLst>
            <pc:docMk/>
            <pc:sldMk cId="3649216632" sldId="484"/>
            <ac:spMk id="3" creationId="{9DCB6237-BED3-5AC1-2B17-A95D4F059BEC}"/>
          </ac:spMkLst>
        </pc:spChg>
        <pc:spChg chg="mod">
          <ac:chgData name="Oehrli, Stefan" userId="3f36891e-f853-43e7-bcbc-2879a2513833" providerId="ADAL" clId="{BEB5DB81-D722-724F-85CE-75021972ADA7}" dt="2023-04-03T19:08:59.102" v="159"/>
          <ac:spMkLst>
            <pc:docMk/>
            <pc:sldMk cId="3649216632" sldId="484"/>
            <ac:spMk id="4" creationId="{3D5C0F9E-FE7E-BCCA-C9B2-73F5FDEAA36F}"/>
          </ac:spMkLst>
        </pc:spChg>
        <pc:picChg chg="add mod">
          <ac:chgData name="Oehrli, Stefan" userId="3f36891e-f853-43e7-bcbc-2879a2513833" providerId="ADAL" clId="{BEB5DB81-D722-724F-85CE-75021972ADA7}" dt="2023-04-03T19:09:03.476" v="161" actId="1076"/>
          <ac:picMkLst>
            <pc:docMk/>
            <pc:sldMk cId="3649216632" sldId="484"/>
            <ac:picMk id="7" creationId="{53A1C281-4B62-3288-0450-86C235DA6BA2}"/>
          </ac:picMkLst>
        </pc:picChg>
      </pc:sldChg>
      <pc:sldChg chg="addSp delSp modSp new mod">
        <pc:chgData name="Oehrli, Stefan" userId="3f36891e-f853-43e7-bcbc-2879a2513833" providerId="ADAL" clId="{BEB5DB81-D722-724F-85CE-75021972ADA7}" dt="2023-04-03T19:50:06.790" v="686" actId="478"/>
        <pc:sldMkLst>
          <pc:docMk/>
          <pc:sldMk cId="374310437" sldId="485"/>
        </pc:sldMkLst>
        <pc:spChg chg="mod">
          <ac:chgData name="Oehrli, Stefan" userId="3f36891e-f853-43e7-bcbc-2879a2513833" providerId="ADAL" clId="{BEB5DB81-D722-724F-85CE-75021972ADA7}" dt="2023-04-03T19:29:12.572" v="240"/>
          <ac:spMkLst>
            <pc:docMk/>
            <pc:sldMk cId="374310437" sldId="485"/>
            <ac:spMk id="2" creationId="{0A683B59-7F37-023E-0512-FC2D492A8BDD}"/>
          </ac:spMkLst>
        </pc:spChg>
        <pc:spChg chg="del">
          <ac:chgData name="Oehrli, Stefan" userId="3f36891e-f853-43e7-bcbc-2879a2513833" providerId="ADAL" clId="{BEB5DB81-D722-724F-85CE-75021972ADA7}" dt="2023-04-03T19:27:27.382" v="237"/>
          <ac:spMkLst>
            <pc:docMk/>
            <pc:sldMk cId="374310437" sldId="485"/>
            <ac:spMk id="3" creationId="{BB0B3CF7-2985-1F43-F0ED-ED239F6D3F24}"/>
          </ac:spMkLst>
        </pc:spChg>
        <pc:spChg chg="mod">
          <ac:chgData name="Oehrli, Stefan" userId="3f36891e-f853-43e7-bcbc-2879a2513833" providerId="ADAL" clId="{BEB5DB81-D722-724F-85CE-75021972ADA7}" dt="2023-04-03T19:49:58.753" v="685" actId="21"/>
          <ac:spMkLst>
            <pc:docMk/>
            <pc:sldMk cId="374310437" sldId="485"/>
            <ac:spMk id="4" creationId="{627ED224-572F-6747-B17E-9BB78882761D}"/>
          </ac:spMkLst>
        </pc:spChg>
        <pc:spChg chg="mod">
          <ac:chgData name="Oehrli, Stefan" userId="3f36891e-f853-43e7-bcbc-2879a2513833" providerId="ADAL" clId="{BEB5DB81-D722-724F-85CE-75021972ADA7}" dt="2023-04-03T19:30:02.999" v="241"/>
          <ac:spMkLst>
            <pc:docMk/>
            <pc:sldMk cId="374310437" sldId="485"/>
            <ac:spMk id="6" creationId="{B28D3141-96DE-A43E-F9DB-6923E882B9AB}"/>
          </ac:spMkLst>
        </pc:spChg>
        <pc:spChg chg="add del mod">
          <ac:chgData name="Oehrli, Stefan" userId="3f36891e-f853-43e7-bcbc-2879a2513833" providerId="ADAL" clId="{BEB5DB81-D722-724F-85CE-75021972ADA7}" dt="2023-04-03T19:29:04.637" v="239"/>
          <ac:spMkLst>
            <pc:docMk/>
            <pc:sldMk cId="374310437" sldId="485"/>
            <ac:spMk id="10" creationId="{D381DF76-7C12-C199-386F-806394571A5D}"/>
          </ac:spMkLst>
        </pc:spChg>
        <pc:spChg chg="mod">
          <ac:chgData name="Oehrli, Stefan" userId="3f36891e-f853-43e7-bcbc-2879a2513833" providerId="ADAL" clId="{BEB5DB81-D722-724F-85CE-75021972ADA7}" dt="2023-04-03T19:37:14.617" v="278"/>
          <ac:spMkLst>
            <pc:docMk/>
            <pc:sldMk cId="374310437" sldId="485"/>
            <ac:spMk id="13" creationId="{2C2114AD-B9C5-E6F1-D304-DC103F61C907}"/>
          </ac:spMkLst>
        </pc:spChg>
        <pc:spChg chg="mod">
          <ac:chgData name="Oehrli, Stefan" userId="3f36891e-f853-43e7-bcbc-2879a2513833" providerId="ADAL" clId="{BEB5DB81-D722-724F-85CE-75021972ADA7}" dt="2023-04-03T19:37:14.617" v="278"/>
          <ac:spMkLst>
            <pc:docMk/>
            <pc:sldMk cId="374310437" sldId="485"/>
            <ac:spMk id="14" creationId="{7C98AE17-280D-53D1-DB40-400759767A3F}"/>
          </ac:spMkLst>
        </pc:spChg>
        <pc:spChg chg="mod">
          <ac:chgData name="Oehrli, Stefan" userId="3f36891e-f853-43e7-bcbc-2879a2513833" providerId="ADAL" clId="{BEB5DB81-D722-724F-85CE-75021972ADA7}" dt="2023-04-03T19:37:14.617" v="278"/>
          <ac:spMkLst>
            <pc:docMk/>
            <pc:sldMk cId="374310437" sldId="485"/>
            <ac:spMk id="15" creationId="{F725344F-A390-62ED-66F0-0B3325FAB05B}"/>
          </ac:spMkLst>
        </pc:spChg>
        <pc:spChg chg="mod">
          <ac:chgData name="Oehrli, Stefan" userId="3f36891e-f853-43e7-bcbc-2879a2513833" providerId="ADAL" clId="{BEB5DB81-D722-724F-85CE-75021972ADA7}" dt="2023-04-03T19:37:14.617" v="278"/>
          <ac:spMkLst>
            <pc:docMk/>
            <pc:sldMk cId="374310437" sldId="485"/>
            <ac:spMk id="16" creationId="{26D13832-1941-24D8-4E13-040646C1AAD6}"/>
          </ac:spMkLst>
        </pc:spChg>
        <pc:spChg chg="mod">
          <ac:chgData name="Oehrli, Stefan" userId="3f36891e-f853-43e7-bcbc-2879a2513833" providerId="ADAL" clId="{BEB5DB81-D722-724F-85CE-75021972ADA7}" dt="2023-04-03T19:37:14.617" v="278"/>
          <ac:spMkLst>
            <pc:docMk/>
            <pc:sldMk cId="374310437" sldId="485"/>
            <ac:spMk id="17" creationId="{32C018C7-2E93-8788-F502-CE2F9D2867D7}"/>
          </ac:spMkLst>
        </pc:spChg>
        <pc:spChg chg="mod">
          <ac:chgData name="Oehrli, Stefan" userId="3f36891e-f853-43e7-bcbc-2879a2513833" providerId="ADAL" clId="{BEB5DB81-D722-724F-85CE-75021972ADA7}" dt="2023-04-03T19:37:14.617" v="278"/>
          <ac:spMkLst>
            <pc:docMk/>
            <pc:sldMk cId="374310437" sldId="485"/>
            <ac:spMk id="18" creationId="{22259163-380C-6152-7B7E-00947D3D9764}"/>
          </ac:spMkLst>
        </pc:spChg>
        <pc:spChg chg="mod">
          <ac:chgData name="Oehrli, Stefan" userId="3f36891e-f853-43e7-bcbc-2879a2513833" providerId="ADAL" clId="{BEB5DB81-D722-724F-85CE-75021972ADA7}" dt="2023-04-03T19:38:02.498" v="330" actId="1076"/>
          <ac:spMkLst>
            <pc:docMk/>
            <pc:sldMk cId="374310437" sldId="485"/>
            <ac:spMk id="20" creationId="{C826BE5D-EFC8-20D2-1BA4-9F9481F5C3FB}"/>
          </ac:spMkLst>
        </pc:spChg>
        <pc:spChg chg="mod">
          <ac:chgData name="Oehrli, Stefan" userId="3f36891e-f853-43e7-bcbc-2879a2513833" providerId="ADAL" clId="{BEB5DB81-D722-724F-85CE-75021972ADA7}" dt="2023-04-03T19:38:02.498" v="330" actId="1076"/>
          <ac:spMkLst>
            <pc:docMk/>
            <pc:sldMk cId="374310437" sldId="485"/>
            <ac:spMk id="21" creationId="{25459C6D-6A24-61EA-21E1-97C393D2D8C5}"/>
          </ac:spMkLst>
        </pc:spChg>
        <pc:spChg chg="mod">
          <ac:chgData name="Oehrli, Stefan" userId="3f36891e-f853-43e7-bcbc-2879a2513833" providerId="ADAL" clId="{BEB5DB81-D722-724F-85CE-75021972ADA7}" dt="2023-04-03T19:38:02.498" v="330" actId="1076"/>
          <ac:spMkLst>
            <pc:docMk/>
            <pc:sldMk cId="374310437" sldId="485"/>
            <ac:spMk id="22" creationId="{6015AF56-7975-DCF9-4EA4-DBF0CCF23C04}"/>
          </ac:spMkLst>
        </pc:spChg>
        <pc:spChg chg="mod">
          <ac:chgData name="Oehrli, Stefan" userId="3f36891e-f853-43e7-bcbc-2879a2513833" providerId="ADAL" clId="{BEB5DB81-D722-724F-85CE-75021972ADA7}" dt="2023-04-03T19:38:02.498" v="330" actId="1076"/>
          <ac:spMkLst>
            <pc:docMk/>
            <pc:sldMk cId="374310437" sldId="485"/>
            <ac:spMk id="23" creationId="{60E48CC1-65DD-F25E-1385-B19FAEC3A54A}"/>
          </ac:spMkLst>
        </pc:spChg>
        <pc:spChg chg="mod">
          <ac:chgData name="Oehrli, Stefan" userId="3f36891e-f853-43e7-bcbc-2879a2513833" providerId="ADAL" clId="{BEB5DB81-D722-724F-85CE-75021972ADA7}" dt="2023-04-03T19:38:02.498" v="330" actId="1076"/>
          <ac:spMkLst>
            <pc:docMk/>
            <pc:sldMk cId="374310437" sldId="485"/>
            <ac:spMk id="24" creationId="{B04E7D27-A83F-7D26-0D62-1C118850663F}"/>
          </ac:spMkLst>
        </pc:spChg>
        <pc:spChg chg="mod">
          <ac:chgData name="Oehrli, Stefan" userId="3f36891e-f853-43e7-bcbc-2879a2513833" providerId="ADAL" clId="{BEB5DB81-D722-724F-85CE-75021972ADA7}" dt="2023-04-03T19:38:02.498" v="330" actId="1076"/>
          <ac:spMkLst>
            <pc:docMk/>
            <pc:sldMk cId="374310437" sldId="485"/>
            <ac:spMk id="25" creationId="{8020CF3B-B2CD-8370-0471-9224E95989E9}"/>
          </ac:spMkLst>
        </pc:spChg>
        <pc:grpChg chg="add del mod">
          <ac:chgData name="Oehrli, Stefan" userId="3f36891e-f853-43e7-bcbc-2879a2513833" providerId="ADAL" clId="{BEB5DB81-D722-724F-85CE-75021972ADA7}" dt="2023-04-03T19:37:29.903" v="283"/>
          <ac:grpSpMkLst>
            <pc:docMk/>
            <pc:sldMk cId="374310437" sldId="485"/>
            <ac:grpSpMk id="12" creationId="{FF17B441-CCBB-6D40-D9DB-EBD695560B10}"/>
          </ac:grpSpMkLst>
        </pc:grpChg>
        <pc:grpChg chg="add del mod">
          <ac:chgData name="Oehrli, Stefan" userId="3f36891e-f853-43e7-bcbc-2879a2513833" providerId="ADAL" clId="{BEB5DB81-D722-724F-85CE-75021972ADA7}" dt="2023-04-03T19:50:06.790" v="686" actId="478"/>
          <ac:grpSpMkLst>
            <pc:docMk/>
            <pc:sldMk cId="374310437" sldId="485"/>
            <ac:grpSpMk id="19" creationId="{43D71549-1FDA-933A-66EA-48B8D19056D3}"/>
          </ac:grpSpMkLst>
        </pc:grpChg>
        <pc:picChg chg="add del mod">
          <ac:chgData name="Oehrli, Stefan" userId="3f36891e-f853-43e7-bcbc-2879a2513833" providerId="ADAL" clId="{BEB5DB81-D722-724F-85CE-75021972ADA7}" dt="2023-04-03T19:29:03.512" v="238" actId="478"/>
          <ac:picMkLst>
            <pc:docMk/>
            <pc:sldMk cId="374310437" sldId="485"/>
            <ac:picMk id="8" creationId="{3EA22027-1D3A-8394-B90F-5438AECC4118}"/>
          </ac:picMkLst>
        </pc:picChg>
        <pc:picChg chg="add mod">
          <ac:chgData name="Oehrli, Stefan" userId="3f36891e-f853-43e7-bcbc-2879a2513833" providerId="ADAL" clId="{BEB5DB81-D722-724F-85CE-75021972ADA7}" dt="2023-04-03T19:38:17.698" v="333" actId="1076"/>
          <ac:picMkLst>
            <pc:docMk/>
            <pc:sldMk cId="374310437" sldId="485"/>
            <ac:picMk id="11" creationId="{62E76AD4-CDEE-6935-A5A8-F0E36C086B7A}"/>
          </ac:picMkLst>
        </pc:picChg>
      </pc:sldChg>
      <pc:sldChg chg="modSp add mod ord">
        <pc:chgData name="Oehrli, Stefan" userId="3f36891e-f853-43e7-bcbc-2879a2513833" providerId="ADAL" clId="{BEB5DB81-D722-724F-85CE-75021972ADA7}" dt="2023-04-03T19:50:48.027" v="698" actId="20578"/>
        <pc:sldMkLst>
          <pc:docMk/>
          <pc:sldMk cId="2620699427" sldId="486"/>
        </pc:sldMkLst>
        <pc:spChg chg="mod">
          <ac:chgData name="Oehrli, Stefan" userId="3f36891e-f853-43e7-bcbc-2879a2513833" providerId="ADAL" clId="{BEB5DB81-D722-724F-85CE-75021972ADA7}" dt="2023-04-03T19:50:38.971" v="697" actId="20577"/>
          <ac:spMkLst>
            <pc:docMk/>
            <pc:sldMk cId="2620699427" sldId="486"/>
            <ac:spMk id="2" creationId="{6B7D050A-F3DB-4B0A-8C3E-8F4D3EE9CC12}"/>
          </ac:spMkLst>
        </pc:spChg>
      </pc:sldChg>
      <pc:sldChg chg="modSp add mod">
        <pc:chgData name="Oehrli, Stefan" userId="3f36891e-f853-43e7-bcbc-2879a2513833" providerId="ADAL" clId="{BEB5DB81-D722-724F-85CE-75021972ADA7}" dt="2023-04-03T20:47:34.663" v="1792"/>
        <pc:sldMkLst>
          <pc:docMk/>
          <pc:sldMk cId="410080873" sldId="487"/>
        </pc:sldMkLst>
        <pc:spChg chg="mod">
          <ac:chgData name="Oehrli, Stefan" userId="3f36891e-f853-43e7-bcbc-2879a2513833" providerId="ADAL" clId="{BEB5DB81-D722-724F-85CE-75021972ADA7}" dt="2023-04-03T20:47:34.663" v="1792"/>
          <ac:spMkLst>
            <pc:docMk/>
            <pc:sldMk cId="410080873" sldId="487"/>
            <ac:spMk id="2" creationId="{6B7D050A-F3DB-4B0A-8C3E-8F4D3EE9CC12}"/>
          </ac:spMkLst>
        </pc:spChg>
      </pc:sldChg>
      <pc:sldChg chg="modSp new mod ord">
        <pc:chgData name="Oehrli, Stefan" userId="3f36891e-f853-43e7-bcbc-2879a2513833" providerId="ADAL" clId="{BEB5DB81-D722-724F-85CE-75021972ADA7}" dt="2023-04-03T21:05:47.698" v="2283"/>
        <pc:sldMkLst>
          <pc:docMk/>
          <pc:sldMk cId="1360537350" sldId="488"/>
        </pc:sldMkLst>
        <pc:spChg chg="mod">
          <ac:chgData name="Oehrli, Stefan" userId="3f36891e-f853-43e7-bcbc-2879a2513833" providerId="ADAL" clId="{BEB5DB81-D722-724F-85CE-75021972ADA7}" dt="2023-04-03T21:05:47.698" v="2283"/>
          <ac:spMkLst>
            <pc:docMk/>
            <pc:sldMk cId="1360537350" sldId="488"/>
            <ac:spMk id="2" creationId="{5A99365B-B677-E4C1-2C37-1D62266BA08C}"/>
          </ac:spMkLst>
        </pc:spChg>
        <pc:spChg chg="mod">
          <ac:chgData name="Oehrli, Stefan" userId="3f36891e-f853-43e7-bcbc-2879a2513833" providerId="ADAL" clId="{BEB5DB81-D722-724F-85CE-75021972ADA7}" dt="2023-04-03T21:04:52.416" v="2279" actId="20577"/>
          <ac:spMkLst>
            <pc:docMk/>
            <pc:sldMk cId="1360537350" sldId="488"/>
            <ac:spMk id="3" creationId="{8697DCCA-15D9-58E1-AF51-BD6C6997D56F}"/>
          </ac:spMkLst>
        </pc:spChg>
        <pc:spChg chg="mod">
          <ac:chgData name="Oehrli, Stefan" userId="3f36891e-f853-43e7-bcbc-2879a2513833" providerId="ADAL" clId="{BEB5DB81-D722-724F-85CE-75021972ADA7}" dt="2023-04-03T20:53:36.125" v="1876" actId="20577"/>
          <ac:spMkLst>
            <pc:docMk/>
            <pc:sldMk cId="1360537350" sldId="488"/>
            <ac:spMk id="4" creationId="{6F7391E2-A25C-FB8D-793A-73E0E9E17C40}"/>
          </ac:spMkLst>
        </pc:spChg>
      </pc:sldChg>
      <pc:sldChg chg="modSp new mod">
        <pc:chgData name="Oehrli, Stefan" userId="3f36891e-f853-43e7-bcbc-2879a2513833" providerId="ADAL" clId="{BEB5DB81-D722-724F-85CE-75021972ADA7}" dt="2023-04-04T05:53:33.156" v="4339" actId="20577"/>
        <pc:sldMkLst>
          <pc:docMk/>
          <pc:sldMk cId="299594700" sldId="489"/>
        </pc:sldMkLst>
        <pc:spChg chg="mod">
          <ac:chgData name="Oehrli, Stefan" userId="3f36891e-f853-43e7-bcbc-2879a2513833" providerId="ADAL" clId="{BEB5DB81-D722-724F-85CE-75021972ADA7}" dt="2023-04-03T21:05:14.262" v="2282"/>
          <ac:spMkLst>
            <pc:docMk/>
            <pc:sldMk cId="299594700" sldId="489"/>
            <ac:spMk id="2" creationId="{27FF90EA-20C0-B6EE-2B71-4970809A27E9}"/>
          </ac:spMkLst>
        </pc:spChg>
        <pc:spChg chg="mod">
          <ac:chgData name="Oehrli, Stefan" userId="3f36891e-f853-43e7-bcbc-2879a2513833" providerId="ADAL" clId="{BEB5DB81-D722-724F-85CE-75021972ADA7}" dt="2023-04-04T05:53:33.156" v="4339" actId="20577"/>
          <ac:spMkLst>
            <pc:docMk/>
            <pc:sldMk cId="299594700" sldId="489"/>
            <ac:spMk id="3" creationId="{3BA736C6-2418-7DF3-5BB9-9F927BC2E9E2}"/>
          </ac:spMkLst>
        </pc:spChg>
        <pc:spChg chg="mod">
          <ac:chgData name="Oehrli, Stefan" userId="3f36891e-f853-43e7-bcbc-2879a2513833" providerId="ADAL" clId="{BEB5DB81-D722-724F-85CE-75021972ADA7}" dt="2023-04-03T21:05:08.089" v="2281"/>
          <ac:spMkLst>
            <pc:docMk/>
            <pc:sldMk cId="299594700" sldId="489"/>
            <ac:spMk id="4" creationId="{392C1FED-F218-6AB8-7AA3-D109E99A8F82}"/>
          </ac:spMkLst>
        </pc:spChg>
      </pc:sldChg>
      <pc:sldChg chg="addSp delSp modSp add mod ord">
        <pc:chgData name="Oehrli, Stefan" userId="3f36891e-f853-43e7-bcbc-2879a2513833" providerId="ADAL" clId="{BEB5DB81-D722-724F-85CE-75021972ADA7}" dt="2023-04-04T07:59:48.049" v="5739" actId="1076"/>
        <pc:sldMkLst>
          <pc:docMk/>
          <pc:sldMk cId="2796484050" sldId="490"/>
        </pc:sldMkLst>
        <pc:spChg chg="mod">
          <ac:chgData name="Oehrli, Stefan" userId="3f36891e-f853-43e7-bcbc-2879a2513833" providerId="ADAL" clId="{BEB5DB81-D722-724F-85CE-75021972ADA7}" dt="2023-04-04T07:53:20.274" v="5551"/>
          <ac:spMkLst>
            <pc:docMk/>
            <pc:sldMk cId="2796484050" sldId="490"/>
            <ac:spMk id="2" creationId="{15D7DB5A-4D0A-3477-DAAD-FB85CF83CE9F}"/>
          </ac:spMkLst>
        </pc:spChg>
        <pc:spChg chg="del mod">
          <ac:chgData name="Oehrli, Stefan" userId="3f36891e-f853-43e7-bcbc-2879a2513833" providerId="ADAL" clId="{BEB5DB81-D722-724F-85CE-75021972ADA7}" dt="2023-04-04T07:36:16.909" v="5338" actId="3680"/>
          <ac:spMkLst>
            <pc:docMk/>
            <pc:sldMk cId="2796484050" sldId="490"/>
            <ac:spMk id="3" creationId="{85644990-BA4D-8940-6C72-6EB768EBDEB0}"/>
          </ac:spMkLst>
        </pc:spChg>
        <pc:spChg chg="mod">
          <ac:chgData name="Oehrli, Stefan" userId="3f36891e-f853-43e7-bcbc-2879a2513833" providerId="ADAL" clId="{BEB5DB81-D722-724F-85CE-75021972ADA7}" dt="2023-04-04T07:59:31.350" v="5738" actId="1076"/>
          <ac:spMkLst>
            <pc:docMk/>
            <pc:sldMk cId="2796484050" sldId="490"/>
            <ac:spMk id="4" creationId="{FE313287-A553-744D-3A06-4CB97638E944}"/>
          </ac:spMkLst>
        </pc:spChg>
        <pc:spChg chg="add del mod">
          <ac:chgData name="Oehrli, Stefan" userId="3f36891e-f853-43e7-bcbc-2879a2513833" providerId="ADAL" clId="{BEB5DB81-D722-724F-85CE-75021972ADA7}" dt="2023-04-04T07:48:43.135" v="5530" actId="478"/>
          <ac:spMkLst>
            <pc:docMk/>
            <pc:sldMk cId="2796484050" sldId="490"/>
            <ac:spMk id="8" creationId="{45DED209-B3A3-8F10-C16F-A9CF151086A5}"/>
          </ac:spMkLst>
        </pc:spChg>
        <pc:spChg chg="add del mod">
          <ac:chgData name="Oehrli, Stefan" userId="3f36891e-f853-43e7-bcbc-2879a2513833" providerId="ADAL" clId="{BEB5DB81-D722-724F-85CE-75021972ADA7}" dt="2023-04-04T07:48:41.562" v="5529" actId="478"/>
          <ac:spMkLst>
            <pc:docMk/>
            <pc:sldMk cId="2796484050" sldId="490"/>
            <ac:spMk id="9" creationId="{C9789545-2CAC-99B0-730A-503862E2039B}"/>
          </ac:spMkLst>
        </pc:spChg>
        <pc:spChg chg="add mod">
          <ac:chgData name="Oehrli, Stefan" userId="3f36891e-f853-43e7-bcbc-2879a2513833" providerId="ADAL" clId="{BEB5DB81-D722-724F-85CE-75021972ADA7}" dt="2023-04-04T07:59:48.049" v="5739" actId="1076"/>
          <ac:spMkLst>
            <pc:docMk/>
            <pc:sldMk cId="2796484050" sldId="490"/>
            <ac:spMk id="10" creationId="{86819393-2BC9-EDBD-BF4D-E3D9252AEBFE}"/>
          </ac:spMkLst>
        </pc:spChg>
        <pc:spChg chg="add mod">
          <ac:chgData name="Oehrli, Stefan" userId="3f36891e-f853-43e7-bcbc-2879a2513833" providerId="ADAL" clId="{BEB5DB81-D722-724F-85CE-75021972ADA7}" dt="2023-04-04T07:59:48.049" v="5739" actId="1076"/>
          <ac:spMkLst>
            <pc:docMk/>
            <pc:sldMk cId="2796484050" sldId="490"/>
            <ac:spMk id="11" creationId="{140411BF-00B4-965C-F288-9D23808910CD}"/>
          </ac:spMkLst>
        </pc:spChg>
        <pc:spChg chg="add mod">
          <ac:chgData name="Oehrli, Stefan" userId="3f36891e-f853-43e7-bcbc-2879a2513833" providerId="ADAL" clId="{BEB5DB81-D722-724F-85CE-75021972ADA7}" dt="2023-04-04T07:59:48.049" v="5739" actId="1076"/>
          <ac:spMkLst>
            <pc:docMk/>
            <pc:sldMk cId="2796484050" sldId="490"/>
            <ac:spMk id="12" creationId="{6A14E84B-88F3-1D85-B9DA-FA8D15696E73}"/>
          </ac:spMkLst>
        </pc:spChg>
        <pc:spChg chg="add mod">
          <ac:chgData name="Oehrli, Stefan" userId="3f36891e-f853-43e7-bcbc-2879a2513833" providerId="ADAL" clId="{BEB5DB81-D722-724F-85CE-75021972ADA7}" dt="2023-04-04T07:59:48.049" v="5739" actId="1076"/>
          <ac:spMkLst>
            <pc:docMk/>
            <pc:sldMk cId="2796484050" sldId="490"/>
            <ac:spMk id="13" creationId="{105D6CFB-A5CA-AABA-C35F-984347761F34}"/>
          </ac:spMkLst>
        </pc:spChg>
        <pc:spChg chg="add mod">
          <ac:chgData name="Oehrli, Stefan" userId="3f36891e-f853-43e7-bcbc-2879a2513833" providerId="ADAL" clId="{BEB5DB81-D722-724F-85CE-75021972ADA7}" dt="2023-04-04T07:59:48.049" v="5739" actId="1076"/>
          <ac:spMkLst>
            <pc:docMk/>
            <pc:sldMk cId="2796484050" sldId="490"/>
            <ac:spMk id="14" creationId="{3C1E3811-2474-9F4D-964F-AA2E44D35CC4}"/>
          </ac:spMkLst>
        </pc:spChg>
        <pc:spChg chg="add mod">
          <ac:chgData name="Oehrli, Stefan" userId="3f36891e-f853-43e7-bcbc-2879a2513833" providerId="ADAL" clId="{BEB5DB81-D722-724F-85CE-75021972ADA7}" dt="2023-04-04T07:59:48.049" v="5739" actId="1076"/>
          <ac:spMkLst>
            <pc:docMk/>
            <pc:sldMk cId="2796484050" sldId="490"/>
            <ac:spMk id="15" creationId="{81298F0F-469B-392D-A498-7961DE281E3B}"/>
          </ac:spMkLst>
        </pc:spChg>
        <pc:spChg chg="add mod">
          <ac:chgData name="Oehrli, Stefan" userId="3f36891e-f853-43e7-bcbc-2879a2513833" providerId="ADAL" clId="{BEB5DB81-D722-724F-85CE-75021972ADA7}" dt="2023-04-04T07:59:48.049" v="5739" actId="1076"/>
          <ac:spMkLst>
            <pc:docMk/>
            <pc:sldMk cId="2796484050" sldId="490"/>
            <ac:spMk id="16" creationId="{039E456F-CFD4-A0D8-0C82-8AAC4BB93CF0}"/>
          </ac:spMkLst>
        </pc:spChg>
        <pc:spChg chg="add mod">
          <ac:chgData name="Oehrli, Stefan" userId="3f36891e-f853-43e7-bcbc-2879a2513833" providerId="ADAL" clId="{BEB5DB81-D722-724F-85CE-75021972ADA7}" dt="2023-04-04T07:59:48.049" v="5739" actId="1076"/>
          <ac:spMkLst>
            <pc:docMk/>
            <pc:sldMk cId="2796484050" sldId="490"/>
            <ac:spMk id="17" creationId="{BB4EEEFB-1FEC-2D4D-75FD-98E882EEE9C9}"/>
          </ac:spMkLst>
        </pc:spChg>
        <pc:spChg chg="add mod">
          <ac:chgData name="Oehrli, Stefan" userId="3f36891e-f853-43e7-bcbc-2879a2513833" providerId="ADAL" clId="{BEB5DB81-D722-724F-85CE-75021972ADA7}" dt="2023-04-04T07:59:48.049" v="5739" actId="1076"/>
          <ac:spMkLst>
            <pc:docMk/>
            <pc:sldMk cId="2796484050" sldId="490"/>
            <ac:spMk id="18" creationId="{8263FDB5-A5E8-38D7-5270-45DBCB633184}"/>
          </ac:spMkLst>
        </pc:spChg>
        <pc:spChg chg="add mod">
          <ac:chgData name="Oehrli, Stefan" userId="3f36891e-f853-43e7-bcbc-2879a2513833" providerId="ADAL" clId="{BEB5DB81-D722-724F-85CE-75021972ADA7}" dt="2023-04-04T07:59:48.049" v="5739" actId="1076"/>
          <ac:spMkLst>
            <pc:docMk/>
            <pc:sldMk cId="2796484050" sldId="490"/>
            <ac:spMk id="19" creationId="{DFED9CF7-BDB8-CA1A-A7D1-85267702FCFC}"/>
          </ac:spMkLst>
        </pc:spChg>
        <pc:spChg chg="add mod">
          <ac:chgData name="Oehrli, Stefan" userId="3f36891e-f853-43e7-bcbc-2879a2513833" providerId="ADAL" clId="{BEB5DB81-D722-724F-85CE-75021972ADA7}" dt="2023-04-04T07:59:48.049" v="5739" actId="1076"/>
          <ac:spMkLst>
            <pc:docMk/>
            <pc:sldMk cId="2796484050" sldId="490"/>
            <ac:spMk id="20" creationId="{A939DDCA-9CB1-5814-EC75-060F1439176C}"/>
          </ac:spMkLst>
        </pc:spChg>
        <pc:spChg chg="add mod">
          <ac:chgData name="Oehrli, Stefan" userId="3f36891e-f853-43e7-bcbc-2879a2513833" providerId="ADAL" clId="{BEB5DB81-D722-724F-85CE-75021972ADA7}" dt="2023-04-04T07:59:48.049" v="5739" actId="1076"/>
          <ac:spMkLst>
            <pc:docMk/>
            <pc:sldMk cId="2796484050" sldId="490"/>
            <ac:spMk id="21" creationId="{23FAC0C4-AA28-E8D1-7CB0-980503527141}"/>
          </ac:spMkLst>
        </pc:spChg>
        <pc:spChg chg="add mod">
          <ac:chgData name="Oehrli, Stefan" userId="3f36891e-f853-43e7-bcbc-2879a2513833" providerId="ADAL" clId="{BEB5DB81-D722-724F-85CE-75021972ADA7}" dt="2023-04-04T07:59:48.049" v="5739" actId="1076"/>
          <ac:spMkLst>
            <pc:docMk/>
            <pc:sldMk cId="2796484050" sldId="490"/>
            <ac:spMk id="22" creationId="{C3598CE6-423D-95A6-69B2-32EEC38399F9}"/>
          </ac:spMkLst>
        </pc:spChg>
        <pc:spChg chg="add mod">
          <ac:chgData name="Oehrli, Stefan" userId="3f36891e-f853-43e7-bcbc-2879a2513833" providerId="ADAL" clId="{BEB5DB81-D722-724F-85CE-75021972ADA7}" dt="2023-04-04T07:59:48.049" v="5739" actId="1076"/>
          <ac:spMkLst>
            <pc:docMk/>
            <pc:sldMk cId="2796484050" sldId="490"/>
            <ac:spMk id="23" creationId="{0F1BAADA-1368-D88B-033F-73AFE9337737}"/>
          </ac:spMkLst>
        </pc:spChg>
        <pc:spChg chg="add del mod">
          <ac:chgData name="Oehrli, Stefan" userId="3f36891e-f853-43e7-bcbc-2879a2513833" providerId="ADAL" clId="{BEB5DB81-D722-724F-85CE-75021972ADA7}" dt="2023-04-04T07:45:59.271" v="5499"/>
          <ac:spMkLst>
            <pc:docMk/>
            <pc:sldMk cId="2796484050" sldId="490"/>
            <ac:spMk id="24" creationId="{76582B26-967C-C2E2-25B7-7B4BFA04BDC3}"/>
          </ac:spMkLst>
        </pc:spChg>
        <pc:spChg chg="add del mod">
          <ac:chgData name="Oehrli, Stefan" userId="3f36891e-f853-43e7-bcbc-2879a2513833" providerId="ADAL" clId="{BEB5DB81-D722-724F-85CE-75021972ADA7}" dt="2023-04-04T07:45:59.271" v="5499"/>
          <ac:spMkLst>
            <pc:docMk/>
            <pc:sldMk cId="2796484050" sldId="490"/>
            <ac:spMk id="25" creationId="{6BBDC86E-CA38-F90B-515A-F002654272A7}"/>
          </ac:spMkLst>
        </pc:spChg>
        <pc:spChg chg="add del mod">
          <ac:chgData name="Oehrli, Stefan" userId="3f36891e-f853-43e7-bcbc-2879a2513833" providerId="ADAL" clId="{BEB5DB81-D722-724F-85CE-75021972ADA7}" dt="2023-04-04T07:45:59.271" v="5499"/>
          <ac:spMkLst>
            <pc:docMk/>
            <pc:sldMk cId="2796484050" sldId="490"/>
            <ac:spMk id="26" creationId="{FC1942ED-75BA-6757-A4E0-5C936734FFFE}"/>
          </ac:spMkLst>
        </pc:spChg>
        <pc:spChg chg="add del mod">
          <ac:chgData name="Oehrli, Stefan" userId="3f36891e-f853-43e7-bcbc-2879a2513833" providerId="ADAL" clId="{BEB5DB81-D722-724F-85CE-75021972ADA7}" dt="2023-04-04T07:45:59.271" v="5499"/>
          <ac:spMkLst>
            <pc:docMk/>
            <pc:sldMk cId="2796484050" sldId="490"/>
            <ac:spMk id="27" creationId="{C9F80EA1-A235-CE46-5020-D5D1689A0B1D}"/>
          </ac:spMkLst>
        </pc:spChg>
        <pc:spChg chg="add del mod">
          <ac:chgData name="Oehrli, Stefan" userId="3f36891e-f853-43e7-bcbc-2879a2513833" providerId="ADAL" clId="{BEB5DB81-D722-724F-85CE-75021972ADA7}" dt="2023-04-04T07:45:59.271" v="5499"/>
          <ac:spMkLst>
            <pc:docMk/>
            <pc:sldMk cId="2796484050" sldId="490"/>
            <ac:spMk id="28" creationId="{541CC716-DEAB-472B-5DAC-058BEF16C0AE}"/>
          </ac:spMkLst>
        </pc:spChg>
        <pc:spChg chg="add del mod">
          <ac:chgData name="Oehrli, Stefan" userId="3f36891e-f853-43e7-bcbc-2879a2513833" providerId="ADAL" clId="{BEB5DB81-D722-724F-85CE-75021972ADA7}" dt="2023-04-04T07:45:59.271" v="5499"/>
          <ac:spMkLst>
            <pc:docMk/>
            <pc:sldMk cId="2796484050" sldId="490"/>
            <ac:spMk id="29" creationId="{2DE593C8-BFDC-96A5-1E60-0271DD668E8C}"/>
          </ac:spMkLst>
        </pc:spChg>
        <pc:spChg chg="add del mod">
          <ac:chgData name="Oehrli, Stefan" userId="3f36891e-f853-43e7-bcbc-2879a2513833" providerId="ADAL" clId="{BEB5DB81-D722-724F-85CE-75021972ADA7}" dt="2023-04-04T07:45:59.271" v="5499"/>
          <ac:spMkLst>
            <pc:docMk/>
            <pc:sldMk cId="2796484050" sldId="490"/>
            <ac:spMk id="30" creationId="{63F154CA-5DFE-18F7-4569-29034147693D}"/>
          </ac:spMkLst>
        </pc:spChg>
        <pc:spChg chg="add mod">
          <ac:chgData name="Oehrli, Stefan" userId="3f36891e-f853-43e7-bcbc-2879a2513833" providerId="ADAL" clId="{BEB5DB81-D722-724F-85CE-75021972ADA7}" dt="2023-04-04T07:59:48.049" v="5739" actId="1076"/>
          <ac:spMkLst>
            <pc:docMk/>
            <pc:sldMk cId="2796484050" sldId="490"/>
            <ac:spMk id="31" creationId="{8FE1A81D-47E0-067B-5D76-93A2137CB5C4}"/>
          </ac:spMkLst>
        </pc:spChg>
        <pc:spChg chg="add del mod">
          <ac:chgData name="Oehrli, Stefan" userId="3f36891e-f853-43e7-bcbc-2879a2513833" providerId="ADAL" clId="{BEB5DB81-D722-724F-85CE-75021972ADA7}" dt="2023-04-04T07:50:52.670" v="5540" actId="478"/>
          <ac:spMkLst>
            <pc:docMk/>
            <pc:sldMk cId="2796484050" sldId="490"/>
            <ac:spMk id="32" creationId="{C25C4115-974F-07BD-BCEB-95112DFEB3AE}"/>
          </ac:spMkLst>
        </pc:spChg>
        <pc:spChg chg="add del mod">
          <ac:chgData name="Oehrli, Stefan" userId="3f36891e-f853-43e7-bcbc-2879a2513833" providerId="ADAL" clId="{BEB5DB81-D722-724F-85CE-75021972ADA7}" dt="2023-04-04T07:59:48.049" v="5739" actId="1076"/>
          <ac:spMkLst>
            <pc:docMk/>
            <pc:sldMk cId="2796484050" sldId="490"/>
            <ac:spMk id="33" creationId="{2E251419-1F7E-D6B0-2C81-433FDEBFCFCB}"/>
          </ac:spMkLst>
        </pc:spChg>
        <pc:spChg chg="add mod">
          <ac:chgData name="Oehrli, Stefan" userId="3f36891e-f853-43e7-bcbc-2879a2513833" providerId="ADAL" clId="{BEB5DB81-D722-724F-85CE-75021972ADA7}" dt="2023-04-04T07:59:48.049" v="5739" actId="1076"/>
          <ac:spMkLst>
            <pc:docMk/>
            <pc:sldMk cId="2796484050" sldId="490"/>
            <ac:spMk id="34" creationId="{715DFC3F-8D2D-53E2-603D-5DA558CDDE9D}"/>
          </ac:spMkLst>
        </pc:spChg>
        <pc:spChg chg="add mod">
          <ac:chgData name="Oehrli, Stefan" userId="3f36891e-f853-43e7-bcbc-2879a2513833" providerId="ADAL" clId="{BEB5DB81-D722-724F-85CE-75021972ADA7}" dt="2023-04-04T07:59:48.049" v="5739" actId="1076"/>
          <ac:spMkLst>
            <pc:docMk/>
            <pc:sldMk cId="2796484050" sldId="490"/>
            <ac:spMk id="35" creationId="{C3141446-5F4A-AC67-7D95-BC5FC960D022}"/>
          </ac:spMkLst>
        </pc:spChg>
        <pc:spChg chg="add mod">
          <ac:chgData name="Oehrli, Stefan" userId="3f36891e-f853-43e7-bcbc-2879a2513833" providerId="ADAL" clId="{BEB5DB81-D722-724F-85CE-75021972ADA7}" dt="2023-04-04T07:59:48.049" v="5739" actId="1076"/>
          <ac:spMkLst>
            <pc:docMk/>
            <pc:sldMk cId="2796484050" sldId="490"/>
            <ac:spMk id="36" creationId="{ED9C15E0-B5A7-E5AA-9222-BD1E0BE076B1}"/>
          </ac:spMkLst>
        </pc:spChg>
        <pc:spChg chg="add mod">
          <ac:chgData name="Oehrli, Stefan" userId="3f36891e-f853-43e7-bcbc-2879a2513833" providerId="ADAL" clId="{BEB5DB81-D722-724F-85CE-75021972ADA7}" dt="2023-04-04T07:59:48.049" v="5739" actId="1076"/>
          <ac:spMkLst>
            <pc:docMk/>
            <pc:sldMk cId="2796484050" sldId="490"/>
            <ac:spMk id="37" creationId="{73D451B8-804E-AAD4-74D4-C922A168B52A}"/>
          </ac:spMkLst>
        </pc:spChg>
        <pc:spChg chg="add mod">
          <ac:chgData name="Oehrli, Stefan" userId="3f36891e-f853-43e7-bcbc-2879a2513833" providerId="ADAL" clId="{BEB5DB81-D722-724F-85CE-75021972ADA7}" dt="2023-04-04T07:59:48.049" v="5739" actId="1076"/>
          <ac:spMkLst>
            <pc:docMk/>
            <pc:sldMk cId="2796484050" sldId="490"/>
            <ac:spMk id="38" creationId="{96F984B5-9392-E3DE-CC21-D60C59012AEC}"/>
          </ac:spMkLst>
        </pc:spChg>
        <pc:spChg chg="add del mod">
          <ac:chgData name="Oehrli, Stefan" userId="3f36891e-f853-43e7-bcbc-2879a2513833" providerId="ADAL" clId="{BEB5DB81-D722-724F-85CE-75021972ADA7}" dt="2023-04-04T07:50:52.670" v="5540" actId="478"/>
          <ac:spMkLst>
            <pc:docMk/>
            <pc:sldMk cId="2796484050" sldId="490"/>
            <ac:spMk id="39" creationId="{AC390EFC-91FA-C533-D9D5-5E72853B8579}"/>
          </ac:spMkLst>
        </pc:spChg>
        <pc:spChg chg="add del mod">
          <ac:chgData name="Oehrli, Stefan" userId="3f36891e-f853-43e7-bcbc-2879a2513833" providerId="ADAL" clId="{BEB5DB81-D722-724F-85CE-75021972ADA7}" dt="2023-04-04T07:59:48.049" v="5739" actId="1076"/>
          <ac:spMkLst>
            <pc:docMk/>
            <pc:sldMk cId="2796484050" sldId="490"/>
            <ac:spMk id="40" creationId="{8C6D2FE7-1A5F-1FC5-1510-3A405E326040}"/>
          </ac:spMkLst>
        </pc:spChg>
        <pc:spChg chg="add mod">
          <ac:chgData name="Oehrli, Stefan" userId="3f36891e-f853-43e7-bcbc-2879a2513833" providerId="ADAL" clId="{BEB5DB81-D722-724F-85CE-75021972ADA7}" dt="2023-04-04T07:59:48.049" v="5739" actId="1076"/>
          <ac:spMkLst>
            <pc:docMk/>
            <pc:sldMk cId="2796484050" sldId="490"/>
            <ac:spMk id="41" creationId="{C640B0D7-046A-AF4E-2DE7-DC01383FA6DB}"/>
          </ac:spMkLst>
        </pc:spChg>
        <pc:spChg chg="add del mod">
          <ac:chgData name="Oehrli, Stefan" userId="3f36891e-f853-43e7-bcbc-2879a2513833" providerId="ADAL" clId="{BEB5DB81-D722-724F-85CE-75021972ADA7}" dt="2023-04-04T07:52:12.516" v="5547" actId="478"/>
          <ac:spMkLst>
            <pc:docMk/>
            <pc:sldMk cId="2796484050" sldId="490"/>
            <ac:spMk id="42" creationId="{077F5507-3087-4859-39CD-C683AF71FBD3}"/>
          </ac:spMkLst>
        </pc:spChg>
        <pc:spChg chg="add del mod">
          <ac:chgData name="Oehrli, Stefan" userId="3f36891e-f853-43e7-bcbc-2879a2513833" providerId="ADAL" clId="{BEB5DB81-D722-724F-85CE-75021972ADA7}" dt="2023-04-04T07:52:12.516" v="5547" actId="478"/>
          <ac:spMkLst>
            <pc:docMk/>
            <pc:sldMk cId="2796484050" sldId="490"/>
            <ac:spMk id="43" creationId="{28FAA9C1-CCEA-1347-25AC-0DC4532754F7}"/>
          </ac:spMkLst>
        </pc:spChg>
        <pc:spChg chg="add del mod">
          <ac:chgData name="Oehrli, Stefan" userId="3f36891e-f853-43e7-bcbc-2879a2513833" providerId="ADAL" clId="{BEB5DB81-D722-724F-85CE-75021972ADA7}" dt="2023-04-04T07:52:12.516" v="5547" actId="478"/>
          <ac:spMkLst>
            <pc:docMk/>
            <pc:sldMk cId="2796484050" sldId="490"/>
            <ac:spMk id="44" creationId="{A81B279D-4D83-E844-2515-F0954966B5E7}"/>
          </ac:spMkLst>
        </pc:spChg>
        <pc:spChg chg="add mod">
          <ac:chgData name="Oehrli, Stefan" userId="3f36891e-f853-43e7-bcbc-2879a2513833" providerId="ADAL" clId="{BEB5DB81-D722-724F-85CE-75021972ADA7}" dt="2023-04-04T07:59:48.049" v="5739" actId="1076"/>
          <ac:spMkLst>
            <pc:docMk/>
            <pc:sldMk cId="2796484050" sldId="490"/>
            <ac:spMk id="45" creationId="{83C6765C-A36B-ED63-AFC8-E43C3F8E6FF8}"/>
          </ac:spMkLst>
        </pc:spChg>
        <pc:spChg chg="add del mod">
          <ac:chgData name="Oehrli, Stefan" userId="3f36891e-f853-43e7-bcbc-2879a2513833" providerId="ADAL" clId="{BEB5DB81-D722-724F-85CE-75021972ADA7}" dt="2023-04-04T07:50:52.670" v="5540" actId="478"/>
          <ac:spMkLst>
            <pc:docMk/>
            <pc:sldMk cId="2796484050" sldId="490"/>
            <ac:spMk id="46" creationId="{0CB61974-2AA4-ABED-84F1-ABA1C19C36DB}"/>
          </ac:spMkLst>
        </pc:spChg>
        <pc:spChg chg="add del mod">
          <ac:chgData name="Oehrli, Stefan" userId="3f36891e-f853-43e7-bcbc-2879a2513833" providerId="ADAL" clId="{BEB5DB81-D722-724F-85CE-75021972ADA7}" dt="2023-04-04T07:59:48.049" v="5739" actId="1076"/>
          <ac:spMkLst>
            <pc:docMk/>
            <pc:sldMk cId="2796484050" sldId="490"/>
            <ac:spMk id="47" creationId="{8CB71DEB-6AB9-7A51-34D0-AFBECEEE3B79}"/>
          </ac:spMkLst>
        </pc:spChg>
        <pc:spChg chg="add del mod">
          <ac:chgData name="Oehrli, Stefan" userId="3f36891e-f853-43e7-bcbc-2879a2513833" providerId="ADAL" clId="{BEB5DB81-D722-724F-85CE-75021972ADA7}" dt="2023-04-04T07:51:40.278" v="5545" actId="478"/>
          <ac:spMkLst>
            <pc:docMk/>
            <pc:sldMk cId="2796484050" sldId="490"/>
            <ac:spMk id="48" creationId="{F4E64797-8744-05F7-AB21-AA260091E2ED}"/>
          </ac:spMkLst>
        </pc:spChg>
        <pc:spChg chg="add mod">
          <ac:chgData name="Oehrli, Stefan" userId="3f36891e-f853-43e7-bcbc-2879a2513833" providerId="ADAL" clId="{BEB5DB81-D722-724F-85CE-75021972ADA7}" dt="2023-04-04T07:59:48.049" v="5739" actId="1076"/>
          <ac:spMkLst>
            <pc:docMk/>
            <pc:sldMk cId="2796484050" sldId="490"/>
            <ac:spMk id="49" creationId="{CDA02043-7937-A050-1D98-F900666B3533}"/>
          </ac:spMkLst>
        </pc:spChg>
        <pc:spChg chg="add mod">
          <ac:chgData name="Oehrli, Stefan" userId="3f36891e-f853-43e7-bcbc-2879a2513833" providerId="ADAL" clId="{BEB5DB81-D722-724F-85CE-75021972ADA7}" dt="2023-04-04T07:59:48.049" v="5739" actId="1076"/>
          <ac:spMkLst>
            <pc:docMk/>
            <pc:sldMk cId="2796484050" sldId="490"/>
            <ac:spMk id="50" creationId="{A0F4C490-F9B3-9654-A93D-08BDD7C78727}"/>
          </ac:spMkLst>
        </pc:spChg>
        <pc:spChg chg="add del mod">
          <ac:chgData name="Oehrli, Stefan" userId="3f36891e-f853-43e7-bcbc-2879a2513833" providerId="ADAL" clId="{BEB5DB81-D722-724F-85CE-75021972ADA7}" dt="2023-04-04T07:51:51.546" v="5546" actId="478"/>
          <ac:spMkLst>
            <pc:docMk/>
            <pc:sldMk cId="2796484050" sldId="490"/>
            <ac:spMk id="51" creationId="{1DECCCCD-0529-FFF2-A0CF-CBD6509B0854}"/>
          </ac:spMkLst>
        </pc:spChg>
        <pc:spChg chg="add mod">
          <ac:chgData name="Oehrli, Stefan" userId="3f36891e-f853-43e7-bcbc-2879a2513833" providerId="ADAL" clId="{BEB5DB81-D722-724F-85CE-75021972ADA7}" dt="2023-04-04T07:59:48.049" v="5739" actId="1076"/>
          <ac:spMkLst>
            <pc:docMk/>
            <pc:sldMk cId="2796484050" sldId="490"/>
            <ac:spMk id="52" creationId="{C5341C06-5FF6-9163-E690-6305DA4D6CD1}"/>
          </ac:spMkLst>
        </pc:spChg>
        <pc:spChg chg="add del mod">
          <ac:chgData name="Oehrli, Stefan" userId="3f36891e-f853-43e7-bcbc-2879a2513833" providerId="ADAL" clId="{BEB5DB81-D722-724F-85CE-75021972ADA7}" dt="2023-04-04T07:50:52.670" v="5540" actId="478"/>
          <ac:spMkLst>
            <pc:docMk/>
            <pc:sldMk cId="2796484050" sldId="490"/>
            <ac:spMk id="53" creationId="{3D37DD28-E780-0C30-674F-8373158D0DA1}"/>
          </ac:spMkLst>
        </pc:spChg>
        <pc:spChg chg="add del mod">
          <ac:chgData name="Oehrli, Stefan" userId="3f36891e-f853-43e7-bcbc-2879a2513833" providerId="ADAL" clId="{BEB5DB81-D722-724F-85CE-75021972ADA7}" dt="2023-04-04T07:51:02.276" v="5541" actId="478"/>
          <ac:spMkLst>
            <pc:docMk/>
            <pc:sldMk cId="2796484050" sldId="490"/>
            <ac:spMk id="54" creationId="{06B2983B-D655-A79C-4B74-522337413F48}"/>
          </ac:spMkLst>
        </pc:spChg>
        <pc:spChg chg="add del mod">
          <ac:chgData name="Oehrli, Stefan" userId="3f36891e-f853-43e7-bcbc-2879a2513833" providerId="ADAL" clId="{BEB5DB81-D722-724F-85CE-75021972ADA7}" dt="2023-04-04T07:59:48.049" v="5739" actId="1076"/>
          <ac:spMkLst>
            <pc:docMk/>
            <pc:sldMk cId="2796484050" sldId="490"/>
            <ac:spMk id="55" creationId="{1C390F95-EB47-4675-C9EA-2BB291A937B8}"/>
          </ac:spMkLst>
        </pc:spChg>
        <pc:spChg chg="add mod">
          <ac:chgData name="Oehrli, Stefan" userId="3f36891e-f853-43e7-bcbc-2879a2513833" providerId="ADAL" clId="{BEB5DB81-D722-724F-85CE-75021972ADA7}" dt="2023-04-04T07:59:48.049" v="5739" actId="1076"/>
          <ac:spMkLst>
            <pc:docMk/>
            <pc:sldMk cId="2796484050" sldId="490"/>
            <ac:spMk id="56" creationId="{B4FFEE5F-B0DC-E39D-06B4-E390D4638465}"/>
          </ac:spMkLst>
        </pc:spChg>
        <pc:spChg chg="add mod">
          <ac:chgData name="Oehrli, Stefan" userId="3f36891e-f853-43e7-bcbc-2879a2513833" providerId="ADAL" clId="{BEB5DB81-D722-724F-85CE-75021972ADA7}" dt="2023-04-04T07:59:48.049" v="5739" actId="1076"/>
          <ac:spMkLst>
            <pc:docMk/>
            <pc:sldMk cId="2796484050" sldId="490"/>
            <ac:spMk id="57" creationId="{89A56268-330F-2254-914B-C9D24E6D5966}"/>
          </ac:spMkLst>
        </pc:spChg>
        <pc:spChg chg="add mod">
          <ac:chgData name="Oehrli, Stefan" userId="3f36891e-f853-43e7-bcbc-2879a2513833" providerId="ADAL" clId="{BEB5DB81-D722-724F-85CE-75021972ADA7}" dt="2023-04-04T07:59:48.049" v="5739" actId="1076"/>
          <ac:spMkLst>
            <pc:docMk/>
            <pc:sldMk cId="2796484050" sldId="490"/>
            <ac:spMk id="58" creationId="{430626FE-4A0A-1C43-5CC2-BBE4F3F20DF0}"/>
          </ac:spMkLst>
        </pc:spChg>
        <pc:spChg chg="add mod">
          <ac:chgData name="Oehrli, Stefan" userId="3f36891e-f853-43e7-bcbc-2879a2513833" providerId="ADAL" clId="{BEB5DB81-D722-724F-85CE-75021972ADA7}" dt="2023-04-04T07:59:48.049" v="5739" actId="1076"/>
          <ac:spMkLst>
            <pc:docMk/>
            <pc:sldMk cId="2796484050" sldId="490"/>
            <ac:spMk id="59" creationId="{E84D8CB0-B4A2-EBF3-7570-B0951B39BB4B}"/>
          </ac:spMkLst>
        </pc:spChg>
        <pc:spChg chg="add del mod">
          <ac:chgData name="Oehrli, Stefan" userId="3f36891e-f853-43e7-bcbc-2879a2513833" providerId="ADAL" clId="{BEB5DB81-D722-724F-85CE-75021972ADA7}" dt="2023-04-04T07:50:52.670" v="5540" actId="478"/>
          <ac:spMkLst>
            <pc:docMk/>
            <pc:sldMk cId="2796484050" sldId="490"/>
            <ac:spMk id="60" creationId="{57D9B021-33D0-A8B1-4F37-B87947D70727}"/>
          </ac:spMkLst>
        </pc:spChg>
        <pc:spChg chg="add del mod">
          <ac:chgData name="Oehrli, Stefan" userId="3f36891e-f853-43e7-bcbc-2879a2513833" providerId="ADAL" clId="{BEB5DB81-D722-724F-85CE-75021972ADA7}" dt="2023-04-04T07:51:02.276" v="5541" actId="478"/>
          <ac:spMkLst>
            <pc:docMk/>
            <pc:sldMk cId="2796484050" sldId="490"/>
            <ac:spMk id="61" creationId="{2C1F60F1-960A-65C0-7F20-D00C1766BA79}"/>
          </ac:spMkLst>
        </pc:spChg>
        <pc:spChg chg="add mod">
          <ac:chgData name="Oehrli, Stefan" userId="3f36891e-f853-43e7-bcbc-2879a2513833" providerId="ADAL" clId="{BEB5DB81-D722-724F-85CE-75021972ADA7}" dt="2023-04-04T07:59:48.049" v="5739" actId="1076"/>
          <ac:spMkLst>
            <pc:docMk/>
            <pc:sldMk cId="2796484050" sldId="490"/>
            <ac:spMk id="62" creationId="{223BF0A2-147D-7537-0B8E-A56ABE79B4D1}"/>
          </ac:spMkLst>
        </pc:spChg>
        <pc:spChg chg="add mod">
          <ac:chgData name="Oehrli, Stefan" userId="3f36891e-f853-43e7-bcbc-2879a2513833" providerId="ADAL" clId="{BEB5DB81-D722-724F-85CE-75021972ADA7}" dt="2023-04-04T07:59:48.049" v="5739" actId="1076"/>
          <ac:spMkLst>
            <pc:docMk/>
            <pc:sldMk cId="2796484050" sldId="490"/>
            <ac:spMk id="63" creationId="{82DE1308-22C5-66DF-EC3B-5C7768058FB9}"/>
          </ac:spMkLst>
        </pc:spChg>
        <pc:spChg chg="add mod">
          <ac:chgData name="Oehrli, Stefan" userId="3f36891e-f853-43e7-bcbc-2879a2513833" providerId="ADAL" clId="{BEB5DB81-D722-724F-85CE-75021972ADA7}" dt="2023-04-04T07:59:48.049" v="5739" actId="1076"/>
          <ac:spMkLst>
            <pc:docMk/>
            <pc:sldMk cId="2796484050" sldId="490"/>
            <ac:spMk id="64" creationId="{3A0C56F8-5FC7-DF5A-45E9-3014654522F5}"/>
          </ac:spMkLst>
        </pc:spChg>
        <pc:spChg chg="add del mod">
          <ac:chgData name="Oehrli, Stefan" userId="3f36891e-f853-43e7-bcbc-2879a2513833" providerId="ADAL" clId="{BEB5DB81-D722-724F-85CE-75021972ADA7}" dt="2023-04-04T07:51:19.569" v="5542" actId="478"/>
          <ac:spMkLst>
            <pc:docMk/>
            <pc:sldMk cId="2796484050" sldId="490"/>
            <ac:spMk id="65" creationId="{D8009D05-BE73-CE85-652E-8993AD5C536F}"/>
          </ac:spMkLst>
        </pc:spChg>
        <pc:spChg chg="mod">
          <ac:chgData name="Oehrli, Stefan" userId="3f36891e-f853-43e7-bcbc-2879a2513833" providerId="ADAL" clId="{BEB5DB81-D722-724F-85CE-75021972ADA7}" dt="2023-04-04T07:49:12.519" v="5531"/>
          <ac:spMkLst>
            <pc:docMk/>
            <pc:sldMk cId="2796484050" sldId="490"/>
            <ac:spMk id="67" creationId="{90E6DB7E-5ED9-E692-872C-1CF4B0A90A17}"/>
          </ac:spMkLst>
        </pc:spChg>
        <pc:spChg chg="mod">
          <ac:chgData name="Oehrli, Stefan" userId="3f36891e-f853-43e7-bcbc-2879a2513833" providerId="ADAL" clId="{BEB5DB81-D722-724F-85CE-75021972ADA7}" dt="2023-04-04T07:49:12.519" v="5531"/>
          <ac:spMkLst>
            <pc:docMk/>
            <pc:sldMk cId="2796484050" sldId="490"/>
            <ac:spMk id="68" creationId="{E12556CA-D73D-A387-4632-1ED60584AA76}"/>
          </ac:spMkLst>
        </pc:spChg>
        <pc:spChg chg="add del mod">
          <ac:chgData name="Oehrli, Stefan" userId="3f36891e-f853-43e7-bcbc-2879a2513833" providerId="ADAL" clId="{BEB5DB81-D722-724F-85CE-75021972ADA7}" dt="2023-04-04T07:50:40.970" v="5539" actId="478"/>
          <ac:spMkLst>
            <pc:docMk/>
            <pc:sldMk cId="2796484050" sldId="490"/>
            <ac:spMk id="69" creationId="{4F3DF59A-88E3-3CFB-69B3-FCBAA3466AA3}"/>
          </ac:spMkLst>
        </pc:spChg>
        <pc:spChg chg="add mod">
          <ac:chgData name="Oehrli, Stefan" userId="3f36891e-f853-43e7-bcbc-2879a2513833" providerId="ADAL" clId="{BEB5DB81-D722-724F-85CE-75021972ADA7}" dt="2023-04-04T07:59:48.049" v="5739" actId="1076"/>
          <ac:spMkLst>
            <pc:docMk/>
            <pc:sldMk cId="2796484050" sldId="490"/>
            <ac:spMk id="70" creationId="{4EFEF8CE-FB77-FC1E-822D-1E2426012D7B}"/>
          </ac:spMkLst>
        </pc:spChg>
        <pc:spChg chg="add mod">
          <ac:chgData name="Oehrli, Stefan" userId="3f36891e-f853-43e7-bcbc-2879a2513833" providerId="ADAL" clId="{BEB5DB81-D722-724F-85CE-75021972ADA7}" dt="2023-04-04T07:59:48.049" v="5739" actId="1076"/>
          <ac:spMkLst>
            <pc:docMk/>
            <pc:sldMk cId="2796484050" sldId="490"/>
            <ac:spMk id="71" creationId="{6E5DAFAD-C07C-76F3-C0E3-D4CA2B9EE95A}"/>
          </ac:spMkLst>
        </pc:spChg>
        <pc:spChg chg="add mod">
          <ac:chgData name="Oehrli, Stefan" userId="3f36891e-f853-43e7-bcbc-2879a2513833" providerId="ADAL" clId="{BEB5DB81-D722-724F-85CE-75021972ADA7}" dt="2023-04-04T07:59:48.049" v="5739" actId="1076"/>
          <ac:spMkLst>
            <pc:docMk/>
            <pc:sldMk cId="2796484050" sldId="490"/>
            <ac:spMk id="72" creationId="{617A2C7A-3D26-81AA-B4FA-8CD900F218FF}"/>
          </ac:spMkLst>
        </pc:spChg>
        <pc:spChg chg="add mod">
          <ac:chgData name="Oehrli, Stefan" userId="3f36891e-f853-43e7-bcbc-2879a2513833" providerId="ADAL" clId="{BEB5DB81-D722-724F-85CE-75021972ADA7}" dt="2023-04-04T07:59:48.049" v="5739" actId="1076"/>
          <ac:spMkLst>
            <pc:docMk/>
            <pc:sldMk cId="2796484050" sldId="490"/>
            <ac:spMk id="73" creationId="{D1DA6335-5A20-1B11-3A99-3745C542AC02}"/>
          </ac:spMkLst>
        </pc:spChg>
        <pc:grpChg chg="add del mod">
          <ac:chgData name="Oehrli, Stefan" userId="3f36891e-f853-43e7-bcbc-2879a2513833" providerId="ADAL" clId="{BEB5DB81-D722-724F-85CE-75021972ADA7}" dt="2023-04-04T07:49:17.751" v="5532"/>
          <ac:grpSpMkLst>
            <pc:docMk/>
            <pc:sldMk cId="2796484050" sldId="490"/>
            <ac:grpSpMk id="66" creationId="{A7D81B6C-F4B6-9DCC-0A9A-CA2553DC5420}"/>
          </ac:grpSpMkLst>
        </pc:grpChg>
        <pc:graphicFrameChg chg="add mod ord modGraphic">
          <ac:chgData name="Oehrli, Stefan" userId="3f36891e-f853-43e7-bcbc-2879a2513833" providerId="ADAL" clId="{BEB5DB81-D722-724F-85CE-75021972ADA7}" dt="2023-04-04T07:59:48.049" v="5739" actId="1076"/>
          <ac:graphicFrameMkLst>
            <pc:docMk/>
            <pc:sldMk cId="2796484050" sldId="490"/>
            <ac:graphicFrameMk id="7" creationId="{F28613E1-060F-E801-2F04-703BD0AA3187}"/>
          </ac:graphicFrameMkLst>
        </pc:graphicFrameChg>
      </pc:sldChg>
      <pc:sldChg chg="modSp new mod ord">
        <pc:chgData name="Oehrli, Stefan" userId="3f36891e-f853-43e7-bcbc-2879a2513833" providerId="ADAL" clId="{BEB5DB81-D722-724F-85CE-75021972ADA7}" dt="2023-04-04T07:16:18.107" v="5302" actId="404"/>
        <pc:sldMkLst>
          <pc:docMk/>
          <pc:sldMk cId="1614343025" sldId="491"/>
        </pc:sldMkLst>
        <pc:spChg chg="mod">
          <ac:chgData name="Oehrli, Stefan" userId="3f36891e-f853-43e7-bcbc-2879a2513833" providerId="ADAL" clId="{BEB5DB81-D722-724F-85CE-75021972ADA7}" dt="2023-04-04T05:44:43.828" v="4266"/>
          <ac:spMkLst>
            <pc:docMk/>
            <pc:sldMk cId="1614343025" sldId="491"/>
            <ac:spMk id="2" creationId="{D40268A9-33B2-3ADF-9173-8096A8BD6A2B}"/>
          </ac:spMkLst>
        </pc:spChg>
        <pc:spChg chg="mod">
          <ac:chgData name="Oehrli, Stefan" userId="3f36891e-f853-43e7-bcbc-2879a2513833" providerId="ADAL" clId="{BEB5DB81-D722-724F-85CE-75021972ADA7}" dt="2023-04-04T07:16:18.107" v="5302" actId="404"/>
          <ac:spMkLst>
            <pc:docMk/>
            <pc:sldMk cId="1614343025" sldId="491"/>
            <ac:spMk id="3" creationId="{994D0480-3642-49DA-3035-73904289BA1F}"/>
          </ac:spMkLst>
        </pc:spChg>
        <pc:spChg chg="mod">
          <ac:chgData name="Oehrli, Stefan" userId="3f36891e-f853-43e7-bcbc-2879a2513833" providerId="ADAL" clId="{BEB5DB81-D722-724F-85CE-75021972ADA7}" dt="2023-04-04T05:45:17.472" v="4296" actId="5793"/>
          <ac:spMkLst>
            <pc:docMk/>
            <pc:sldMk cId="1614343025" sldId="491"/>
            <ac:spMk id="4" creationId="{049AA7B9-E1FA-C145-0781-7CC3A519D71D}"/>
          </ac:spMkLst>
        </pc:spChg>
      </pc:sldChg>
      <pc:sldChg chg="add">
        <pc:chgData name="Oehrli, Stefan" userId="3f36891e-f853-43e7-bcbc-2879a2513833" providerId="ADAL" clId="{BEB5DB81-D722-724F-85CE-75021972ADA7}" dt="2023-04-04T05:46:17.067" v="4297"/>
        <pc:sldMkLst>
          <pc:docMk/>
          <pc:sldMk cId="2239675501" sldId="2147138090"/>
        </pc:sldMkLst>
      </pc:sldChg>
      <pc:sldChg chg="modSp add mod">
        <pc:chgData name="Oehrli, Stefan" userId="3f36891e-f853-43e7-bcbc-2879a2513833" providerId="ADAL" clId="{BEB5DB81-D722-724F-85CE-75021972ADA7}" dt="2023-04-04T05:55:53.324" v="4399" actId="20577"/>
        <pc:sldMkLst>
          <pc:docMk/>
          <pc:sldMk cId="3395144429" sldId="2147138091"/>
        </pc:sldMkLst>
        <pc:spChg chg="mod">
          <ac:chgData name="Oehrli, Stefan" userId="3f36891e-f853-43e7-bcbc-2879a2513833" providerId="ADAL" clId="{BEB5DB81-D722-724F-85CE-75021972ADA7}" dt="2023-04-04T05:55:53.324" v="4399" actId="20577"/>
          <ac:spMkLst>
            <pc:docMk/>
            <pc:sldMk cId="3395144429" sldId="2147138091"/>
            <ac:spMk id="3" creationId="{3BA736C6-2418-7DF3-5BB9-9F927BC2E9E2}"/>
          </ac:spMkLst>
        </pc:spChg>
      </pc:sldChg>
      <pc:sldChg chg="addSp delSp modSp new mod">
        <pc:chgData name="Oehrli, Stefan" userId="3f36891e-f853-43e7-bcbc-2879a2513833" providerId="ADAL" clId="{BEB5DB81-D722-724F-85CE-75021972ADA7}" dt="2023-04-04T07:10:47.079" v="4860" actId="1076"/>
        <pc:sldMkLst>
          <pc:docMk/>
          <pc:sldMk cId="317829916" sldId="2147138092"/>
        </pc:sldMkLst>
        <pc:spChg chg="mod">
          <ac:chgData name="Oehrli, Stefan" userId="3f36891e-f853-43e7-bcbc-2879a2513833" providerId="ADAL" clId="{BEB5DB81-D722-724F-85CE-75021972ADA7}" dt="2023-04-04T06:59:22.556" v="4488" actId="20577"/>
          <ac:spMkLst>
            <pc:docMk/>
            <pc:sldMk cId="317829916" sldId="2147138092"/>
            <ac:spMk id="2" creationId="{EF67FA65-7F11-EED9-8AD8-11DDFFBA272E}"/>
          </ac:spMkLst>
        </pc:spChg>
        <pc:spChg chg="mod">
          <ac:chgData name="Oehrli, Stefan" userId="3f36891e-f853-43e7-bcbc-2879a2513833" providerId="ADAL" clId="{BEB5DB81-D722-724F-85CE-75021972ADA7}" dt="2023-04-04T07:10:39.353" v="4857" actId="20577"/>
          <ac:spMkLst>
            <pc:docMk/>
            <pc:sldMk cId="317829916" sldId="2147138092"/>
            <ac:spMk id="3" creationId="{D9D21854-F44B-8FF6-39AA-682617FB8A6E}"/>
          </ac:spMkLst>
        </pc:spChg>
        <pc:spChg chg="del">
          <ac:chgData name="Oehrli, Stefan" userId="3f36891e-f853-43e7-bcbc-2879a2513833" providerId="ADAL" clId="{BEB5DB81-D722-724F-85CE-75021972ADA7}" dt="2023-04-04T06:59:10.760" v="4469"/>
          <ac:spMkLst>
            <pc:docMk/>
            <pc:sldMk cId="317829916" sldId="2147138092"/>
            <ac:spMk id="4" creationId="{5B8F9698-5F9B-35A4-7C09-A9A984A1B9E8}"/>
          </ac:spMkLst>
        </pc:spChg>
        <pc:spChg chg="mod">
          <ac:chgData name="Oehrli, Stefan" userId="3f36891e-f853-43e7-bcbc-2879a2513833" providerId="ADAL" clId="{BEB5DB81-D722-724F-85CE-75021972ADA7}" dt="2023-04-04T07:00:03.101" v="4489"/>
          <ac:spMkLst>
            <pc:docMk/>
            <pc:sldMk cId="317829916" sldId="2147138092"/>
            <ac:spMk id="6" creationId="{1F38A86D-E635-6414-002B-0FD0341850ED}"/>
          </ac:spMkLst>
        </pc:spChg>
        <pc:picChg chg="add mod">
          <ac:chgData name="Oehrli, Stefan" userId="3f36891e-f853-43e7-bcbc-2879a2513833" providerId="ADAL" clId="{BEB5DB81-D722-724F-85CE-75021972ADA7}" dt="2023-04-04T07:10:47.079" v="4860" actId="1076"/>
          <ac:picMkLst>
            <pc:docMk/>
            <pc:sldMk cId="317829916" sldId="2147138092"/>
            <ac:picMk id="8" creationId="{1AA61255-02D5-4F56-1E0C-0131F4E31E90}"/>
          </ac:picMkLst>
        </pc:picChg>
      </pc:sldChg>
      <pc:sldChg chg="addSp delSp modSp new mod">
        <pc:chgData name="Oehrli, Stefan" userId="3f36891e-f853-43e7-bcbc-2879a2513833" providerId="ADAL" clId="{BEB5DB81-D722-724F-85CE-75021972ADA7}" dt="2023-04-04T07:34:07.339" v="5336" actId="14100"/>
        <pc:sldMkLst>
          <pc:docMk/>
          <pc:sldMk cId="2357845878" sldId="2147138093"/>
        </pc:sldMkLst>
        <pc:spChg chg="mod">
          <ac:chgData name="Oehrli, Stefan" userId="3f36891e-f853-43e7-bcbc-2879a2513833" providerId="ADAL" clId="{BEB5DB81-D722-724F-85CE-75021972ADA7}" dt="2023-04-04T07:33:32.541" v="5331" actId="20577"/>
          <ac:spMkLst>
            <pc:docMk/>
            <pc:sldMk cId="2357845878" sldId="2147138093"/>
            <ac:spMk id="2" creationId="{C71B8080-0C0B-6314-E0B6-6191556A6B16}"/>
          </ac:spMkLst>
        </pc:spChg>
        <pc:spChg chg="del">
          <ac:chgData name="Oehrli, Stefan" userId="3f36891e-f853-43e7-bcbc-2879a2513833" providerId="ADAL" clId="{BEB5DB81-D722-724F-85CE-75021972ADA7}" dt="2023-04-04T07:33:59.616" v="5333"/>
          <ac:spMkLst>
            <pc:docMk/>
            <pc:sldMk cId="2357845878" sldId="2147138093"/>
            <ac:spMk id="3" creationId="{E36ADB8B-9B92-A099-27B2-2446F052F47A}"/>
          </ac:spMkLst>
        </pc:spChg>
        <pc:spChg chg="mod">
          <ac:chgData name="Oehrli, Stefan" userId="3f36891e-f853-43e7-bcbc-2879a2513833" providerId="ADAL" clId="{BEB5DB81-D722-724F-85CE-75021972ADA7}" dt="2023-04-04T07:33:53.899" v="5332"/>
          <ac:spMkLst>
            <pc:docMk/>
            <pc:sldMk cId="2357845878" sldId="2147138093"/>
            <ac:spMk id="4" creationId="{FBB11C5B-228E-6261-07C8-6632358250BA}"/>
          </ac:spMkLst>
        </pc:spChg>
        <pc:picChg chg="add mod">
          <ac:chgData name="Oehrli, Stefan" userId="3f36891e-f853-43e7-bcbc-2879a2513833" providerId="ADAL" clId="{BEB5DB81-D722-724F-85CE-75021972ADA7}" dt="2023-04-04T07:34:07.339" v="5336" actId="14100"/>
          <ac:picMkLst>
            <pc:docMk/>
            <pc:sldMk cId="2357845878" sldId="2147138093"/>
            <ac:picMk id="7" creationId="{D01C538F-9DC5-107A-0078-2062DB29DA27}"/>
          </ac:picMkLst>
        </pc:picChg>
      </pc:sldChg>
      <pc:sldChg chg="addSp delSp modSp add mod">
        <pc:chgData name="Oehrli, Stefan" userId="3f36891e-f853-43e7-bcbc-2879a2513833" providerId="ADAL" clId="{BEB5DB81-D722-724F-85CE-75021972ADA7}" dt="2023-04-04T07:57:37.836" v="5708" actId="478"/>
        <pc:sldMkLst>
          <pc:docMk/>
          <pc:sldMk cId="146749824" sldId="2147138094"/>
        </pc:sldMkLst>
        <pc:spChg chg="mod">
          <ac:chgData name="Oehrli, Stefan" userId="3f36891e-f853-43e7-bcbc-2879a2513833" providerId="ADAL" clId="{BEB5DB81-D722-724F-85CE-75021972ADA7}" dt="2023-04-04T07:53:23.400" v="5552"/>
          <ac:spMkLst>
            <pc:docMk/>
            <pc:sldMk cId="146749824" sldId="2147138094"/>
            <ac:spMk id="2" creationId="{15D7DB5A-4D0A-3477-DAAD-FB85CF83CE9F}"/>
          </ac:spMkLst>
        </pc:spChg>
        <pc:spChg chg="add mod">
          <ac:chgData name="Oehrli, Stefan" userId="3f36891e-f853-43e7-bcbc-2879a2513833" providerId="ADAL" clId="{BEB5DB81-D722-724F-85CE-75021972ADA7}" dt="2023-04-04T07:57:04.624" v="5703" actId="767"/>
          <ac:spMkLst>
            <pc:docMk/>
            <pc:sldMk cId="146749824" sldId="2147138094"/>
            <ac:spMk id="3" creationId="{D1C09C05-3E35-FA14-9A43-95662FCDE603}"/>
          </ac:spMkLst>
        </pc:spChg>
        <pc:spChg chg="mod">
          <ac:chgData name="Oehrli, Stefan" userId="3f36891e-f853-43e7-bcbc-2879a2513833" providerId="ADAL" clId="{BEB5DB81-D722-724F-85CE-75021972ADA7}" dt="2023-04-04T07:57:03.366" v="5702" actId="1076"/>
          <ac:spMkLst>
            <pc:docMk/>
            <pc:sldMk cId="146749824" sldId="2147138094"/>
            <ac:spMk id="5" creationId="{1BF55F7F-202E-E506-8A4A-460733D36436}"/>
          </ac:spMkLst>
        </pc:spChg>
        <pc:spChg chg="del">
          <ac:chgData name="Oehrli, Stefan" userId="3f36891e-f853-43e7-bcbc-2879a2513833" providerId="ADAL" clId="{BEB5DB81-D722-724F-85CE-75021972ADA7}" dt="2023-04-04T07:57:37.836" v="5708" actId="478"/>
          <ac:spMkLst>
            <pc:docMk/>
            <pc:sldMk cId="146749824" sldId="2147138094"/>
            <ac:spMk id="11" creationId="{140411BF-00B4-965C-F288-9D23808910CD}"/>
          </ac:spMkLst>
        </pc:spChg>
        <pc:spChg chg="del">
          <ac:chgData name="Oehrli, Stefan" userId="3f36891e-f853-43e7-bcbc-2879a2513833" providerId="ADAL" clId="{BEB5DB81-D722-724F-85CE-75021972ADA7}" dt="2023-04-04T07:57:37.836" v="5708" actId="478"/>
          <ac:spMkLst>
            <pc:docMk/>
            <pc:sldMk cId="146749824" sldId="2147138094"/>
            <ac:spMk id="12" creationId="{6A14E84B-88F3-1D85-B9DA-FA8D15696E73}"/>
          </ac:spMkLst>
        </pc:spChg>
        <pc:spChg chg="del">
          <ac:chgData name="Oehrli, Stefan" userId="3f36891e-f853-43e7-bcbc-2879a2513833" providerId="ADAL" clId="{BEB5DB81-D722-724F-85CE-75021972ADA7}" dt="2023-04-04T07:57:37.836" v="5708" actId="478"/>
          <ac:spMkLst>
            <pc:docMk/>
            <pc:sldMk cId="146749824" sldId="2147138094"/>
            <ac:spMk id="13" creationId="{105D6CFB-A5CA-AABA-C35F-984347761F34}"/>
          </ac:spMkLst>
        </pc:spChg>
        <pc:spChg chg="del">
          <ac:chgData name="Oehrli, Stefan" userId="3f36891e-f853-43e7-bcbc-2879a2513833" providerId="ADAL" clId="{BEB5DB81-D722-724F-85CE-75021972ADA7}" dt="2023-04-04T07:57:37.836" v="5708" actId="478"/>
          <ac:spMkLst>
            <pc:docMk/>
            <pc:sldMk cId="146749824" sldId="2147138094"/>
            <ac:spMk id="14" creationId="{3C1E3811-2474-9F4D-964F-AA2E44D35CC4}"/>
          </ac:spMkLst>
        </pc:spChg>
        <pc:spChg chg="del">
          <ac:chgData name="Oehrli, Stefan" userId="3f36891e-f853-43e7-bcbc-2879a2513833" providerId="ADAL" clId="{BEB5DB81-D722-724F-85CE-75021972ADA7}" dt="2023-04-04T07:57:34.881" v="5707" actId="478"/>
          <ac:spMkLst>
            <pc:docMk/>
            <pc:sldMk cId="146749824" sldId="2147138094"/>
            <ac:spMk id="16" creationId="{039E456F-CFD4-A0D8-0C82-8AAC4BB93CF0}"/>
          </ac:spMkLst>
        </pc:spChg>
        <pc:spChg chg="del">
          <ac:chgData name="Oehrli, Stefan" userId="3f36891e-f853-43e7-bcbc-2879a2513833" providerId="ADAL" clId="{BEB5DB81-D722-724F-85CE-75021972ADA7}" dt="2023-04-04T07:57:21.961" v="5705" actId="478"/>
          <ac:spMkLst>
            <pc:docMk/>
            <pc:sldMk cId="146749824" sldId="2147138094"/>
            <ac:spMk id="18" creationId="{8263FDB5-A5E8-38D7-5270-45DBCB633184}"/>
          </ac:spMkLst>
        </pc:spChg>
        <pc:spChg chg="del">
          <ac:chgData name="Oehrli, Stefan" userId="3f36891e-f853-43e7-bcbc-2879a2513833" providerId="ADAL" clId="{BEB5DB81-D722-724F-85CE-75021972ADA7}" dt="2023-04-04T07:57:21.961" v="5705" actId="478"/>
          <ac:spMkLst>
            <pc:docMk/>
            <pc:sldMk cId="146749824" sldId="2147138094"/>
            <ac:spMk id="19" creationId="{DFED9CF7-BDB8-CA1A-A7D1-85267702FCFC}"/>
          </ac:spMkLst>
        </pc:spChg>
        <pc:spChg chg="del">
          <ac:chgData name="Oehrli, Stefan" userId="3f36891e-f853-43e7-bcbc-2879a2513833" providerId="ADAL" clId="{BEB5DB81-D722-724F-85CE-75021972ADA7}" dt="2023-04-04T07:57:21.961" v="5705" actId="478"/>
          <ac:spMkLst>
            <pc:docMk/>
            <pc:sldMk cId="146749824" sldId="2147138094"/>
            <ac:spMk id="20" creationId="{A939DDCA-9CB1-5814-EC75-060F1439176C}"/>
          </ac:spMkLst>
        </pc:spChg>
        <pc:spChg chg="del">
          <ac:chgData name="Oehrli, Stefan" userId="3f36891e-f853-43e7-bcbc-2879a2513833" providerId="ADAL" clId="{BEB5DB81-D722-724F-85CE-75021972ADA7}" dt="2023-04-04T07:57:21.961" v="5705" actId="478"/>
          <ac:spMkLst>
            <pc:docMk/>
            <pc:sldMk cId="146749824" sldId="2147138094"/>
            <ac:spMk id="21" creationId="{23FAC0C4-AA28-E8D1-7CB0-980503527141}"/>
          </ac:spMkLst>
        </pc:spChg>
        <pc:spChg chg="del">
          <ac:chgData name="Oehrli, Stefan" userId="3f36891e-f853-43e7-bcbc-2879a2513833" providerId="ADAL" clId="{BEB5DB81-D722-724F-85CE-75021972ADA7}" dt="2023-04-04T07:57:24.638" v="5706" actId="478"/>
          <ac:spMkLst>
            <pc:docMk/>
            <pc:sldMk cId="146749824" sldId="2147138094"/>
            <ac:spMk id="23" creationId="{0F1BAADA-1368-D88B-033F-73AFE9337737}"/>
          </ac:spMkLst>
        </pc:spChg>
        <pc:spChg chg="del">
          <ac:chgData name="Oehrli, Stefan" userId="3f36891e-f853-43e7-bcbc-2879a2513833" providerId="ADAL" clId="{BEB5DB81-D722-724F-85CE-75021972ADA7}" dt="2023-04-04T07:57:09.188" v="5704" actId="478"/>
          <ac:spMkLst>
            <pc:docMk/>
            <pc:sldMk cId="146749824" sldId="2147138094"/>
            <ac:spMk id="33" creationId="{2E251419-1F7E-D6B0-2C81-433FDEBFCFCB}"/>
          </ac:spMkLst>
        </pc:spChg>
        <pc:spChg chg="del">
          <ac:chgData name="Oehrli, Stefan" userId="3f36891e-f853-43e7-bcbc-2879a2513833" providerId="ADAL" clId="{BEB5DB81-D722-724F-85CE-75021972ADA7}" dt="2023-04-04T07:57:09.188" v="5704" actId="478"/>
          <ac:spMkLst>
            <pc:docMk/>
            <pc:sldMk cId="146749824" sldId="2147138094"/>
            <ac:spMk id="34" creationId="{715DFC3F-8D2D-53E2-603D-5DA558CDDE9D}"/>
          </ac:spMkLst>
        </pc:spChg>
        <pc:spChg chg="del">
          <ac:chgData name="Oehrli, Stefan" userId="3f36891e-f853-43e7-bcbc-2879a2513833" providerId="ADAL" clId="{BEB5DB81-D722-724F-85CE-75021972ADA7}" dt="2023-04-04T07:57:09.188" v="5704" actId="478"/>
          <ac:spMkLst>
            <pc:docMk/>
            <pc:sldMk cId="146749824" sldId="2147138094"/>
            <ac:spMk id="35" creationId="{C3141446-5F4A-AC67-7D95-BC5FC960D022}"/>
          </ac:spMkLst>
        </pc:spChg>
        <pc:spChg chg="del">
          <ac:chgData name="Oehrli, Stefan" userId="3f36891e-f853-43e7-bcbc-2879a2513833" providerId="ADAL" clId="{BEB5DB81-D722-724F-85CE-75021972ADA7}" dt="2023-04-04T07:57:24.638" v="5706" actId="478"/>
          <ac:spMkLst>
            <pc:docMk/>
            <pc:sldMk cId="146749824" sldId="2147138094"/>
            <ac:spMk id="37" creationId="{73D451B8-804E-AAD4-74D4-C922A168B52A}"/>
          </ac:spMkLst>
        </pc:spChg>
        <pc:spChg chg="del">
          <ac:chgData name="Oehrli, Stefan" userId="3f36891e-f853-43e7-bcbc-2879a2513833" providerId="ADAL" clId="{BEB5DB81-D722-724F-85CE-75021972ADA7}" dt="2023-04-04T07:56:53.695" v="5700" actId="478"/>
          <ac:spMkLst>
            <pc:docMk/>
            <pc:sldMk cId="146749824" sldId="2147138094"/>
            <ac:spMk id="40" creationId="{8C6D2FE7-1A5F-1FC5-1510-3A405E326040}"/>
          </ac:spMkLst>
        </pc:spChg>
        <pc:spChg chg="mod">
          <ac:chgData name="Oehrli, Stefan" userId="3f36891e-f853-43e7-bcbc-2879a2513833" providerId="ADAL" clId="{BEB5DB81-D722-724F-85CE-75021972ADA7}" dt="2023-04-04T07:56:50.997" v="5699" actId="1076"/>
          <ac:spMkLst>
            <pc:docMk/>
            <pc:sldMk cId="146749824" sldId="2147138094"/>
            <ac:spMk id="41" creationId="{C640B0D7-046A-AF4E-2DE7-DC01383FA6DB}"/>
          </ac:spMkLst>
        </pc:spChg>
        <pc:spChg chg="del">
          <ac:chgData name="Oehrli, Stefan" userId="3f36891e-f853-43e7-bcbc-2879a2513833" providerId="ADAL" clId="{BEB5DB81-D722-724F-85CE-75021972ADA7}" dt="2023-04-04T07:56:33.605" v="5696" actId="478"/>
          <ac:spMkLst>
            <pc:docMk/>
            <pc:sldMk cId="146749824" sldId="2147138094"/>
            <ac:spMk id="47" creationId="{8CB71DEB-6AB9-7A51-34D0-AFBECEEE3B79}"/>
          </ac:spMkLst>
        </pc:spChg>
        <pc:spChg chg="del">
          <ac:chgData name="Oehrli, Stefan" userId="3f36891e-f853-43e7-bcbc-2879a2513833" providerId="ADAL" clId="{BEB5DB81-D722-724F-85CE-75021972ADA7}" dt="2023-04-04T07:56:33.605" v="5696" actId="478"/>
          <ac:spMkLst>
            <pc:docMk/>
            <pc:sldMk cId="146749824" sldId="2147138094"/>
            <ac:spMk id="49" creationId="{CDA02043-7937-A050-1D98-F900666B3533}"/>
          </ac:spMkLst>
        </pc:spChg>
        <pc:spChg chg="del">
          <ac:chgData name="Oehrli, Stefan" userId="3f36891e-f853-43e7-bcbc-2879a2513833" providerId="ADAL" clId="{BEB5DB81-D722-724F-85CE-75021972ADA7}" dt="2023-04-04T07:56:33.605" v="5696" actId="478"/>
          <ac:spMkLst>
            <pc:docMk/>
            <pc:sldMk cId="146749824" sldId="2147138094"/>
            <ac:spMk id="50" creationId="{A0F4C490-F9B3-9654-A93D-08BDD7C78727}"/>
          </ac:spMkLst>
        </pc:spChg>
        <pc:spChg chg="del">
          <ac:chgData name="Oehrli, Stefan" userId="3f36891e-f853-43e7-bcbc-2879a2513833" providerId="ADAL" clId="{BEB5DB81-D722-724F-85CE-75021972ADA7}" dt="2023-04-04T07:56:33.605" v="5696" actId="478"/>
          <ac:spMkLst>
            <pc:docMk/>
            <pc:sldMk cId="146749824" sldId="2147138094"/>
            <ac:spMk id="55" creationId="{1C390F95-EB47-4675-C9EA-2BB291A937B8}"/>
          </ac:spMkLst>
        </pc:spChg>
        <pc:spChg chg="del">
          <ac:chgData name="Oehrli, Stefan" userId="3f36891e-f853-43e7-bcbc-2879a2513833" providerId="ADAL" clId="{BEB5DB81-D722-724F-85CE-75021972ADA7}" dt="2023-04-04T07:56:33.605" v="5696" actId="478"/>
          <ac:spMkLst>
            <pc:docMk/>
            <pc:sldMk cId="146749824" sldId="2147138094"/>
            <ac:spMk id="56" creationId="{B4FFEE5F-B0DC-E39D-06B4-E390D4638465}"/>
          </ac:spMkLst>
        </pc:spChg>
        <pc:spChg chg="del">
          <ac:chgData name="Oehrli, Stefan" userId="3f36891e-f853-43e7-bcbc-2879a2513833" providerId="ADAL" clId="{BEB5DB81-D722-724F-85CE-75021972ADA7}" dt="2023-04-04T07:56:33.605" v="5696" actId="478"/>
          <ac:spMkLst>
            <pc:docMk/>
            <pc:sldMk cId="146749824" sldId="2147138094"/>
            <ac:spMk id="57" creationId="{89A56268-330F-2254-914B-C9D24E6D5966}"/>
          </ac:spMkLst>
        </pc:spChg>
        <pc:spChg chg="del">
          <ac:chgData name="Oehrli, Stefan" userId="3f36891e-f853-43e7-bcbc-2879a2513833" providerId="ADAL" clId="{BEB5DB81-D722-724F-85CE-75021972ADA7}" dt="2023-04-04T07:56:33.605" v="5696" actId="478"/>
          <ac:spMkLst>
            <pc:docMk/>
            <pc:sldMk cId="146749824" sldId="2147138094"/>
            <ac:spMk id="58" creationId="{430626FE-4A0A-1C43-5CC2-BBE4F3F20DF0}"/>
          </ac:spMkLst>
        </pc:spChg>
        <pc:spChg chg="del">
          <ac:chgData name="Oehrli, Stefan" userId="3f36891e-f853-43e7-bcbc-2879a2513833" providerId="ADAL" clId="{BEB5DB81-D722-724F-85CE-75021972ADA7}" dt="2023-04-04T07:56:33.605" v="5696" actId="478"/>
          <ac:spMkLst>
            <pc:docMk/>
            <pc:sldMk cId="146749824" sldId="2147138094"/>
            <ac:spMk id="62" creationId="{223BF0A2-147D-7537-0B8E-A56ABE79B4D1}"/>
          </ac:spMkLst>
        </pc:spChg>
        <pc:spChg chg="del">
          <ac:chgData name="Oehrli, Stefan" userId="3f36891e-f853-43e7-bcbc-2879a2513833" providerId="ADAL" clId="{BEB5DB81-D722-724F-85CE-75021972ADA7}" dt="2023-04-04T07:56:33.605" v="5696" actId="478"/>
          <ac:spMkLst>
            <pc:docMk/>
            <pc:sldMk cId="146749824" sldId="2147138094"/>
            <ac:spMk id="63" creationId="{82DE1308-22C5-66DF-EC3B-5C7768058FB9}"/>
          </ac:spMkLst>
        </pc:spChg>
        <pc:spChg chg="del">
          <ac:chgData name="Oehrli, Stefan" userId="3f36891e-f853-43e7-bcbc-2879a2513833" providerId="ADAL" clId="{BEB5DB81-D722-724F-85CE-75021972ADA7}" dt="2023-04-04T07:56:33.605" v="5696" actId="478"/>
          <ac:spMkLst>
            <pc:docMk/>
            <pc:sldMk cId="146749824" sldId="2147138094"/>
            <ac:spMk id="64" creationId="{3A0C56F8-5FC7-DF5A-45E9-3014654522F5}"/>
          </ac:spMkLst>
        </pc:spChg>
        <pc:graphicFrameChg chg="mod modGraphic">
          <ac:chgData name="Oehrli, Stefan" userId="3f36891e-f853-43e7-bcbc-2879a2513833" providerId="ADAL" clId="{BEB5DB81-D722-724F-85CE-75021972ADA7}" dt="2023-04-04T07:56:16.809" v="5695" actId="20577"/>
          <ac:graphicFrameMkLst>
            <pc:docMk/>
            <pc:sldMk cId="146749824" sldId="2147138094"/>
            <ac:graphicFrameMk id="7" creationId="{F28613E1-060F-E801-2F04-703BD0AA3187}"/>
          </ac:graphicFrameMkLst>
        </pc:graphicFrameChg>
      </pc:sldChg>
      <pc:sldChg chg="new del">
        <pc:chgData name="Oehrli, Stefan" userId="3f36891e-f853-43e7-bcbc-2879a2513833" providerId="ADAL" clId="{BEB5DB81-D722-724F-85CE-75021972ADA7}" dt="2023-04-04T08:35:52.959" v="6094" actId="2696"/>
        <pc:sldMkLst>
          <pc:docMk/>
          <pc:sldMk cId="693805704" sldId="2147138095"/>
        </pc:sldMkLst>
      </pc:sldChg>
      <pc:sldChg chg="addSp modSp add del mod modClrScheme chgLayout">
        <pc:chgData name="Oehrli, Stefan" userId="3f36891e-f853-43e7-bcbc-2879a2513833" providerId="ADAL" clId="{BEB5DB81-D722-724F-85CE-75021972ADA7}" dt="2023-04-04T08:35:51.700" v="6093" actId="2696"/>
        <pc:sldMkLst>
          <pc:docMk/>
          <pc:sldMk cId="3873890488" sldId="2147138096"/>
        </pc:sldMkLst>
        <pc:spChg chg="add mod ord">
          <ac:chgData name="Oehrli, Stefan" userId="3f36891e-f853-43e7-bcbc-2879a2513833" providerId="ADAL" clId="{BEB5DB81-D722-724F-85CE-75021972ADA7}" dt="2023-04-04T08:30:09.910" v="5767" actId="700"/>
          <ac:spMkLst>
            <pc:docMk/>
            <pc:sldMk cId="3873890488" sldId="2147138096"/>
            <ac:spMk id="2" creationId="{41338E46-6442-6446-46AC-BB1EFA145EE2}"/>
          </ac:spMkLst>
        </pc:spChg>
        <pc:spChg chg="mod ord">
          <ac:chgData name="Oehrli, Stefan" userId="3f36891e-f853-43e7-bcbc-2879a2513833" providerId="ADAL" clId="{BEB5DB81-D722-724F-85CE-75021972ADA7}" dt="2023-04-04T08:30:09.910" v="5767" actId="700"/>
          <ac:spMkLst>
            <pc:docMk/>
            <pc:sldMk cId="3873890488" sldId="2147138096"/>
            <ac:spMk id="5" creationId="{1478C109-E3A6-05F0-9C76-D28E53CC1708}"/>
          </ac:spMkLst>
        </pc:spChg>
        <pc:spChg chg="mod ord">
          <ac:chgData name="Oehrli, Stefan" userId="3f36891e-f853-43e7-bcbc-2879a2513833" providerId="ADAL" clId="{BEB5DB81-D722-724F-85CE-75021972ADA7}" dt="2023-04-04T08:30:09.910" v="5767" actId="700"/>
          <ac:spMkLst>
            <pc:docMk/>
            <pc:sldMk cId="3873890488" sldId="2147138096"/>
            <ac:spMk id="6" creationId="{D983ECF6-A3DC-FADE-0DC1-EEE55955055E}"/>
          </ac:spMkLst>
        </pc:spChg>
        <pc:spChg chg="mod ord">
          <ac:chgData name="Oehrli, Stefan" userId="3f36891e-f853-43e7-bcbc-2879a2513833" providerId="ADAL" clId="{BEB5DB81-D722-724F-85CE-75021972ADA7}" dt="2023-04-04T08:30:09.910" v="5767" actId="700"/>
          <ac:spMkLst>
            <pc:docMk/>
            <pc:sldMk cId="3873890488" sldId="2147138096"/>
            <ac:spMk id="7" creationId="{C124A808-16DB-889A-9FA2-0EC159F08028}"/>
          </ac:spMkLst>
        </pc:spChg>
        <pc:spChg chg="mod ord">
          <ac:chgData name="Oehrli, Stefan" userId="3f36891e-f853-43e7-bcbc-2879a2513833" providerId="ADAL" clId="{BEB5DB81-D722-724F-85CE-75021972ADA7}" dt="2023-04-04T08:30:09.910" v="5767" actId="700"/>
          <ac:spMkLst>
            <pc:docMk/>
            <pc:sldMk cId="3873890488" sldId="2147138096"/>
            <ac:spMk id="8" creationId="{D6C69559-AFCC-9F44-3767-14E98B80048D}"/>
          </ac:spMkLst>
        </pc:spChg>
        <pc:spChg chg="mod ord">
          <ac:chgData name="Oehrli, Stefan" userId="3f36891e-f853-43e7-bcbc-2879a2513833" providerId="ADAL" clId="{BEB5DB81-D722-724F-85CE-75021972ADA7}" dt="2023-04-04T08:30:09.910" v="5767" actId="700"/>
          <ac:spMkLst>
            <pc:docMk/>
            <pc:sldMk cId="3873890488" sldId="2147138096"/>
            <ac:spMk id="9" creationId="{F1F65E65-F395-1F1E-86BF-B9944CA8B1F8}"/>
          </ac:spMkLst>
        </pc:spChg>
      </pc:sldChg>
      <pc:sldChg chg="addSp delSp modSp new mod ord modClrScheme chgLayout">
        <pc:chgData name="Oehrli, Stefan" userId="3f36891e-f853-43e7-bcbc-2879a2513833" providerId="ADAL" clId="{BEB5DB81-D722-724F-85CE-75021972ADA7}" dt="2023-04-04T08:32:05.206" v="5833" actId="1440"/>
        <pc:sldMkLst>
          <pc:docMk/>
          <pc:sldMk cId="783367747" sldId="2147138097"/>
        </pc:sldMkLst>
        <pc:spChg chg="del mod ord">
          <ac:chgData name="Oehrli, Stefan" userId="3f36891e-f853-43e7-bcbc-2879a2513833" providerId="ADAL" clId="{BEB5DB81-D722-724F-85CE-75021972ADA7}" dt="2023-04-04T08:30:58.312" v="5769" actId="700"/>
          <ac:spMkLst>
            <pc:docMk/>
            <pc:sldMk cId="783367747" sldId="2147138097"/>
            <ac:spMk id="2" creationId="{EE5BB8DA-91A1-43B5-22F8-45F4F123DFB2}"/>
          </ac:spMkLst>
        </pc:spChg>
        <pc:spChg chg="del mod ord">
          <ac:chgData name="Oehrli, Stefan" userId="3f36891e-f853-43e7-bcbc-2879a2513833" providerId="ADAL" clId="{BEB5DB81-D722-724F-85CE-75021972ADA7}" dt="2023-04-04T08:30:58.312" v="5769" actId="700"/>
          <ac:spMkLst>
            <pc:docMk/>
            <pc:sldMk cId="783367747" sldId="2147138097"/>
            <ac:spMk id="3" creationId="{693493AF-0C80-C262-1060-42D73D5FCB5C}"/>
          </ac:spMkLst>
        </pc:spChg>
        <pc:spChg chg="del">
          <ac:chgData name="Oehrli, Stefan" userId="3f36891e-f853-43e7-bcbc-2879a2513833" providerId="ADAL" clId="{BEB5DB81-D722-724F-85CE-75021972ADA7}" dt="2023-04-04T08:30:58.312" v="5769" actId="700"/>
          <ac:spMkLst>
            <pc:docMk/>
            <pc:sldMk cId="783367747" sldId="2147138097"/>
            <ac:spMk id="4" creationId="{2BB7BA35-C4E9-E1DF-5C63-DA64EB77F75F}"/>
          </ac:spMkLst>
        </pc:spChg>
        <pc:spChg chg="mod ord">
          <ac:chgData name="Oehrli, Stefan" userId="3f36891e-f853-43e7-bcbc-2879a2513833" providerId="ADAL" clId="{BEB5DB81-D722-724F-85CE-75021972ADA7}" dt="2023-04-04T08:30:58.312" v="5769" actId="700"/>
          <ac:spMkLst>
            <pc:docMk/>
            <pc:sldMk cId="783367747" sldId="2147138097"/>
            <ac:spMk id="5" creationId="{26EA4C3A-CA5C-283A-A25C-45311C9C1CEA}"/>
          </ac:spMkLst>
        </pc:spChg>
        <pc:spChg chg="del mod ord">
          <ac:chgData name="Oehrli, Stefan" userId="3f36891e-f853-43e7-bcbc-2879a2513833" providerId="ADAL" clId="{BEB5DB81-D722-724F-85CE-75021972ADA7}" dt="2023-04-04T08:30:58.312" v="5769" actId="700"/>
          <ac:spMkLst>
            <pc:docMk/>
            <pc:sldMk cId="783367747" sldId="2147138097"/>
            <ac:spMk id="6" creationId="{19E99F15-D80E-498D-4469-05629006EE85}"/>
          </ac:spMkLst>
        </pc:spChg>
        <pc:spChg chg="mod ord">
          <ac:chgData name="Oehrli, Stefan" userId="3f36891e-f853-43e7-bcbc-2879a2513833" providerId="ADAL" clId="{BEB5DB81-D722-724F-85CE-75021972ADA7}" dt="2023-04-04T08:30:58.312" v="5769" actId="700"/>
          <ac:spMkLst>
            <pc:docMk/>
            <pc:sldMk cId="783367747" sldId="2147138097"/>
            <ac:spMk id="7" creationId="{56D533B8-4332-F626-4927-FCDD71C6BCCD}"/>
          </ac:spMkLst>
        </pc:spChg>
        <pc:spChg chg="add mod ord">
          <ac:chgData name="Oehrli, Stefan" userId="3f36891e-f853-43e7-bcbc-2879a2513833" providerId="ADAL" clId="{BEB5DB81-D722-724F-85CE-75021972ADA7}" dt="2023-04-04T08:31:27.104" v="5774"/>
          <ac:spMkLst>
            <pc:docMk/>
            <pc:sldMk cId="783367747" sldId="2147138097"/>
            <ac:spMk id="8" creationId="{ACDDC423-E697-92D3-8ED9-BEF6CBB23483}"/>
          </ac:spMkLst>
        </pc:spChg>
        <pc:spChg chg="add del mod ord">
          <ac:chgData name="Oehrli, Stefan" userId="3f36891e-f853-43e7-bcbc-2879a2513833" providerId="ADAL" clId="{BEB5DB81-D722-724F-85CE-75021972ADA7}" dt="2023-04-04T08:31:11.712" v="5770"/>
          <ac:spMkLst>
            <pc:docMk/>
            <pc:sldMk cId="783367747" sldId="2147138097"/>
            <ac:spMk id="9" creationId="{18AA05F6-63FC-DCED-A4EA-082E0ADE0DF6}"/>
          </ac:spMkLst>
        </pc:spChg>
        <pc:spChg chg="add mod ord">
          <ac:chgData name="Oehrli, Stefan" userId="3f36891e-f853-43e7-bcbc-2879a2513833" providerId="ADAL" clId="{BEB5DB81-D722-724F-85CE-75021972ADA7}" dt="2023-04-04T08:31:59.259" v="5832" actId="20577"/>
          <ac:spMkLst>
            <pc:docMk/>
            <pc:sldMk cId="783367747" sldId="2147138097"/>
            <ac:spMk id="10" creationId="{EB710A19-30BC-38A8-9E4C-E9484CBB1D4F}"/>
          </ac:spMkLst>
        </pc:spChg>
        <pc:picChg chg="add mod">
          <ac:chgData name="Oehrli, Stefan" userId="3f36891e-f853-43e7-bcbc-2879a2513833" providerId="ADAL" clId="{BEB5DB81-D722-724F-85CE-75021972ADA7}" dt="2023-04-04T08:32:05.206" v="5833" actId="1440"/>
          <ac:picMkLst>
            <pc:docMk/>
            <pc:sldMk cId="783367747" sldId="2147138097"/>
            <ac:picMk id="11" creationId="{C28302DE-AE18-C0E8-F28E-5ED8821FD18E}"/>
          </ac:picMkLst>
        </pc:picChg>
      </pc:sldChg>
      <pc:sldChg chg="addSp delSp modSp add mod">
        <pc:chgData name="Oehrli, Stefan" userId="3f36891e-f853-43e7-bcbc-2879a2513833" providerId="ADAL" clId="{BEB5DB81-D722-724F-85CE-75021972ADA7}" dt="2023-04-04T08:33:30.947" v="5904" actId="20577"/>
        <pc:sldMkLst>
          <pc:docMk/>
          <pc:sldMk cId="3995055900" sldId="2147138098"/>
        </pc:sldMkLst>
        <pc:spChg chg="add del mod">
          <ac:chgData name="Oehrli, Stefan" userId="3f36891e-f853-43e7-bcbc-2879a2513833" providerId="ADAL" clId="{BEB5DB81-D722-724F-85CE-75021972ADA7}" dt="2023-04-04T08:32:52.600" v="5837"/>
          <ac:spMkLst>
            <pc:docMk/>
            <pc:sldMk cId="3995055900" sldId="2147138098"/>
            <ac:spMk id="3" creationId="{E416B25E-5372-AEED-6B21-5B85DBD4C6B4}"/>
          </ac:spMkLst>
        </pc:spChg>
        <pc:spChg chg="mod">
          <ac:chgData name="Oehrli, Stefan" userId="3f36891e-f853-43e7-bcbc-2879a2513833" providerId="ADAL" clId="{BEB5DB81-D722-724F-85CE-75021972ADA7}" dt="2023-04-04T08:33:30.947" v="5904" actId="20577"/>
          <ac:spMkLst>
            <pc:docMk/>
            <pc:sldMk cId="3995055900" sldId="2147138098"/>
            <ac:spMk id="10" creationId="{EB710A19-30BC-38A8-9E4C-E9484CBB1D4F}"/>
          </ac:spMkLst>
        </pc:spChg>
        <pc:picChg chg="add mod">
          <ac:chgData name="Oehrli, Stefan" userId="3f36891e-f853-43e7-bcbc-2879a2513833" providerId="ADAL" clId="{BEB5DB81-D722-724F-85CE-75021972ADA7}" dt="2023-04-04T08:32:58.932" v="5838" actId="1440"/>
          <ac:picMkLst>
            <pc:docMk/>
            <pc:sldMk cId="3995055900" sldId="2147138098"/>
            <ac:picMk id="4" creationId="{F0786668-466D-F4D1-B8D8-2379C6C189A8}"/>
          </ac:picMkLst>
        </pc:picChg>
        <pc:picChg chg="del">
          <ac:chgData name="Oehrli, Stefan" userId="3f36891e-f853-43e7-bcbc-2879a2513833" providerId="ADAL" clId="{BEB5DB81-D722-724F-85CE-75021972ADA7}" dt="2023-04-04T08:32:18.724" v="5836" actId="478"/>
          <ac:picMkLst>
            <pc:docMk/>
            <pc:sldMk cId="3995055900" sldId="2147138098"/>
            <ac:picMk id="11" creationId="{C28302DE-AE18-C0E8-F28E-5ED8821FD18E}"/>
          </ac:picMkLst>
        </pc:picChg>
      </pc:sldChg>
      <pc:sldChg chg="addSp delSp modSp add mod">
        <pc:chgData name="Oehrli, Stefan" userId="3f36891e-f853-43e7-bcbc-2879a2513833" providerId="ADAL" clId="{BEB5DB81-D722-724F-85CE-75021972ADA7}" dt="2023-04-04T08:38:44.702" v="6113"/>
        <pc:sldMkLst>
          <pc:docMk/>
          <pc:sldMk cId="2392979661" sldId="2147138099"/>
        </pc:sldMkLst>
        <pc:spChg chg="add del mod">
          <ac:chgData name="Oehrli, Stefan" userId="3f36891e-f853-43e7-bcbc-2879a2513833" providerId="ADAL" clId="{BEB5DB81-D722-724F-85CE-75021972ADA7}" dt="2023-04-04T08:37:20.517" v="6101"/>
          <ac:spMkLst>
            <pc:docMk/>
            <pc:sldMk cId="2392979661" sldId="2147138099"/>
            <ac:spMk id="3" creationId="{50BBE231-EF6E-2160-7D26-34EAABBC4033}"/>
          </ac:spMkLst>
        </pc:spChg>
        <pc:spChg chg="mod">
          <ac:chgData name="Oehrli, Stefan" userId="3f36891e-f853-43e7-bcbc-2879a2513833" providerId="ADAL" clId="{BEB5DB81-D722-724F-85CE-75021972ADA7}" dt="2023-04-04T08:38:44.702" v="6113"/>
          <ac:spMkLst>
            <pc:docMk/>
            <pc:sldMk cId="2392979661" sldId="2147138099"/>
            <ac:spMk id="10" creationId="{EB710A19-30BC-38A8-9E4C-E9484CBB1D4F}"/>
          </ac:spMkLst>
        </pc:spChg>
        <pc:picChg chg="del">
          <ac:chgData name="Oehrli, Stefan" userId="3f36891e-f853-43e7-bcbc-2879a2513833" providerId="ADAL" clId="{BEB5DB81-D722-724F-85CE-75021972ADA7}" dt="2023-04-04T08:34:02.982" v="5926" actId="478"/>
          <ac:picMkLst>
            <pc:docMk/>
            <pc:sldMk cId="2392979661" sldId="2147138099"/>
            <ac:picMk id="4" creationId="{F0786668-466D-F4D1-B8D8-2379C6C189A8}"/>
          </ac:picMkLst>
        </pc:picChg>
        <pc:picChg chg="add mod">
          <ac:chgData name="Oehrli, Stefan" userId="3f36891e-f853-43e7-bcbc-2879a2513833" providerId="ADAL" clId="{BEB5DB81-D722-724F-85CE-75021972ADA7}" dt="2023-04-04T08:37:27.397" v="6102" actId="1440"/>
          <ac:picMkLst>
            <pc:docMk/>
            <pc:sldMk cId="2392979661" sldId="2147138099"/>
            <ac:picMk id="6" creationId="{6DD28763-FE02-91A5-065F-50CBC34579AC}"/>
          </ac:picMkLst>
        </pc:picChg>
      </pc:sldChg>
      <pc:sldChg chg="addSp delSp modSp add mod">
        <pc:chgData name="Oehrli, Stefan" userId="3f36891e-f853-43e7-bcbc-2879a2513833" providerId="ADAL" clId="{BEB5DB81-D722-724F-85CE-75021972ADA7}" dt="2023-04-04T08:46:30.548" v="6166" actId="1076"/>
        <pc:sldMkLst>
          <pc:docMk/>
          <pc:sldMk cId="4134112622" sldId="2147138100"/>
        </pc:sldMkLst>
        <pc:spChg chg="add del">
          <ac:chgData name="Oehrli, Stefan" userId="3f36891e-f853-43e7-bcbc-2879a2513833" providerId="ADAL" clId="{BEB5DB81-D722-724F-85CE-75021972ADA7}" dt="2023-04-04T08:46:10.244" v="6160"/>
          <ac:spMkLst>
            <pc:docMk/>
            <pc:sldMk cId="4134112622" sldId="2147138100"/>
            <ac:spMk id="3" creationId="{50BBE231-EF6E-2160-7D26-34EAABBC4033}"/>
          </ac:spMkLst>
        </pc:spChg>
        <pc:spChg chg="mod">
          <ac:chgData name="Oehrli, Stefan" userId="3f36891e-f853-43e7-bcbc-2879a2513833" providerId="ADAL" clId="{BEB5DB81-D722-724F-85CE-75021972ADA7}" dt="2023-04-04T08:45:36.727" v="6151" actId="20577"/>
          <ac:spMkLst>
            <pc:docMk/>
            <pc:sldMk cId="4134112622" sldId="2147138100"/>
            <ac:spMk id="10" creationId="{EB710A19-30BC-38A8-9E4C-E9484CBB1D4F}"/>
          </ac:spMkLst>
        </pc:spChg>
        <pc:picChg chg="add del mod">
          <ac:chgData name="Oehrli, Stefan" userId="3f36891e-f853-43e7-bcbc-2879a2513833" providerId="ADAL" clId="{BEB5DB81-D722-724F-85CE-75021972ADA7}" dt="2023-04-04T08:45:21.582" v="6145"/>
          <ac:picMkLst>
            <pc:docMk/>
            <pc:sldMk cId="4134112622" sldId="2147138100"/>
            <ac:picMk id="2" creationId="{5E88D90A-937E-79ED-C151-FD6938C514D1}"/>
          </ac:picMkLst>
        </pc:picChg>
        <pc:picChg chg="add mod">
          <ac:chgData name="Oehrli, Stefan" userId="3f36891e-f853-43e7-bcbc-2879a2513833" providerId="ADAL" clId="{BEB5DB81-D722-724F-85CE-75021972ADA7}" dt="2023-04-04T08:46:30.548" v="6166" actId="1076"/>
          <ac:picMkLst>
            <pc:docMk/>
            <pc:sldMk cId="4134112622" sldId="2147138100"/>
            <ac:picMk id="4" creationId="{CBF71A2D-552D-7678-F913-69D79077B51E}"/>
          </ac:picMkLst>
        </pc:picChg>
        <pc:picChg chg="add mod">
          <ac:chgData name="Oehrli, Stefan" userId="3f36891e-f853-43e7-bcbc-2879a2513833" providerId="ADAL" clId="{BEB5DB81-D722-724F-85CE-75021972ADA7}" dt="2023-04-04T08:46:24.580" v="6164" actId="1076"/>
          <ac:picMkLst>
            <pc:docMk/>
            <pc:sldMk cId="4134112622" sldId="2147138100"/>
            <ac:picMk id="6" creationId="{AC4F28CE-7E75-157C-3B98-D4C2F352DAD2}"/>
          </ac:picMkLst>
        </pc:picChg>
      </pc:sldChg>
      <pc:sldChg chg="addSp delSp modSp add mod ord">
        <pc:chgData name="Oehrli, Stefan" userId="3f36891e-f853-43e7-bcbc-2879a2513833" providerId="ADAL" clId="{BEB5DB81-D722-724F-85CE-75021972ADA7}" dt="2023-04-04T08:45:52.064" v="6156" actId="1076"/>
        <pc:sldMkLst>
          <pc:docMk/>
          <pc:sldMk cId="1824643830" sldId="2147138101"/>
        </pc:sldMkLst>
        <pc:spChg chg="add del">
          <ac:chgData name="Oehrli, Stefan" userId="3f36891e-f853-43e7-bcbc-2879a2513833" providerId="ADAL" clId="{BEB5DB81-D722-724F-85CE-75021972ADA7}" dt="2023-04-04T08:44:55.590" v="6135"/>
          <ac:spMkLst>
            <pc:docMk/>
            <pc:sldMk cId="1824643830" sldId="2147138101"/>
            <ac:spMk id="3" creationId="{50BBE231-EF6E-2160-7D26-34EAABBC4033}"/>
          </ac:spMkLst>
        </pc:spChg>
        <pc:spChg chg="mod">
          <ac:chgData name="Oehrli, Stefan" userId="3f36891e-f853-43e7-bcbc-2879a2513833" providerId="ADAL" clId="{BEB5DB81-D722-724F-85CE-75021972ADA7}" dt="2023-04-04T08:45:33.310" v="6149" actId="21"/>
          <ac:spMkLst>
            <pc:docMk/>
            <pc:sldMk cId="1824643830" sldId="2147138101"/>
            <ac:spMk id="10" creationId="{EB710A19-30BC-38A8-9E4C-E9484CBB1D4F}"/>
          </ac:spMkLst>
        </pc:spChg>
        <pc:picChg chg="add del mod">
          <ac:chgData name="Oehrli, Stefan" userId="3f36891e-f853-43e7-bcbc-2879a2513833" providerId="ADAL" clId="{BEB5DB81-D722-724F-85CE-75021972ADA7}" dt="2023-04-04T08:44:39.839" v="6133"/>
          <ac:picMkLst>
            <pc:docMk/>
            <pc:sldMk cId="1824643830" sldId="2147138101"/>
            <ac:picMk id="2" creationId="{84DE6D42-F6FE-1E8E-EBFE-B99CF5E77D66}"/>
          </ac:picMkLst>
        </pc:picChg>
        <pc:picChg chg="add del">
          <ac:chgData name="Oehrli, Stefan" userId="3f36891e-f853-43e7-bcbc-2879a2513833" providerId="ADAL" clId="{BEB5DB81-D722-724F-85CE-75021972ADA7}" dt="2023-04-04T08:45:11.947" v="6142" actId="21"/>
          <ac:picMkLst>
            <pc:docMk/>
            <pc:sldMk cId="1824643830" sldId="2147138101"/>
            <ac:picMk id="4" creationId="{9B3FE688-6D83-599A-6DF5-504E24D7B768}"/>
          </ac:picMkLst>
        </pc:picChg>
        <pc:picChg chg="add mod">
          <ac:chgData name="Oehrli, Stefan" userId="3f36891e-f853-43e7-bcbc-2879a2513833" providerId="ADAL" clId="{BEB5DB81-D722-724F-85CE-75021972ADA7}" dt="2023-04-04T08:45:44.487" v="6153" actId="1076"/>
          <ac:picMkLst>
            <pc:docMk/>
            <pc:sldMk cId="1824643830" sldId="2147138101"/>
            <ac:picMk id="6" creationId="{2730AADF-A5C3-DCBD-A6E1-C1049C88C1B8}"/>
          </ac:picMkLst>
        </pc:picChg>
        <pc:picChg chg="add mod">
          <ac:chgData name="Oehrli, Stefan" userId="3f36891e-f853-43e7-bcbc-2879a2513833" providerId="ADAL" clId="{BEB5DB81-D722-724F-85CE-75021972ADA7}" dt="2023-04-04T08:45:52.064" v="6156" actId="1076"/>
          <ac:picMkLst>
            <pc:docMk/>
            <pc:sldMk cId="1824643830" sldId="2147138101"/>
            <ac:picMk id="9" creationId="{596AEC4F-D3BA-274F-CB04-21124BAD20FE}"/>
          </ac:picMkLst>
        </pc:picChg>
      </pc:sldChg>
      <pc:sldChg chg="addSp delSp modSp add mod">
        <pc:chgData name="Oehrli, Stefan" userId="3f36891e-f853-43e7-bcbc-2879a2513833" providerId="ADAL" clId="{BEB5DB81-D722-724F-85CE-75021972ADA7}" dt="2023-04-04T08:36:56.192" v="6100" actId="1440"/>
        <pc:sldMkLst>
          <pc:docMk/>
          <pc:sldMk cId="3480061740" sldId="2147138102"/>
        </pc:sldMkLst>
        <pc:spChg chg="del">
          <ac:chgData name="Oehrli, Stefan" userId="3f36891e-f853-43e7-bcbc-2879a2513833" providerId="ADAL" clId="{BEB5DB81-D722-724F-85CE-75021972ADA7}" dt="2023-04-04T08:36:43.771" v="6095"/>
          <ac:spMkLst>
            <pc:docMk/>
            <pc:sldMk cId="3480061740" sldId="2147138102"/>
            <ac:spMk id="3" creationId="{50BBE231-EF6E-2160-7D26-34EAABBC4033}"/>
          </ac:spMkLst>
        </pc:spChg>
        <pc:spChg chg="mod">
          <ac:chgData name="Oehrli, Stefan" userId="3f36891e-f853-43e7-bcbc-2879a2513833" providerId="ADAL" clId="{BEB5DB81-D722-724F-85CE-75021972ADA7}" dt="2023-04-04T08:34:50.723" v="6002" actId="20577"/>
          <ac:spMkLst>
            <pc:docMk/>
            <pc:sldMk cId="3480061740" sldId="2147138102"/>
            <ac:spMk id="10" creationId="{EB710A19-30BC-38A8-9E4C-E9484CBB1D4F}"/>
          </ac:spMkLst>
        </pc:spChg>
        <pc:picChg chg="add mod">
          <ac:chgData name="Oehrli, Stefan" userId="3f36891e-f853-43e7-bcbc-2879a2513833" providerId="ADAL" clId="{BEB5DB81-D722-724F-85CE-75021972ADA7}" dt="2023-04-04T08:36:56.192" v="6100" actId="1440"/>
          <ac:picMkLst>
            <pc:docMk/>
            <pc:sldMk cId="3480061740" sldId="2147138102"/>
            <ac:picMk id="2" creationId="{81B29BA5-23DD-3828-3D3A-ED5D1CCAB6B3}"/>
          </ac:picMkLst>
        </pc:picChg>
      </pc:sldChg>
      <pc:sldChg chg="addSp delSp modSp add mod">
        <pc:chgData name="Oehrli, Stefan" userId="3f36891e-f853-43e7-bcbc-2879a2513833" providerId="ADAL" clId="{BEB5DB81-D722-724F-85CE-75021972ADA7}" dt="2023-04-04T08:39:54.361" v="6115" actId="1440"/>
        <pc:sldMkLst>
          <pc:docMk/>
          <pc:sldMk cId="524717567" sldId="2147138103"/>
        </pc:sldMkLst>
        <pc:spChg chg="del">
          <ac:chgData name="Oehrli, Stefan" userId="3f36891e-f853-43e7-bcbc-2879a2513833" providerId="ADAL" clId="{BEB5DB81-D722-724F-85CE-75021972ADA7}" dt="2023-04-04T08:39:46.600" v="6114"/>
          <ac:spMkLst>
            <pc:docMk/>
            <pc:sldMk cId="524717567" sldId="2147138103"/>
            <ac:spMk id="3" creationId="{50BBE231-EF6E-2160-7D26-34EAABBC4033}"/>
          </ac:spMkLst>
        </pc:spChg>
        <pc:spChg chg="mod">
          <ac:chgData name="Oehrli, Stefan" userId="3f36891e-f853-43e7-bcbc-2879a2513833" providerId="ADAL" clId="{BEB5DB81-D722-724F-85CE-75021972ADA7}" dt="2023-04-04T08:35:12.132" v="6049" actId="20577"/>
          <ac:spMkLst>
            <pc:docMk/>
            <pc:sldMk cId="524717567" sldId="2147138103"/>
            <ac:spMk id="10" creationId="{EB710A19-30BC-38A8-9E4C-E9484CBB1D4F}"/>
          </ac:spMkLst>
        </pc:spChg>
        <pc:picChg chg="add mod">
          <ac:chgData name="Oehrli, Stefan" userId="3f36891e-f853-43e7-bcbc-2879a2513833" providerId="ADAL" clId="{BEB5DB81-D722-724F-85CE-75021972ADA7}" dt="2023-04-04T08:39:54.361" v="6115" actId="1440"/>
          <ac:picMkLst>
            <pc:docMk/>
            <pc:sldMk cId="524717567" sldId="2147138103"/>
            <ac:picMk id="2" creationId="{4E77313A-1512-96BE-AB0B-C92A0851F6F1}"/>
          </ac:picMkLst>
        </pc:picChg>
      </pc:sldChg>
      <pc:sldChg chg="addSp delSp modSp add mod">
        <pc:chgData name="Oehrli, Stefan" userId="3f36891e-f853-43e7-bcbc-2879a2513833" providerId="ADAL" clId="{BEB5DB81-D722-724F-85CE-75021972ADA7}" dt="2023-04-04T08:49:31.022" v="6259" actId="1440"/>
        <pc:sldMkLst>
          <pc:docMk/>
          <pc:sldMk cId="3009414584" sldId="2147138104"/>
        </pc:sldMkLst>
        <pc:spChg chg="del mod">
          <ac:chgData name="Oehrli, Stefan" userId="3f36891e-f853-43e7-bcbc-2879a2513833" providerId="ADAL" clId="{BEB5DB81-D722-724F-85CE-75021972ADA7}" dt="2023-04-04T08:49:22.814" v="6256"/>
          <ac:spMkLst>
            <pc:docMk/>
            <pc:sldMk cId="3009414584" sldId="2147138104"/>
            <ac:spMk id="3" creationId="{50BBE231-EF6E-2160-7D26-34EAABBC4033}"/>
          </ac:spMkLst>
        </pc:spChg>
        <pc:spChg chg="mod">
          <ac:chgData name="Oehrli, Stefan" userId="3f36891e-f853-43e7-bcbc-2879a2513833" providerId="ADAL" clId="{BEB5DB81-D722-724F-85CE-75021972ADA7}" dt="2023-04-04T08:49:10.889" v="6254" actId="5793"/>
          <ac:spMkLst>
            <pc:docMk/>
            <pc:sldMk cId="3009414584" sldId="2147138104"/>
            <ac:spMk id="10" creationId="{EB710A19-30BC-38A8-9E4C-E9484CBB1D4F}"/>
          </ac:spMkLst>
        </pc:spChg>
        <pc:picChg chg="add mod">
          <ac:chgData name="Oehrli, Stefan" userId="3f36891e-f853-43e7-bcbc-2879a2513833" providerId="ADAL" clId="{BEB5DB81-D722-724F-85CE-75021972ADA7}" dt="2023-04-04T08:49:31.022" v="6259" actId="1440"/>
          <ac:picMkLst>
            <pc:docMk/>
            <pc:sldMk cId="3009414584" sldId="2147138104"/>
            <ac:picMk id="2" creationId="{5E4E066B-776C-3B4F-30E2-FDB257D40712}"/>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828800" cy="212377"/>
          </a:xfrm>
          <a:prstGeom prst="rect">
            <a:avLst/>
          </a:prstGeom>
        </p:spPr>
        <p:txBody>
          <a:bodyPr vert="horz" lIns="91440" tIns="45720" rIns="91440" bIns="45720" rtlCol="0"/>
          <a:lstStyle>
            <a:lvl1pPr algn="l">
              <a:defRPr sz="800">
                <a:solidFill>
                  <a:schemeClr val="tx2"/>
                </a:solidFill>
                <a:latin typeface="+mn-lt"/>
              </a:defRPr>
            </a:lvl1pPr>
          </a:lstStyle>
          <a:p>
            <a:endParaRPr lang="en-US" dirty="0">
              <a:solidFill>
                <a:schemeClr val="tx2"/>
              </a:solidFill>
            </a:endParaRPr>
          </a:p>
        </p:txBody>
      </p:sp>
      <p:sp>
        <p:nvSpPr>
          <p:cNvPr id="3" name="Date Placeholder 2"/>
          <p:cNvSpPr>
            <a:spLocks noGrp="1"/>
          </p:cNvSpPr>
          <p:nvPr>
            <p:ph type="dt" idx="1"/>
          </p:nvPr>
        </p:nvSpPr>
        <p:spPr>
          <a:xfrm>
            <a:off x="5027613" y="0"/>
            <a:ext cx="1828800" cy="212377"/>
          </a:xfrm>
          <a:prstGeom prst="rect">
            <a:avLst/>
          </a:prstGeom>
        </p:spPr>
        <p:txBody>
          <a:bodyPr vert="horz" lIns="91440" tIns="45720" rIns="91440" bIns="45720" rtlCol="0"/>
          <a:lstStyle>
            <a:lvl1pPr algn="r">
              <a:defRPr sz="800">
                <a:solidFill>
                  <a:schemeClr val="tx2"/>
                </a:solidFill>
                <a:latin typeface="+mn-lt"/>
              </a:defRPr>
            </a:lvl1pPr>
          </a:lstStyle>
          <a:p>
            <a:fld id="{1DE7078C-3525-4C9B-BF62-C9FD13B9A875}" type="datetimeFigureOut">
              <a:rPr lang="en-US" smtClean="0"/>
              <a:pPr/>
              <a:t>10/16/2024</a:t>
            </a:fld>
            <a:endParaRPr lang="en-US" dirty="0"/>
          </a:p>
        </p:txBody>
      </p:sp>
      <p:sp>
        <p:nvSpPr>
          <p:cNvPr id="4" name="Slide Image Placeholder 3"/>
          <p:cNvSpPr>
            <a:spLocks noGrp="1" noRot="1" noChangeAspect="1"/>
          </p:cNvSpPr>
          <p:nvPr>
            <p:ph type="sldImg" idx="2"/>
          </p:nvPr>
        </p:nvSpPr>
        <p:spPr>
          <a:xfrm>
            <a:off x="50205" y="274505"/>
            <a:ext cx="4734172" cy="2662972"/>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50206" y="2999605"/>
            <a:ext cx="6751750" cy="586989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 y="8923817"/>
            <a:ext cx="6217919" cy="212377"/>
          </a:xfrm>
          <a:prstGeom prst="rect">
            <a:avLst/>
          </a:prstGeom>
        </p:spPr>
        <p:txBody>
          <a:bodyPr vert="horz" lIns="91440" tIns="45720" rIns="91440" bIns="45720" rtlCol="0" anchor="b"/>
          <a:lstStyle>
            <a:lvl1pPr algn="l">
              <a:defRPr sz="800">
                <a:solidFill>
                  <a:schemeClr val="tx2"/>
                </a:solidFill>
                <a:latin typeface="+mn-lt"/>
              </a:defRPr>
            </a:lvl1pPr>
          </a:lstStyle>
          <a:p>
            <a:endParaRPr lang="en-US" dirty="0">
              <a:solidFill>
                <a:schemeClr val="tx2"/>
              </a:solidFill>
            </a:endParaRPr>
          </a:p>
        </p:txBody>
      </p:sp>
      <p:sp>
        <p:nvSpPr>
          <p:cNvPr id="7" name="Slide Number Placeholder 6"/>
          <p:cNvSpPr>
            <a:spLocks noGrp="1"/>
          </p:cNvSpPr>
          <p:nvPr>
            <p:ph type="sldNum" sz="quarter" idx="5"/>
          </p:nvPr>
        </p:nvSpPr>
        <p:spPr>
          <a:xfrm>
            <a:off x="6399213" y="8917749"/>
            <a:ext cx="457200" cy="218445"/>
          </a:xfrm>
          <a:prstGeom prst="rect">
            <a:avLst/>
          </a:prstGeom>
        </p:spPr>
        <p:txBody>
          <a:bodyPr vert="horz" lIns="91440" tIns="45720" rIns="91440" bIns="45720" rtlCol="0" anchor="b"/>
          <a:lstStyle>
            <a:lvl1pPr algn="r">
              <a:defRPr sz="800">
                <a:solidFill>
                  <a:schemeClr val="tx2"/>
                </a:solidFill>
                <a:latin typeface="+mn-lt"/>
              </a:defRPr>
            </a:lvl1pPr>
          </a:lstStyle>
          <a:p>
            <a:fld id="{436E8A87-18DA-4CCE-A8C2-BDBC489258C6}" type="slidenum">
              <a:rPr lang="en-US" smtClean="0"/>
              <a:pPr/>
              <a:t>‹Nr.›</a:t>
            </a:fld>
            <a:endParaRPr lang="en-US" dirty="0"/>
          </a:p>
        </p:txBody>
      </p:sp>
    </p:spTree>
    <p:extLst>
      <p:ext uri="{BB962C8B-B14F-4D97-AF65-F5344CB8AC3E}">
        <p14:creationId xmlns:p14="http://schemas.microsoft.com/office/powerpoint/2010/main" val="667384980"/>
      </p:ext>
    </p:extLst>
  </p:cSld>
  <p:clrMap bg1="lt1" tx1="dk1" bg2="lt2" tx2="dk2" accent1="accent1" accent2="accent2" accent3="accent3" accent4="accent4" accent5="accent5" accent6="accent6" hlink="hlink" folHlink="folHlink"/>
  <p:notesStyle>
    <a:lvl1pPr marL="112713" indent="-112713" algn="l" defTabSz="914400" rtl="0" eaLnBrk="1" latinLnBrk="0" hangingPunct="1">
      <a:buFont typeface="Graphik" panose="020B0604020202020204" pitchFamily="34" charset="0"/>
      <a:buChar char="•"/>
      <a:defRPr sz="1100" kern="1200">
        <a:solidFill>
          <a:schemeClr val="tx1"/>
        </a:solidFill>
        <a:latin typeface="+mn-lt"/>
        <a:ea typeface="+mn-ea"/>
        <a:cs typeface="+mn-cs"/>
      </a:defRPr>
    </a:lvl1pPr>
    <a:lvl2pPr marL="230188" indent="-112713" algn="l">
      <a:buFont typeface="Graphik" panose="020B0604020202020204" pitchFamily="34" charset="0"/>
      <a:buChar char="•"/>
      <a:defRPr sz="1000">
        <a:latin typeface="+mn-lt"/>
      </a:defRPr>
    </a:lvl2pPr>
    <a:lvl3pPr marL="342900" indent="-112713" algn="l">
      <a:buFont typeface="Graphik" panose="020B0604020202020204" pitchFamily="34" charset="0"/>
      <a:buChar char="•"/>
      <a:defRPr sz="900">
        <a:latin typeface="+mn-lt"/>
      </a:defRPr>
    </a:lvl3pPr>
    <a:lvl4pPr marL="460375" indent="-112713" algn="l">
      <a:buFont typeface="Graphik" panose="020B0604020202020204" pitchFamily="34" charset="0"/>
      <a:buChar char="•"/>
      <a:defRPr sz="800">
        <a:latin typeface="+mn-lt"/>
      </a:defRPr>
    </a:lvl4pPr>
    <a:lvl5pPr marL="571500" indent="-112713" algn="l">
      <a:buFont typeface="Graphik" panose="020B0604020202020204" pitchFamily="34" charset="0"/>
      <a:buChar char="•"/>
      <a:defRPr sz="800">
        <a:latin typeface="+mn-lt"/>
      </a:defRPr>
    </a:lvl5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56DB022-BF3C-DF40-8161-AB029396660E}" type="slidenum">
              <a:rPr lang="en-US" smtClean="0"/>
              <a:pPr/>
              <a:t>5</a:t>
            </a:fld>
            <a:endParaRPr lang="en-US"/>
          </a:p>
        </p:txBody>
      </p:sp>
    </p:spTree>
    <p:extLst>
      <p:ext uri="{BB962C8B-B14F-4D97-AF65-F5344CB8AC3E}">
        <p14:creationId xmlns:p14="http://schemas.microsoft.com/office/powerpoint/2010/main" val="35780482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alutation-GTS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dirty="0"/>
              <a:t>Insert Salutation</a:t>
            </a:r>
            <a:endParaRPr lang="en-US" dirty="0"/>
          </a:p>
        </p:txBody>
      </p:sp>
      <p:sp>
        <p:nvSpPr>
          <p:cNvPr id="7" name="TextBox 6">
            <a:extLst>
              <a:ext uri="{FF2B5EF4-FFF2-40B4-BE49-F238E27FC236}">
                <a16:creationId xmlns:a16="http://schemas.microsoft.com/office/drawing/2014/main" id="{35F21F7E-CEFA-4A8F-862E-8631C40CEA2C}"/>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dirty="0"/>
              <a:t>Format Background… &gt; Picture or texture fill &gt; Set to one of the dark or mid gradient options</a:t>
            </a:r>
            <a:endParaRPr lang="en-US" noProof="0" dirty="0"/>
          </a:p>
        </p:txBody>
      </p:sp>
      <p:sp>
        <p:nvSpPr>
          <p:cNvPr id="10" name="GTS_WH" descr="Accenture Greater Than symbol in white">
            <a:extLst>
              <a:ext uri="{FF2B5EF4-FFF2-40B4-BE49-F238E27FC236}">
                <a16:creationId xmlns:a16="http://schemas.microsoft.com/office/drawing/2014/main" id="{494AA491-F1F8-4D38-B722-DB2F38B198B8}"/>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7145585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C35EA4"/>
          </p15:clr>
        </p15:guide>
        <p15:guide id="2" pos="3840" userDrawn="1">
          <p15:clr>
            <a:srgbClr val="C35EA4"/>
          </p15:clr>
        </p15:guide>
        <p15:guide id="3" orient="horz" pos="3608"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Black6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12688DA9-25EC-4AC3-AD0E-0CC139E11679}"/>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7142"/>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dirty="0"/>
              <a:t>Place subtitle here in GT Sectra Fine </a:t>
            </a:r>
            <a:r>
              <a:rPr lang="en-US" dirty="0" err="1"/>
              <a:t>Rg</a:t>
            </a:r>
            <a:r>
              <a:rPr lang="en-US" dirty="0"/>
              <a:t> 24pt</a:t>
            </a:r>
          </a:p>
        </p:txBody>
      </p:sp>
      <p:sp>
        <p:nvSpPr>
          <p:cNvPr id="3" name="TextBox 2">
            <a:extLst>
              <a:ext uri="{FF2B5EF4-FFF2-40B4-BE49-F238E27FC236}">
                <a16:creationId xmlns:a16="http://schemas.microsoft.com/office/drawing/2014/main" id="{E9464481-354D-44BF-B8B2-E0AFA2830FD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grpSp>
        <p:nvGrpSpPr>
          <p:cNvPr id="9" name="Logo_WH" descr="Accenture logo in white">
            <a:extLst>
              <a:ext uri="{FF2B5EF4-FFF2-40B4-BE49-F238E27FC236}">
                <a16:creationId xmlns:a16="http://schemas.microsoft.com/office/drawing/2014/main" id="{BA79480B-BE6F-49EC-829D-D8AF858ABFD8}"/>
              </a:ext>
            </a:extLst>
          </p:cNvPr>
          <p:cNvGrpSpPr>
            <a:grpSpLocks noChangeAspect="1"/>
          </p:cNvGrpSpPr>
          <p:nvPr userDrawn="1"/>
        </p:nvGrpSpPr>
        <p:grpSpPr bwMode="black">
          <a:xfrm>
            <a:off x="381001" y="5815652"/>
            <a:ext cx="1883664" cy="496247"/>
            <a:chOff x="1561" y="187"/>
            <a:chExt cx="4536" cy="1195"/>
          </a:xfrm>
        </p:grpSpPr>
        <p:sp>
          <p:nvSpPr>
            <p:cNvPr id="10" name="Freeform 5">
              <a:extLst>
                <a:ext uri="{FF2B5EF4-FFF2-40B4-BE49-F238E27FC236}">
                  <a16:creationId xmlns:a16="http://schemas.microsoft.com/office/drawing/2014/main" id="{80D6DAB6-FE72-4647-9B94-83468BA6B4AE}"/>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6961114-35B1-4F8E-96CC-0CA3D18133FD}"/>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605010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Black7 Acquisition+Image">
    <p:bg>
      <p:bgPr>
        <a:solidFill>
          <a:schemeClr val="accent3"/>
        </a:solidFill>
        <a:effectLst/>
      </p:bgPr>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dirty="0"/>
              <a:t>Place subtitle here in GT Sectra Fine </a:t>
            </a:r>
            <a:r>
              <a:rPr lang="en-US" dirty="0" err="1"/>
              <a:t>Rg</a:t>
            </a:r>
            <a:r>
              <a:rPr lang="en-US" dirty="0"/>
              <a:t>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sp>
        <p:nvSpPr>
          <p:cNvPr id="13" name="Picture Placeholder 11" descr="Image placeholder for client logo">
            <a:extLst>
              <a:ext uri="{FF2B5EF4-FFF2-40B4-BE49-F238E27FC236}">
                <a16:creationId xmlns:a16="http://schemas.microsoft.com/office/drawing/2014/main" id="{9B6BF12D-A981-4F4E-B8F1-FF12DC840F22}"/>
              </a:ext>
            </a:extLst>
          </p:cNvPr>
          <p:cNvSpPr>
            <a:spLocks noGrp="1"/>
          </p:cNvSpPr>
          <p:nvPr>
            <p:ph type="pic" sz="quarter" idx="13" hasCustomPrompt="1"/>
          </p:nvPr>
        </p:nvSpPr>
        <p:spPr>
          <a:xfrm>
            <a:off x="381001" y="5326815"/>
            <a:ext cx="1884233" cy="985085"/>
          </a:xfrm>
        </p:spPr>
        <p:txBody>
          <a:bodyPr anchor="ctr"/>
          <a:lstStyle>
            <a:lvl1pPr algn="ctr">
              <a:buFont typeface="Graphik" panose="020B0604020202020204" pitchFamily="34" charset="0"/>
              <a:buNone/>
              <a:defRPr sz="1400"/>
            </a:lvl1pPr>
          </a:lstStyle>
          <a:p>
            <a:r>
              <a:rPr lang="en-GB" dirty="0"/>
              <a:t>Add client logo</a:t>
            </a:r>
            <a:endParaRPr lang="en-US" dirty="0"/>
          </a:p>
        </p:txBody>
      </p:sp>
      <p:sp>
        <p:nvSpPr>
          <p:cNvPr id="10" name="GTS_WH" descr="Accenture Greater Than symbol in white">
            <a:extLst>
              <a:ext uri="{FF2B5EF4-FFF2-40B4-BE49-F238E27FC236}">
                <a16:creationId xmlns:a16="http://schemas.microsoft.com/office/drawing/2014/main" id="{659D61A8-47A5-47C2-A85A-BCCCBE83C91F}"/>
              </a:ext>
            </a:extLst>
          </p:cNvPr>
          <p:cNvSpPr>
            <a:spLocks noChangeAspect="1"/>
          </p:cNvSpPr>
          <p:nvPr userDrawn="1"/>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64430059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White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dirty="0"/>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dirty="0"/>
              <a:t>Place subtitle here in GT Sectra Fine </a:t>
            </a:r>
            <a:r>
              <a:rPr lang="en-US" dirty="0" err="1"/>
              <a:t>Rg</a:t>
            </a:r>
            <a:r>
              <a:rPr lang="en-US" dirty="0"/>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6" name="TextBox 5">
            <a:extLst>
              <a:ext uri="{FF2B5EF4-FFF2-40B4-BE49-F238E27FC236}">
                <a16:creationId xmlns:a16="http://schemas.microsoft.com/office/drawing/2014/main" id="{AB818ECE-32D7-4F71-A6CA-1144DA38ED6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grpSp>
        <p:nvGrpSpPr>
          <p:cNvPr id="8" name="Logo_BL" descr="Accenture logo in black and purple">
            <a:extLst>
              <a:ext uri="{FF2B5EF4-FFF2-40B4-BE49-F238E27FC236}">
                <a16:creationId xmlns:a16="http://schemas.microsoft.com/office/drawing/2014/main" id="{35D3F8C8-B2E5-431B-9639-9F05530860EC}"/>
              </a:ext>
            </a:extLst>
          </p:cNvPr>
          <p:cNvGrpSpPr>
            <a:grpSpLocks noChangeAspect="1"/>
          </p:cNvGrpSpPr>
          <p:nvPr userDrawn="1"/>
        </p:nvGrpSpPr>
        <p:grpSpPr bwMode="auto">
          <a:xfrm>
            <a:off x="9147183" y="5815542"/>
            <a:ext cx="1883664" cy="496357"/>
            <a:chOff x="2387" y="1701"/>
            <a:chExt cx="4535" cy="1195"/>
          </a:xfrm>
        </p:grpSpPr>
        <p:sp>
          <p:nvSpPr>
            <p:cNvPr id="10" name="Freeform 5">
              <a:extLst>
                <a:ext uri="{FF2B5EF4-FFF2-40B4-BE49-F238E27FC236}">
                  <a16:creationId xmlns:a16="http://schemas.microsoft.com/office/drawing/2014/main" id="{9AD7BAC9-11D9-4846-95CD-5C2B82714750}"/>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CAEDE4E-DAF3-4FBC-BAEB-E0C26C20EB9D}"/>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553992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White2 Image">
    <p:bg>
      <p:bgPr>
        <a:solidFill>
          <a:schemeClr val="tx1"/>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solidFill>
                  <a:schemeClr val="bg1"/>
                </a:solidFill>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bg1"/>
                </a:solidFill>
              </a:defRPr>
            </a:lvl1pPr>
          </a:lstStyle>
          <a:p>
            <a:r>
              <a:rPr lang="en-US" dirty="0"/>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bg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dirty="0"/>
              <a:t>Place subtitle here in GT Sectra Fine </a:t>
            </a:r>
            <a:r>
              <a:rPr lang="en-US" dirty="0" err="1"/>
              <a:t>Rg</a:t>
            </a:r>
            <a:r>
              <a:rPr lang="en-US" dirty="0"/>
              <a:t>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bg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bg1"/>
                </a:solidFill>
                <a:latin typeface="+mn-lt"/>
                <a:ea typeface="+mn-ea"/>
                <a:cs typeface="+mn-cs"/>
              </a:defRPr>
            </a:lvl1pPr>
          </a:lstStyle>
          <a:p>
            <a:endParaRPr lang="en-US" dirty="0">
              <a:solidFill>
                <a:schemeClr val="bg1"/>
              </a:solidFill>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pic>
        <p:nvPicPr>
          <p:cNvPr id="10" name="Graphic 9" descr="Accenture Greater Than symbol in purple">
            <a:extLst>
              <a:ext uri="{FF2B5EF4-FFF2-40B4-BE49-F238E27FC236}">
                <a16:creationId xmlns:a16="http://schemas.microsoft.com/office/drawing/2014/main" id="{299A6723-3F53-4981-840E-D1D62874F6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5607811"/>
            <a:ext cx="641502" cy="704088"/>
          </a:xfrm>
          <a:prstGeom prst="rect">
            <a:avLst/>
          </a:prstGeom>
        </p:spPr>
      </p:pic>
    </p:spTree>
    <p:extLst>
      <p:ext uri="{BB962C8B-B14F-4D97-AF65-F5344CB8AC3E}">
        <p14:creationId xmlns:p14="http://schemas.microsoft.com/office/powerpoint/2010/main" val="401956214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White3 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dirty="0"/>
              <a:t>Place subtitle here in GT Sectra Fine </a:t>
            </a:r>
            <a:r>
              <a:rPr lang="en-US" dirty="0" err="1"/>
              <a:t>Rg</a:t>
            </a:r>
            <a:r>
              <a:rPr lang="en-US" dirty="0"/>
              <a:t>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197142"/>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519641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White4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dirty="0"/>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dirty="0"/>
              <a:t>Place subtitle here in GT Sectra Fine </a:t>
            </a:r>
            <a:r>
              <a:rPr lang="en-US" dirty="0" err="1"/>
              <a:t>Rg</a:t>
            </a:r>
            <a:r>
              <a:rPr lang="en-US" dirty="0"/>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771526"/>
            <a:ext cx="1884233" cy="985085"/>
          </a:xfrm>
        </p:spPr>
        <p:txBody>
          <a:bodyPr anchor="ctr"/>
          <a:lstStyle>
            <a:lvl1pPr algn="ctr">
              <a:buNone/>
              <a:defRPr sz="1400"/>
            </a:lvl1pPr>
          </a:lstStyle>
          <a:p>
            <a:r>
              <a:rPr lang="en-GB" dirty="0"/>
              <a:t>Add client logo</a:t>
            </a:r>
            <a:endParaRPr lang="en-US" dirty="0"/>
          </a:p>
        </p:txBody>
      </p:sp>
      <p:grpSp>
        <p:nvGrpSpPr>
          <p:cNvPr id="9" name="Logo_BL" descr="Accenture logo in black and purple">
            <a:extLst>
              <a:ext uri="{FF2B5EF4-FFF2-40B4-BE49-F238E27FC236}">
                <a16:creationId xmlns:a16="http://schemas.microsoft.com/office/drawing/2014/main" id="{1C5BF709-3623-4620-9FF0-B8F8076A8BE3}"/>
              </a:ext>
            </a:extLst>
          </p:cNvPr>
          <p:cNvGrpSpPr>
            <a:grpSpLocks noChangeAspect="1"/>
          </p:cNvGrpSpPr>
          <p:nvPr userDrawn="1"/>
        </p:nvGrpSpPr>
        <p:grpSpPr bwMode="auto">
          <a:xfrm>
            <a:off x="9147183" y="5815542"/>
            <a:ext cx="1883664" cy="496357"/>
            <a:chOff x="2387" y="1701"/>
            <a:chExt cx="4535" cy="1195"/>
          </a:xfrm>
        </p:grpSpPr>
        <p:sp>
          <p:nvSpPr>
            <p:cNvPr id="14" name="Freeform 5">
              <a:extLst>
                <a:ext uri="{FF2B5EF4-FFF2-40B4-BE49-F238E27FC236}">
                  <a16:creationId xmlns:a16="http://schemas.microsoft.com/office/drawing/2014/main" id="{C7B64CB8-485B-4A84-AF6D-C9EF29551409}"/>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74AE1E9A-205A-4C25-A6CD-8452DDD29904}"/>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9884935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White5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dirty="0"/>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733891"/>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dirty="0"/>
              <a:t>Place subtitle here in GT Sectra Fine </a:t>
            </a:r>
            <a:r>
              <a:rPr lang="en-US" dirty="0" err="1"/>
              <a:t>Rg</a:t>
            </a:r>
            <a:r>
              <a:rPr lang="en-US" dirty="0"/>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4734391"/>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4979668"/>
            <a:ext cx="4114799" cy="548640"/>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5326815"/>
            <a:ext cx="1884233" cy="985085"/>
          </a:xfrm>
        </p:spPr>
        <p:txBody>
          <a:bodyPr anchor="ctr"/>
          <a:lstStyle>
            <a:lvl1pPr algn="ctr">
              <a:buNone/>
              <a:defRPr sz="1400"/>
            </a:lvl1pPr>
          </a:lstStyle>
          <a:p>
            <a:r>
              <a:rPr lang="en-GB" dirty="0"/>
              <a:t>Add client logo</a:t>
            </a:r>
            <a:endParaRPr lang="en-US" dirty="0"/>
          </a:p>
        </p:txBody>
      </p:sp>
      <p:grpSp>
        <p:nvGrpSpPr>
          <p:cNvPr id="9" name="Logo_BL" descr="Accenture logo in black and purple">
            <a:extLst>
              <a:ext uri="{FF2B5EF4-FFF2-40B4-BE49-F238E27FC236}">
                <a16:creationId xmlns:a16="http://schemas.microsoft.com/office/drawing/2014/main" id="{8D3E8DD1-C700-46AC-AA94-9072B0F31752}"/>
              </a:ext>
            </a:extLst>
          </p:cNvPr>
          <p:cNvGrpSpPr>
            <a:grpSpLocks noChangeAspect="1"/>
          </p:cNvGrpSpPr>
          <p:nvPr userDrawn="1"/>
        </p:nvGrpSpPr>
        <p:grpSpPr bwMode="auto">
          <a:xfrm>
            <a:off x="1149093" y="5815543"/>
            <a:ext cx="1883664" cy="496357"/>
            <a:chOff x="2387" y="1701"/>
            <a:chExt cx="4535" cy="1195"/>
          </a:xfrm>
        </p:grpSpPr>
        <p:sp>
          <p:nvSpPr>
            <p:cNvPr id="14" name="Freeform 5">
              <a:extLst>
                <a:ext uri="{FF2B5EF4-FFF2-40B4-BE49-F238E27FC236}">
                  <a16:creationId xmlns:a16="http://schemas.microsoft.com/office/drawing/2014/main" id="{799A1684-BC33-4579-B840-616EB6D11E8E}"/>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A5AD5E73-6E1C-44F8-9F73-9F3D4F6DF76F}"/>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2237294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White6 Acquisition+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dirty="0"/>
              <a:t>Place subtitle here in GT Sectra Fine </a:t>
            </a:r>
            <a:r>
              <a:rPr lang="en-US" dirty="0" err="1"/>
              <a:t>Rg</a:t>
            </a:r>
            <a:r>
              <a:rPr lang="en-US" dirty="0"/>
              <a:t>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11" name="Picture Placeholder 11" descr="Image placeholder for client logo">
            <a:extLst>
              <a:ext uri="{FF2B5EF4-FFF2-40B4-BE49-F238E27FC236}">
                <a16:creationId xmlns:a16="http://schemas.microsoft.com/office/drawing/2014/main" id="{FFB79963-9269-41F8-B968-34FCB68C87FA}"/>
              </a:ext>
            </a:extLst>
          </p:cNvPr>
          <p:cNvSpPr>
            <a:spLocks noGrp="1"/>
          </p:cNvSpPr>
          <p:nvPr>
            <p:ph type="pic" sz="quarter" idx="13" hasCustomPrompt="1"/>
          </p:nvPr>
        </p:nvSpPr>
        <p:spPr>
          <a:xfrm>
            <a:off x="9926766" y="5326815"/>
            <a:ext cx="1884233" cy="985085"/>
          </a:xfrm>
        </p:spPr>
        <p:txBody>
          <a:bodyPr anchor="ctr"/>
          <a:lstStyle>
            <a:lvl1pPr algn="ctr">
              <a:buNone/>
              <a:defRPr sz="1400"/>
            </a:lvl1pPr>
          </a:lstStyle>
          <a:p>
            <a:r>
              <a:rPr lang="en-GB" dirty="0"/>
              <a:t>Add client logo</a:t>
            </a:r>
            <a:endParaRPr lang="en-US" dirty="0"/>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2590635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White7 Acquisition+Image">
    <p:bg>
      <p:bgRef idx="1001">
        <a:schemeClr val="bg1"/>
      </p:bgRef>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dirty="0"/>
              <a:t>Place subtitle here in GT Sectra Fine </a:t>
            </a:r>
            <a:r>
              <a:rPr lang="en-US" dirty="0" err="1"/>
              <a:t>Rg</a:t>
            </a:r>
            <a:r>
              <a:rPr lang="en-US" dirty="0"/>
              <a:t>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pic>
        <p:nvPicPr>
          <p:cNvPr id="5" name="Graphic 4" descr="Accenture Greater Than symbol in purple">
            <a:extLst>
              <a:ext uri="{FF2B5EF4-FFF2-40B4-BE49-F238E27FC236}">
                <a16:creationId xmlns:a16="http://schemas.microsoft.com/office/drawing/2014/main" id="{8DD1DFCC-5489-470C-84F4-93032F0960C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382725"/>
            <a:ext cx="641502" cy="704088"/>
          </a:xfrm>
          <a:prstGeom prst="rect">
            <a:avLst/>
          </a:prstGeom>
        </p:spPr>
      </p:pic>
      <p:sp>
        <p:nvSpPr>
          <p:cNvPr id="13" name="Picture Placeholder 11" descr="Image placeholder for client logo">
            <a:extLst>
              <a:ext uri="{FF2B5EF4-FFF2-40B4-BE49-F238E27FC236}">
                <a16:creationId xmlns:a16="http://schemas.microsoft.com/office/drawing/2014/main" id="{05B9195C-3F7A-4A18-80FA-FB81E2ECDE09}"/>
              </a:ext>
            </a:extLst>
          </p:cNvPr>
          <p:cNvSpPr>
            <a:spLocks noGrp="1"/>
          </p:cNvSpPr>
          <p:nvPr>
            <p:ph type="pic" sz="quarter" idx="13" hasCustomPrompt="1"/>
          </p:nvPr>
        </p:nvSpPr>
        <p:spPr>
          <a:xfrm>
            <a:off x="381001" y="5326815"/>
            <a:ext cx="1884233" cy="985085"/>
          </a:xfrm>
        </p:spPr>
        <p:txBody>
          <a:bodyPr anchor="ctr"/>
          <a:lstStyle>
            <a:lvl1pPr algn="ctr">
              <a:buNone/>
              <a:defRPr sz="1400"/>
            </a:lvl1pPr>
          </a:lstStyle>
          <a:p>
            <a:r>
              <a:rPr lang="en-GB" dirty="0"/>
              <a:t>Add client logo</a:t>
            </a:r>
            <a:endParaRPr lang="en-US" dirty="0"/>
          </a:p>
        </p:txBody>
      </p:sp>
    </p:spTree>
    <p:extLst>
      <p:ext uri="{BB962C8B-B14F-4D97-AF65-F5344CB8AC3E}">
        <p14:creationId xmlns:p14="http://schemas.microsoft.com/office/powerpoint/2010/main" val="39083554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descr="Accenture Gradient Dark">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bwMode="invGray">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itchFamily="2" charset="77"/>
              </a:defRPr>
            </a:lvl2pPr>
            <a:lvl3pPr marL="0" indent="0">
              <a:spcAft>
                <a:spcPts val="600"/>
              </a:spcAft>
              <a:buNone/>
              <a:defRPr sz="2400">
                <a:latin typeface="GT Sectra Fine Rg" pitchFamily="2" charset="77"/>
              </a:defRPr>
            </a:lvl3pPr>
            <a:lvl4pPr marL="0" indent="0">
              <a:spcAft>
                <a:spcPts val="600"/>
              </a:spcAft>
              <a:buNone/>
              <a:defRPr sz="2400">
                <a:latin typeface="GT Sectra Fine Rg" pitchFamily="2" charset="77"/>
              </a:defRPr>
            </a:lvl4pPr>
            <a:lvl5pPr marL="0" indent="0">
              <a:spcAft>
                <a:spcPts val="600"/>
              </a:spcAft>
              <a:buNone/>
              <a:defRPr sz="2400">
                <a:latin typeface="GT Sectra Fine Rg" pitchFamily="2" charset="77"/>
              </a:defRPr>
            </a:lvl5pPr>
          </a:lstStyle>
          <a:p>
            <a:pPr lvl="0"/>
            <a:r>
              <a:rPr lang="en-GB" dirty="0"/>
              <a:t>Place subtitle here in GT </a:t>
            </a:r>
            <a:r>
              <a:rPr lang="en-GB" dirty="0" err="1"/>
              <a:t>Sectra</a:t>
            </a:r>
            <a:r>
              <a:rPr lang="en-GB" dirty="0"/>
              <a:t> Fine </a:t>
            </a:r>
            <a:r>
              <a:rPr lang="en-GB" dirty="0" err="1"/>
              <a:t>Rg</a:t>
            </a:r>
            <a:r>
              <a:rPr lang="en-GB" dirty="0"/>
              <a:t> 24pt</a:t>
            </a:r>
            <a:endParaRPr lang="en-US" dirty="0"/>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dirty="0"/>
              <a:t>Drag picture to placeholder or click icon to add</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dirty="0"/>
              <a:t>Section title 54pt</a:t>
            </a:r>
          </a:p>
        </p:txBody>
      </p:sp>
      <p:sp>
        <p:nvSpPr>
          <p:cNvPr id="10" name="GTS_WH" descr="Accenture Greater Than symbol in white">
            <a:extLst>
              <a:ext uri="{FF2B5EF4-FFF2-40B4-BE49-F238E27FC236}">
                <a16:creationId xmlns:a16="http://schemas.microsoft.com/office/drawing/2014/main" id="{4B2379EA-B598-42DD-B03E-5C4FC1D468F3}"/>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Footer Placeholder 4">
            <a:extLst>
              <a:ext uri="{FF2B5EF4-FFF2-40B4-BE49-F238E27FC236}">
                <a16:creationId xmlns:a16="http://schemas.microsoft.com/office/drawing/2014/main" id="{7FB0387B-1E9C-4EB7-9BA3-83AB796E35C7}"/>
              </a:ext>
            </a:extLst>
          </p:cNvPr>
          <p:cNvSpPr>
            <a:spLocks noGrp="1"/>
          </p:cNvSpPr>
          <p:nvPr>
            <p:ph type="ftr" sz="quarter" idx="18"/>
          </p:nvPr>
        </p:nvSpPr>
        <p:spPr/>
        <p:txBody>
          <a:bodyPr/>
          <a:lstStyle/>
          <a:p>
            <a:pPr algn="r" defTabSz="228600">
              <a:spcAft>
                <a:spcPts val="1200"/>
              </a:spcAft>
              <a:defRPr/>
            </a:pPr>
            <a:r>
              <a:rPr lang="en-GB"/>
              <a:t>Copyright © 2024 Accenture. All rights reserved.</a:t>
            </a:r>
            <a:endParaRPr lang="en-GB" dirty="0"/>
          </a:p>
        </p:txBody>
      </p:sp>
      <p:sp>
        <p:nvSpPr>
          <p:cNvPr id="7" name="Slide Number Placeholder 6">
            <a:extLst>
              <a:ext uri="{FF2B5EF4-FFF2-40B4-BE49-F238E27FC236}">
                <a16:creationId xmlns:a16="http://schemas.microsoft.com/office/drawing/2014/main" id="{A0BB825C-3912-400B-A9ED-F17A355964BB}"/>
              </a:ext>
            </a:extLst>
          </p:cNvPr>
          <p:cNvSpPr>
            <a:spLocks noGrp="1"/>
          </p:cNvSpPr>
          <p:nvPr>
            <p:ph type="sldNum" sz="quarter" idx="19"/>
          </p:nvPr>
        </p:nvSpPr>
        <p:spPr/>
        <p:txBody>
          <a:bodyPr/>
          <a:lstStyle/>
          <a:p>
            <a:fld id="{1F90F471-3972-4120-B8B3-0237DE626C35}" type="slidenum">
              <a:rPr lang="en-US" smtClean="0"/>
              <a:pPr/>
              <a:t>‹Nr.›</a:t>
            </a:fld>
            <a:endParaRPr lang="en-US" dirty="0"/>
          </a:p>
        </p:txBody>
      </p:sp>
    </p:spTree>
    <p:extLst>
      <p:ext uri="{BB962C8B-B14F-4D97-AF65-F5344CB8AC3E}">
        <p14:creationId xmlns:p14="http://schemas.microsoft.com/office/powerpoint/2010/main" val="248215213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alutation-Logo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dirty="0"/>
              <a:t>Insert Salutation</a:t>
            </a:r>
            <a:endParaRPr lang="en-US" dirty="0"/>
          </a:p>
        </p:txBody>
      </p:sp>
      <p:sp>
        <p:nvSpPr>
          <p:cNvPr id="11" name="TextBox 10">
            <a:extLst>
              <a:ext uri="{FF2B5EF4-FFF2-40B4-BE49-F238E27FC236}">
                <a16:creationId xmlns:a16="http://schemas.microsoft.com/office/drawing/2014/main" id="{0B104FBB-E799-42A8-A4FA-483DC489523D}"/>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dirty="0"/>
              <a:t>Format Background… &gt; Picture or texture fill &gt; Set to one of the dark or mid gradient options</a:t>
            </a:r>
            <a:endParaRPr lang="en-US" noProof="0" dirty="0"/>
          </a:p>
        </p:txBody>
      </p:sp>
      <p:grpSp>
        <p:nvGrpSpPr>
          <p:cNvPr id="12" name="Logo_WH" descr="Accenture logo in white">
            <a:extLst>
              <a:ext uri="{FF2B5EF4-FFF2-40B4-BE49-F238E27FC236}">
                <a16:creationId xmlns:a16="http://schemas.microsoft.com/office/drawing/2014/main" id="{0D82E30B-4E95-4B73-9014-71990AE21DBE}"/>
              </a:ext>
            </a:extLst>
          </p:cNvPr>
          <p:cNvGrpSpPr>
            <a:grpSpLocks noChangeAspect="1"/>
          </p:cNvGrpSpPr>
          <p:nvPr userDrawn="1"/>
        </p:nvGrpSpPr>
        <p:grpSpPr bwMode="black">
          <a:xfrm>
            <a:off x="5154167" y="5374201"/>
            <a:ext cx="1883664" cy="496247"/>
            <a:chOff x="1561" y="187"/>
            <a:chExt cx="4536" cy="1195"/>
          </a:xfrm>
        </p:grpSpPr>
        <p:sp>
          <p:nvSpPr>
            <p:cNvPr id="13" name="Freeform 5">
              <a:extLst>
                <a:ext uri="{FF2B5EF4-FFF2-40B4-BE49-F238E27FC236}">
                  <a16:creationId xmlns:a16="http://schemas.microsoft.com/office/drawing/2014/main" id="{008CD909-AC78-4980-BB04-8608F18CDC22}"/>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8B5D8E88-5919-40A0-A4A4-2E6587AD687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7005577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8" userDrawn="1">
          <p15:clr>
            <a:srgbClr val="C35EA4"/>
          </p15:clr>
        </p15:guide>
        <p15:guide id="2" pos="3840" userDrawn="1">
          <p15:clr>
            <a:srgbClr val="C35EA4"/>
          </p15:clr>
        </p15:guide>
        <p15:guide id="3" orient="horz" pos="2160"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6" name="Picture 5" descr="Accenture Gradient Mid&#10;">
            <a:extLst>
              <a:ext uri="{FF2B5EF4-FFF2-40B4-BE49-F238E27FC236}">
                <a16:creationId xmlns:a16="http://schemas.microsoft.com/office/drawing/2014/main" id="{D34847E9-71CB-4177-8BB3-C4EDB8A3E2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dirty="0"/>
              <a:t>Drag picture to placeholder or click icon to add</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dirty="0"/>
              <a:t>Section title 54pt</a:t>
            </a: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70180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itchFamily="2" charset="77"/>
              </a:defRPr>
            </a:lvl2pPr>
            <a:lvl3pPr marL="0" indent="0">
              <a:spcAft>
                <a:spcPts val="600"/>
              </a:spcAft>
              <a:buNone/>
              <a:defRPr sz="2400">
                <a:latin typeface="GT Sectra Fine Rg" pitchFamily="2" charset="77"/>
              </a:defRPr>
            </a:lvl3pPr>
            <a:lvl4pPr marL="0" indent="0">
              <a:spcAft>
                <a:spcPts val="600"/>
              </a:spcAft>
              <a:buNone/>
              <a:defRPr sz="2400">
                <a:latin typeface="GT Sectra Fine Rg" pitchFamily="2" charset="77"/>
              </a:defRPr>
            </a:lvl4pPr>
            <a:lvl5pPr marL="0" indent="0">
              <a:spcAft>
                <a:spcPts val="600"/>
              </a:spcAft>
              <a:buNone/>
              <a:defRPr sz="2400">
                <a:latin typeface="GT Sectra Fine Rg" pitchFamily="2" charset="77"/>
              </a:defRPr>
            </a:lvl5pPr>
          </a:lstStyle>
          <a:p>
            <a:pPr lvl="0"/>
            <a:r>
              <a:rPr lang="en-GB" dirty="0"/>
              <a:t>Place subtitle here in GT Sectra Fine </a:t>
            </a:r>
            <a:r>
              <a:rPr lang="en-GB" dirty="0" err="1"/>
              <a:t>Rg</a:t>
            </a:r>
            <a:r>
              <a:rPr lang="en-GB" dirty="0"/>
              <a:t> 24pt</a:t>
            </a:r>
            <a:endParaRPr lang="en-US" dirty="0"/>
          </a:p>
        </p:txBody>
      </p:sp>
      <p:sp>
        <p:nvSpPr>
          <p:cNvPr id="13" name="Footer Placeholder 3">
            <a:extLst>
              <a:ext uri="{FF2B5EF4-FFF2-40B4-BE49-F238E27FC236}">
                <a16:creationId xmlns:a16="http://schemas.microsoft.com/office/drawing/2014/main" id="{EC3F0890-0DED-4AD1-9A02-BD56F8554BD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4 Accenture. All rights reserved.</a:t>
            </a:r>
            <a:endParaRPr lang="en-GB" dirty="0"/>
          </a:p>
        </p:txBody>
      </p:sp>
      <p:sp>
        <p:nvSpPr>
          <p:cNvPr id="14" name="GTS_WH" descr="Accenture Greater Than symbol in white">
            <a:extLst>
              <a:ext uri="{FF2B5EF4-FFF2-40B4-BE49-F238E27FC236}">
                <a16:creationId xmlns:a16="http://schemas.microsoft.com/office/drawing/2014/main" id="{3FC0722F-C643-4988-96E8-F00519CB3A00}"/>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EF969A96-ECEE-46C8-AC65-A99027BA9203}"/>
              </a:ext>
            </a:extLst>
          </p:cNvPr>
          <p:cNvSpPr>
            <a:spLocks noGrp="1"/>
          </p:cNvSpPr>
          <p:nvPr>
            <p:ph type="sldNum" sz="quarter" idx="18"/>
          </p:nvPr>
        </p:nvSpPr>
        <p:spPr/>
        <p:txBody>
          <a:bodyPr/>
          <a:lstStyle/>
          <a:p>
            <a:fld id="{1F90F471-3972-4120-B8B3-0237DE626C35}" type="slidenum">
              <a:rPr lang="en-US" smtClean="0"/>
              <a:pPr/>
              <a:t>‹Nr.›</a:t>
            </a:fld>
            <a:endParaRPr lang="en-US" dirty="0"/>
          </a:p>
        </p:txBody>
      </p:sp>
    </p:spTree>
    <p:extLst>
      <p:ext uri="{BB962C8B-B14F-4D97-AF65-F5344CB8AC3E}">
        <p14:creationId xmlns:p14="http://schemas.microsoft.com/office/powerpoint/2010/main" val="308600086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Mid Purple">
    <p:bg>
      <p:bgPr>
        <a:solidFill>
          <a:schemeClr val="accent2"/>
        </a:solidFill>
        <a:effectLst/>
      </p:bgPr>
    </p:bg>
    <p:spTree>
      <p:nvGrpSpPr>
        <p:cNvPr id="1" name=""/>
        <p:cNvGrpSpPr/>
        <p:nvPr/>
      </p:nvGrpSpPr>
      <p:grpSpPr>
        <a:xfrm>
          <a:off x="0" y="0"/>
          <a:ext cx="0" cy="0"/>
          <a:chOff x="0" y="0"/>
          <a:chExt cx="0" cy="0"/>
        </a:xfrm>
      </p:grpSpPr>
      <p:pic>
        <p:nvPicPr>
          <p:cNvPr id="13" name="Picture 12" descr="Accenture Gradient Mid">
            <a:extLst>
              <a:ext uri="{FF2B5EF4-FFF2-40B4-BE49-F238E27FC236}">
                <a16:creationId xmlns:a16="http://schemas.microsoft.com/office/drawing/2014/main" id="{CB16898D-3DD4-439C-B43F-558C1FDD36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ltGray">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bwMode="white">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422072"/>
          </a:xfrm>
        </p:spPr>
        <p:txBody>
          <a:bodyPr anchor="t"/>
          <a:lstStyle>
            <a:lvl1pPr>
              <a:defRPr sz="5400">
                <a:solidFill>
                  <a:schemeClr val="tx1"/>
                </a:solidFill>
              </a:defRPr>
            </a:lvl1pPr>
          </a:lstStyle>
          <a:p>
            <a:r>
              <a:rPr lang="en-US" dirty="0"/>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noFill/>
                </a:ln>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dirty="0"/>
              <a:t>#</a:t>
            </a: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7"/>
            <a:ext cx="2993573" cy="242207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itchFamily="2" charset="77"/>
              </a:defRPr>
            </a:lvl2pPr>
            <a:lvl3pPr marL="0" indent="0">
              <a:spcAft>
                <a:spcPts val="600"/>
              </a:spcAft>
              <a:buNone/>
              <a:defRPr sz="2400">
                <a:latin typeface="GT Sectra Fine Rg" pitchFamily="2" charset="77"/>
              </a:defRPr>
            </a:lvl3pPr>
            <a:lvl4pPr marL="0" indent="0">
              <a:spcAft>
                <a:spcPts val="600"/>
              </a:spcAft>
              <a:buNone/>
              <a:defRPr sz="2400">
                <a:latin typeface="GT Sectra Fine Rg" pitchFamily="2" charset="77"/>
              </a:defRPr>
            </a:lvl4pPr>
            <a:lvl5pPr marL="0" indent="0">
              <a:spcAft>
                <a:spcPts val="600"/>
              </a:spcAft>
              <a:buNone/>
              <a:defRPr sz="2400">
                <a:latin typeface="GT Sectra Fine Rg" pitchFamily="2" charset="77"/>
              </a:defRPr>
            </a:lvl5pPr>
          </a:lstStyle>
          <a:p>
            <a:pPr lvl="0"/>
            <a:r>
              <a:rPr lang="en-GB" dirty="0"/>
              <a:t>Place subtitle here in GT Sectra Fine </a:t>
            </a:r>
            <a:r>
              <a:rPr lang="en-GB" dirty="0" err="1"/>
              <a:t>Rg</a:t>
            </a:r>
            <a:r>
              <a:rPr lang="en-GB" dirty="0"/>
              <a:t> 24pt</a:t>
            </a:r>
            <a:endParaRPr lang="en-US" dirty="0"/>
          </a:p>
        </p:txBody>
      </p:sp>
      <p:sp>
        <p:nvSpPr>
          <p:cNvPr id="15" name="Footer Placeholder 3">
            <a:extLst>
              <a:ext uri="{FF2B5EF4-FFF2-40B4-BE49-F238E27FC236}">
                <a16:creationId xmlns:a16="http://schemas.microsoft.com/office/drawing/2014/main" id="{C230B8D6-1525-4D29-A117-F22A9C16F08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4 Accenture. All rights reserved.</a:t>
            </a:r>
            <a:endParaRPr lang="en-GB" dirty="0"/>
          </a:p>
        </p:txBody>
      </p:sp>
      <p:sp>
        <p:nvSpPr>
          <p:cNvPr id="16" name="GTS_WH" descr="Accenture Greater Than symbol in white">
            <a:extLst>
              <a:ext uri="{FF2B5EF4-FFF2-40B4-BE49-F238E27FC236}">
                <a16:creationId xmlns:a16="http://schemas.microsoft.com/office/drawing/2014/main" id="{C5173724-68B6-47CD-B850-71B1407EEAA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404ADF7-CE17-4A46-8A63-A366F9BB14A4}"/>
              </a:ext>
            </a:extLst>
          </p:cNvPr>
          <p:cNvSpPr>
            <a:spLocks noGrp="1"/>
          </p:cNvSpPr>
          <p:nvPr>
            <p:ph type="sldNum" sz="quarter" idx="17"/>
          </p:nvPr>
        </p:nvSpPr>
        <p:spPr/>
        <p:txBody>
          <a:bodyPr/>
          <a:lstStyle/>
          <a:p>
            <a:fld id="{1F90F471-3972-4120-B8B3-0237DE626C35}" type="slidenum">
              <a:rPr lang="en-US" smtClean="0"/>
              <a:pPr/>
              <a:t>‹Nr.›</a:t>
            </a:fld>
            <a:endParaRPr lang="en-US" dirty="0"/>
          </a:p>
        </p:txBody>
      </p:sp>
    </p:spTree>
    <p:extLst>
      <p:ext uri="{BB962C8B-B14F-4D97-AF65-F5344CB8AC3E}">
        <p14:creationId xmlns:p14="http://schemas.microsoft.com/office/powerpoint/2010/main" val="370613145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699330"/>
          </a:xfrm>
        </p:spPr>
        <p:txBody>
          <a:bodyPr/>
          <a:lstStyle>
            <a:lvl1pPr marL="0" indent="0">
              <a:lnSpc>
                <a:spcPct val="90000"/>
              </a:lnSpc>
              <a:buNone/>
              <a:defRPr sz="2400">
                <a:solidFill>
                  <a:schemeClr val="accent1"/>
                </a:solidFill>
                <a:latin typeface="GT Sectra Fine Rg" panose="00000500000000000000" pitchFamily="50" charset="0"/>
              </a:defRPr>
            </a:lvl1pPr>
            <a:lvl2pPr marL="0" indent="0">
              <a:buNone/>
              <a:defRPr sz="1800"/>
            </a:lvl2pPr>
            <a:lvl3pPr marL="228600">
              <a:buFont typeface="Graphik" panose="020B0604020202020204" pitchFamily="34" charset="0"/>
              <a:buChar char="•"/>
              <a:defRPr sz="1800"/>
            </a:lvl3pPr>
            <a:lvl4pPr marL="457200">
              <a:buFont typeface="System Font"/>
              <a:buChar char="–"/>
              <a:defRPr sz="1600"/>
            </a:lvl4pPr>
            <a:lvl5pPr marL="685800">
              <a:buFont typeface="Graphik" panose="020B0604020202020204" pitchFamily="34" charset="0"/>
              <a:buChar char="•"/>
              <a:defRPr sz="1600"/>
            </a:lvl5pPr>
          </a:lstStyle>
          <a:p>
            <a:pPr lvl="0"/>
            <a:r>
              <a:rPr lang="en-US" dirty="0"/>
              <a:t>Place agenda summary here in GT Sectra Fine </a:t>
            </a:r>
            <a:r>
              <a:rPr lang="en-US" dirty="0" err="1"/>
              <a:t>Rg</a:t>
            </a:r>
            <a:r>
              <a:rPr lang="en-US" dirty="0"/>
              <a:t> 24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lvl1pPr>
              <a:defRPr/>
            </a:lvl1pPr>
          </a:lstStyle>
          <a:p>
            <a:r>
              <a:rPr lang="en-GB" dirty="0"/>
              <a:t>Agenda title</a:t>
            </a:r>
            <a:endParaRPr lang="en-US" dirty="0"/>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dirty="0"/>
              <a:t>##</a:t>
            </a:r>
            <a:endParaRPr lang="en-US" dirty="0"/>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dirty="0"/>
              <a:t>##</a:t>
            </a:r>
            <a:endParaRPr lang="en-US" dirty="0"/>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dirty="0"/>
              <a:t>##</a:t>
            </a:r>
            <a:endParaRPr lang="en-US" dirty="0"/>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dirty="0"/>
              <a:t>##</a:t>
            </a:r>
            <a:endParaRPr lang="en-US" dirty="0"/>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dirty="0"/>
              <a:t>##</a:t>
            </a:r>
            <a:endParaRPr lang="en-US" dirty="0"/>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dirty="0"/>
              <a:t>##</a:t>
            </a:r>
            <a:endParaRPr lang="en-US" dirty="0"/>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dirty="0"/>
              <a:t>##</a:t>
            </a:r>
            <a:endParaRPr lang="en-US" dirty="0"/>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dirty="0"/>
              <a:t>##</a:t>
            </a:r>
            <a:endParaRPr lang="en-US" dirty="0"/>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dirty="0"/>
              <a:t>##</a:t>
            </a:r>
            <a:endParaRPr lang="en-US" dirty="0"/>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dirty="0"/>
              <a:t>##</a:t>
            </a:r>
            <a:endParaRPr lang="en-US" dirty="0"/>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dirty="0"/>
              <a:t>##</a:t>
            </a:r>
            <a:endParaRPr lang="en-US" dirty="0"/>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dirty="0"/>
              <a:t>##</a:t>
            </a:r>
            <a:endParaRPr lang="en-US" dirty="0"/>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dirty="0"/>
              <a:t>##</a:t>
            </a:r>
            <a:endParaRPr lang="en-US" dirty="0"/>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dirty="0"/>
              <a:t>##</a:t>
            </a:r>
            <a:endParaRPr lang="en-US" dirty="0"/>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dirty="0"/>
              <a:t>##</a:t>
            </a:r>
            <a:endParaRPr lang="en-US" dirty="0"/>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dirty="0"/>
              <a:t>##</a:t>
            </a:r>
            <a:endParaRPr lang="en-US" dirty="0"/>
          </a:p>
        </p:txBody>
      </p:sp>
      <p:sp>
        <p:nvSpPr>
          <p:cNvPr id="5" name="Footer Placeholder 4">
            <a:extLst>
              <a:ext uri="{FF2B5EF4-FFF2-40B4-BE49-F238E27FC236}">
                <a16:creationId xmlns:a16="http://schemas.microsoft.com/office/drawing/2014/main" id="{7BC1BE3C-F523-44EE-B6D4-7175CE08E157}"/>
              </a:ext>
            </a:extLst>
          </p:cNvPr>
          <p:cNvSpPr>
            <a:spLocks noGrp="1"/>
          </p:cNvSpPr>
          <p:nvPr>
            <p:ph type="ftr" sz="quarter" idx="56"/>
          </p:nvPr>
        </p:nvSpPr>
        <p:spPr/>
        <p:txBody>
          <a:bodyPr/>
          <a:lstStyle/>
          <a:p>
            <a:pPr algn="r" defTabSz="228600">
              <a:spcAft>
                <a:spcPts val="1200"/>
              </a:spcAft>
              <a:defRPr/>
            </a:pPr>
            <a:r>
              <a:rPr lang="en-GB"/>
              <a:t>Copyright © 2024 Accenture. All rights reserved.</a:t>
            </a:r>
            <a:endParaRPr lang="en-GB" dirty="0"/>
          </a:p>
        </p:txBody>
      </p:sp>
      <p:sp>
        <p:nvSpPr>
          <p:cNvPr id="8" name="Slide Number Placeholder 7">
            <a:extLst>
              <a:ext uri="{FF2B5EF4-FFF2-40B4-BE49-F238E27FC236}">
                <a16:creationId xmlns:a16="http://schemas.microsoft.com/office/drawing/2014/main" id="{1796CD18-ADDA-4A64-BDD0-F5A8D01FDD49}"/>
              </a:ext>
            </a:extLst>
          </p:cNvPr>
          <p:cNvSpPr>
            <a:spLocks noGrp="1"/>
          </p:cNvSpPr>
          <p:nvPr>
            <p:ph type="sldNum" sz="quarter" idx="57"/>
          </p:nvPr>
        </p:nvSpPr>
        <p:spPr/>
        <p:txBody>
          <a:bodyPr/>
          <a:lstStyle/>
          <a:p>
            <a:fld id="{1F90F471-3972-4120-B8B3-0237DE626C35}" type="slidenum">
              <a:rPr lang="en-US" smtClean="0"/>
              <a:pPr/>
              <a:t>‹Nr.›</a:t>
            </a:fld>
            <a:endParaRPr lang="en-US" dirty="0"/>
          </a:p>
        </p:txBody>
      </p:sp>
    </p:spTree>
    <p:extLst>
      <p:ext uri="{BB962C8B-B14F-4D97-AF65-F5344CB8AC3E}">
        <p14:creationId xmlns:p14="http://schemas.microsoft.com/office/powerpoint/2010/main" val="3236876317"/>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GB" dirty="0"/>
              <a:t>Place headline here (36pt, min 30pt)</a:t>
            </a:r>
            <a:endParaRPr lang="en-US" dirty="0"/>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Graphik" panose="020B0604020202020204" pitchFamily="34" charset="0"/>
              <a:buChar char="•"/>
              <a:defRPr/>
            </a:lvl1pPr>
            <a:lvl2pPr marL="457200">
              <a:defRPr/>
            </a:lvl2pPr>
            <a:lvl3pPr marL="685800">
              <a:defRPr/>
            </a:lvl3pPr>
            <a:lvl4pPr marL="914400">
              <a:defRPr/>
            </a:lvl4pPr>
            <a:lvl5pPr marL="1143000">
              <a:defRPr/>
            </a:lvl5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4 Accenture. All rights reserved.</a:t>
            </a:r>
            <a:endParaRPr lang="en-GB" dirty="0"/>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p:txBody>
          <a:bodyPr/>
          <a:lstStyle/>
          <a:p>
            <a:fld id="{1F90F471-3972-4120-B8B3-0237DE626C35}" type="slidenum">
              <a:rPr lang="en-US" smtClean="0"/>
              <a:pPr/>
              <a:t>‹Nr.›</a:t>
            </a:fld>
            <a:endParaRPr lang="en-US" dirty="0"/>
          </a:p>
        </p:txBody>
      </p:sp>
    </p:spTree>
    <p:extLst>
      <p:ext uri="{BB962C8B-B14F-4D97-AF65-F5344CB8AC3E}">
        <p14:creationId xmlns:p14="http://schemas.microsoft.com/office/powerpoint/2010/main" val="3775085474"/>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dirty="0"/>
              <a:t>Place headline here (36pt, min 30pt)</a:t>
            </a:r>
            <a:endParaRPr lang="en-US" dirty="0"/>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3">
            <a:extLst>
              <a:ext uri="{FF2B5EF4-FFF2-40B4-BE49-F238E27FC236}">
                <a16:creationId xmlns:a16="http://schemas.microsoft.com/office/drawing/2014/main" id="{3646097A-7916-4EBE-A526-09FCBD84F6A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4 Accenture. All rights reserved.</a:t>
            </a:r>
            <a:endParaRPr lang="en-GB" dirty="0"/>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fld id="{1F90F471-3972-4120-B8B3-0237DE626C35}" type="slidenum">
              <a:rPr lang="en-US" smtClean="0"/>
              <a:pPr/>
              <a:t>‹Nr.›</a:t>
            </a:fld>
            <a:endParaRPr lang="en-US" dirty="0"/>
          </a:p>
        </p:txBody>
      </p:sp>
    </p:spTree>
    <p:extLst>
      <p:ext uri="{BB962C8B-B14F-4D97-AF65-F5344CB8AC3E}">
        <p14:creationId xmlns:p14="http://schemas.microsoft.com/office/powerpoint/2010/main" val="24900924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dirty="0"/>
              <a:t>Place headline here (36pt, min 30pt)</a:t>
            </a:r>
            <a:endParaRPr lang="en-US" dirty="0"/>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dirty="0"/>
              <a:t>Place subtitle here 20pt</a:t>
            </a:r>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4 Accenture. All rights reserved.</a:t>
            </a:r>
            <a:endParaRPr lang="en-GB" dirty="0"/>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fld id="{1F90F471-3972-4120-B8B3-0237DE626C35}" type="slidenum">
              <a:rPr lang="en-US" smtClean="0"/>
              <a:pPr/>
              <a:t>‹Nr.›</a:t>
            </a:fld>
            <a:endParaRPr lang="en-US" dirty="0"/>
          </a:p>
        </p:txBody>
      </p:sp>
    </p:spTree>
    <p:extLst>
      <p:ext uri="{BB962C8B-B14F-4D97-AF65-F5344CB8AC3E}">
        <p14:creationId xmlns:p14="http://schemas.microsoft.com/office/powerpoint/2010/main" val="2037445675"/>
      </p:ext>
    </p:extLst>
  </p:cSld>
  <p:clrMapOvr>
    <a:masterClrMapping/>
  </p:clrMapOvr>
  <p:extLst>
    <p:ext uri="{DCECCB84-F9BA-43D5-87BE-67443E8EF086}">
      <p15:sldGuideLst xmlns:p15="http://schemas.microsoft.com/office/powerpoint/2012/main">
        <p15:guide id="1" orient="horz" pos="931" userDrawn="1">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5991"/>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Graphik" panose="020B0604020202020204" pitchFamily="34" charset="0"/>
              <a:buChar char="•"/>
              <a:defRPr sz="1800"/>
            </a:lvl2pPr>
            <a:lvl3pPr marL="457200">
              <a:buFont typeface="Graphik" panose="020B0503030202060203" pitchFamily="34" charset="0"/>
              <a:buChar char="–"/>
              <a:defRPr sz="1800"/>
            </a:lvl3pPr>
            <a:lvl4pPr marL="685800">
              <a:buFont typeface="Graphik" panose="020B0604020202020204" pitchFamily="34" charset="0"/>
              <a:buChar char="•"/>
              <a:defRPr sz="1600"/>
            </a:lvl4pPr>
            <a:lvl5pPr marL="914400">
              <a:buFont typeface="Graphik" panose="020B0503030202060203" pitchFamily="34" charset="0"/>
              <a:buChar char="–"/>
              <a:defRPr sz="1600"/>
            </a:lvl5pPr>
          </a:lstStyle>
          <a:p>
            <a:pPr lvl="0"/>
            <a:r>
              <a:rPr lang="en-US" dirty="0"/>
              <a:t>Place sub-headline here in GT Sectra Fine </a:t>
            </a:r>
            <a:r>
              <a:rPr lang="en-US" dirty="0" err="1"/>
              <a:t>Rg</a:t>
            </a:r>
            <a:r>
              <a:rPr lang="en-US" dirty="0"/>
              <a:t>, indent for other levels 24pt</a:t>
            </a:r>
          </a:p>
          <a:p>
            <a:pPr lvl="1"/>
            <a:r>
              <a:rPr lang="en-US" dirty="0"/>
              <a:t>Second level 18pt</a:t>
            </a:r>
          </a:p>
          <a:p>
            <a:pPr lvl="2"/>
            <a:r>
              <a:rPr lang="en-US" dirty="0"/>
              <a:t>Third level bullet 18pt</a:t>
            </a:r>
          </a:p>
          <a:p>
            <a:pPr lvl="3"/>
            <a:r>
              <a:rPr lang="en-US" dirty="0"/>
              <a:t>Fourth level bullet 16pt</a:t>
            </a:r>
          </a:p>
          <a:p>
            <a:pPr lvl="4"/>
            <a:r>
              <a:rPr lang="en-US" dirty="0"/>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lvl1pPr>
              <a:defRPr/>
            </a:lvl1pPr>
            <a:lvl2pPr>
              <a:defRPr/>
            </a:lvl2pPr>
            <a:lvl3pPr>
              <a:defRPr/>
            </a:lvl3pPr>
            <a:lvl4pPr>
              <a:defRPr/>
            </a:lvl4pPr>
            <a:lvl5pPr>
              <a:defRPr/>
            </a:lvl5pPr>
          </a:lstStyle>
          <a:p>
            <a:pPr lvl="0"/>
            <a:r>
              <a:rPr lang="en-US" dirty="0"/>
              <a:t>Place text here 20pt</a:t>
            </a:r>
          </a:p>
          <a:p>
            <a:pPr lvl="1"/>
            <a:r>
              <a:rPr lang="en-US" dirty="0"/>
              <a:t>Second level 20pt</a:t>
            </a:r>
          </a:p>
          <a:p>
            <a:pPr lvl="2"/>
            <a:r>
              <a:rPr lang="en-US" dirty="0"/>
              <a:t>Third level 20pt</a:t>
            </a:r>
          </a:p>
          <a:p>
            <a:pPr lvl="3"/>
            <a:r>
              <a:rPr lang="en-US" dirty="0"/>
              <a:t>Fourth level 18pt</a:t>
            </a:r>
          </a:p>
          <a:p>
            <a:pPr lvl="4"/>
            <a:r>
              <a:rPr lang="en-US" dirty="0"/>
              <a:t>Fifth level 18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dirty="0"/>
              <a:t>Place headline here (36pt, min 30pt)</a:t>
            </a:r>
            <a:endParaRPr lang="en-US" dirty="0"/>
          </a:p>
        </p:txBody>
      </p:sp>
      <p:sp>
        <p:nvSpPr>
          <p:cNvPr id="9" name="Footer Placeholder 3">
            <a:extLst>
              <a:ext uri="{FF2B5EF4-FFF2-40B4-BE49-F238E27FC236}">
                <a16:creationId xmlns:a16="http://schemas.microsoft.com/office/drawing/2014/main" id="{0A51E00B-3AD2-4131-A1AF-2681835517E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4 Accenture. All rights reserved.</a:t>
            </a:r>
            <a:endParaRPr lang="en-GB" dirty="0"/>
          </a:p>
        </p:txBody>
      </p:sp>
      <p:sp>
        <p:nvSpPr>
          <p:cNvPr id="3" name="Slide Number Placeholder 2">
            <a:extLst>
              <a:ext uri="{FF2B5EF4-FFF2-40B4-BE49-F238E27FC236}">
                <a16:creationId xmlns:a16="http://schemas.microsoft.com/office/drawing/2014/main" id="{6B5BAA4F-3169-4083-866F-71669DE395C8}"/>
              </a:ext>
            </a:extLst>
          </p:cNvPr>
          <p:cNvSpPr>
            <a:spLocks noGrp="1"/>
          </p:cNvSpPr>
          <p:nvPr>
            <p:ph type="sldNum" sz="quarter" idx="15"/>
          </p:nvPr>
        </p:nvSpPr>
        <p:spPr/>
        <p:txBody>
          <a:bodyPr/>
          <a:lstStyle/>
          <a:p>
            <a:fld id="{1F90F471-3972-4120-B8B3-0237DE626C35}" type="slidenum">
              <a:rPr lang="en-US" smtClean="0"/>
              <a:pPr/>
              <a:t>‹Nr.›</a:t>
            </a:fld>
            <a:endParaRPr lang="en-US" dirty="0"/>
          </a:p>
        </p:txBody>
      </p:sp>
    </p:spTree>
    <p:extLst>
      <p:ext uri="{BB962C8B-B14F-4D97-AF65-F5344CB8AC3E}">
        <p14:creationId xmlns:p14="http://schemas.microsoft.com/office/powerpoint/2010/main" val="247685601"/>
      </p:ext>
    </p:extLst>
  </p:cSld>
  <p:clrMapOvr>
    <a:masterClrMapping/>
  </p:clrMapOvr>
  <p:extLst>
    <p:ext uri="{DCECCB84-F9BA-43D5-87BE-67443E8EF086}">
      <p15:sldGuideLst xmlns:p15="http://schemas.microsoft.com/office/powerpoint/2012/main">
        <p15:guide id="1" orient="horz" pos="3720" userDrawn="1">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87552"/>
          </a:xfrm>
        </p:spPr>
        <p:txBody>
          <a:bodyPr/>
          <a:lstStyle/>
          <a:p>
            <a:r>
              <a:rPr lang="en-GB" dirty="0"/>
              <a:t>Place headline here (36pt, min 30pt)</a:t>
            </a:r>
            <a:endParaRPr lang="en-US" dirty="0"/>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4 Accenture. All rights reserved.</a:t>
            </a:r>
            <a:endParaRPr lang="en-GB" dirty="0"/>
          </a:p>
        </p:txBody>
      </p:sp>
      <p:sp>
        <p:nvSpPr>
          <p:cNvPr id="3" name="Slide Number Placeholder 2">
            <a:extLst>
              <a:ext uri="{FF2B5EF4-FFF2-40B4-BE49-F238E27FC236}">
                <a16:creationId xmlns:a16="http://schemas.microsoft.com/office/drawing/2014/main" id="{29BB8772-B000-40EC-8AE7-3AA41499E64B}"/>
              </a:ext>
            </a:extLst>
          </p:cNvPr>
          <p:cNvSpPr>
            <a:spLocks noGrp="1"/>
          </p:cNvSpPr>
          <p:nvPr>
            <p:ph type="sldNum" sz="quarter" idx="20"/>
          </p:nvPr>
        </p:nvSpPr>
        <p:spPr/>
        <p:txBody>
          <a:bodyPr/>
          <a:lstStyle/>
          <a:p>
            <a:fld id="{1F90F471-3972-4120-B8B3-0237DE626C35}" type="slidenum">
              <a:rPr lang="en-US" smtClean="0"/>
              <a:pPr/>
              <a:t>‹Nr.›</a:t>
            </a:fld>
            <a:endParaRPr lang="en-US" dirty="0"/>
          </a:p>
        </p:txBody>
      </p:sp>
    </p:spTree>
    <p:extLst>
      <p:ext uri="{BB962C8B-B14F-4D97-AF65-F5344CB8AC3E}">
        <p14:creationId xmlns:p14="http://schemas.microsoft.com/office/powerpoint/2010/main" val="3077420989"/>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dirty="0"/>
              <a:t>Place headline here (36pt, min 30pt)</a:t>
            </a:r>
            <a:endParaRPr lang="en-US" dirty="0"/>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4 Accenture. All rights reserved.</a:t>
            </a:r>
            <a:endParaRPr lang="en-GB" dirty="0"/>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dirty="0"/>
              <a:t>Place subtitle here 20pt</a:t>
            </a:r>
          </a:p>
        </p:txBody>
      </p:sp>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p:txBody>
          <a:bodyPr/>
          <a:lstStyle/>
          <a:p>
            <a:fld id="{1F90F471-3972-4120-B8B3-0237DE626C35}" type="slidenum">
              <a:rPr lang="en-US" smtClean="0"/>
              <a:pPr/>
              <a:t>‹Nr.›</a:t>
            </a:fld>
            <a:endParaRPr lang="en-US" dirty="0"/>
          </a:p>
        </p:txBody>
      </p:sp>
    </p:spTree>
    <p:extLst>
      <p:ext uri="{BB962C8B-B14F-4D97-AF65-F5344CB8AC3E}">
        <p14:creationId xmlns:p14="http://schemas.microsoft.com/office/powerpoint/2010/main" val="2421974827"/>
      </p:ext>
    </p:extLst>
  </p:cSld>
  <p:clrMapOvr>
    <a:masterClrMapping/>
  </p:clrMapOvr>
  <p:extLst>
    <p:ext uri="{DCECCB84-F9BA-43D5-87BE-67443E8EF086}">
      <p15:sldGuideLst xmlns:p15="http://schemas.microsoft.com/office/powerpoint/2012/main">
        <p15:guide id="1" orient="horz" pos="932" userDrawn="1">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dirty="0"/>
              <a:t>Place headline here (36pt, min 30pt)</a:t>
            </a:r>
            <a:endParaRPr lang="en-US" dirty="0"/>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4 Accenture. All rights reserved.</a:t>
            </a:r>
            <a:endParaRPr lang="en-GB" dirty="0"/>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dirty="0"/>
              <a:t>Place subtitle here 20pt</a:t>
            </a:r>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p:txBody>
          <a:bodyPr/>
          <a:lstStyle/>
          <a:p>
            <a:fld id="{1F90F471-3972-4120-B8B3-0237DE626C35}" type="slidenum">
              <a:rPr lang="en-US" smtClean="0"/>
              <a:pPr/>
              <a:t>‹Nr.›</a:t>
            </a:fld>
            <a:endParaRPr lang="en-US" dirty="0"/>
          </a:p>
        </p:txBody>
      </p:sp>
    </p:spTree>
    <p:extLst>
      <p:ext uri="{BB962C8B-B14F-4D97-AF65-F5344CB8AC3E}">
        <p14:creationId xmlns:p14="http://schemas.microsoft.com/office/powerpoint/2010/main" val="1059450818"/>
      </p:ext>
    </p:extLst>
  </p:cSld>
  <p:clrMapOvr>
    <a:masterClrMapping/>
  </p:clrMapOvr>
  <p:extLst>
    <p:ext uri="{DCECCB84-F9BA-43D5-87BE-67443E8EF086}">
      <p15:sldGuideLst xmlns:p15="http://schemas.microsoft.com/office/powerpoint/2012/main">
        <p15:guide id="1" orient="horz" pos="3708" userDrawn="1">
          <p15:clr>
            <a:srgbClr val="C35EA4"/>
          </p15:clr>
        </p15:guide>
        <p15:guide id="2" orient="horz" pos="932" userDrawn="1">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alutation-GTS Keyline">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dirty="0"/>
              <a:t>Insert Salutation 72pt</a:t>
            </a:r>
            <a:endParaRPr lang="en-US" dirty="0"/>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187088238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3837"/>
          </a:xfrm>
        </p:spPr>
        <p:txBody>
          <a:bodyPr/>
          <a:lstStyle/>
          <a:p>
            <a:r>
              <a:rPr lang="en-GB" dirty="0"/>
              <a:t>Place headline here (36pt, min 30pt)</a:t>
            </a:r>
            <a:endParaRPr lang="en-US" dirty="0"/>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dirty="0"/>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dirty="0"/>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dirty="0"/>
              <a:t>Place subtitle here 20pt</a:t>
            </a:r>
          </a:p>
        </p:txBody>
      </p:sp>
      <p:sp>
        <p:nvSpPr>
          <p:cNvPr id="15" name="Footer Placeholder 3">
            <a:extLst>
              <a:ext uri="{FF2B5EF4-FFF2-40B4-BE49-F238E27FC236}">
                <a16:creationId xmlns:a16="http://schemas.microsoft.com/office/drawing/2014/main" id="{FE860E3B-7BAE-4917-8F29-26AFBD0E72B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4 Accenture. All rights reserved.</a:t>
            </a:r>
            <a:endParaRPr lang="en-GB" dirty="0"/>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fld id="{1F90F471-3972-4120-B8B3-0237DE626C35}" type="slidenum">
              <a:rPr lang="en-US" smtClean="0"/>
              <a:pPr/>
              <a:t>‹Nr.›</a:t>
            </a:fld>
            <a:endParaRPr lang="en-US" dirty="0"/>
          </a:p>
        </p:txBody>
      </p:sp>
    </p:spTree>
    <p:extLst>
      <p:ext uri="{BB962C8B-B14F-4D97-AF65-F5344CB8AC3E}">
        <p14:creationId xmlns:p14="http://schemas.microsoft.com/office/powerpoint/2010/main" val="3268099797"/>
      </p:ext>
    </p:extLst>
  </p:cSld>
  <p:clrMapOvr>
    <a:masterClrMapping/>
  </p:clrMapOvr>
  <p:extLst>
    <p:ext uri="{DCECCB84-F9BA-43D5-87BE-67443E8EF086}">
      <p15:sldGuideLst xmlns:p15="http://schemas.microsoft.com/office/powerpoint/2012/main">
        <p15:guide id="1" orient="horz" pos="3703" userDrawn="1">
          <p15:clr>
            <a:srgbClr val="C35EA4"/>
          </p15:clr>
        </p15:guide>
        <p15:guide id="2" orient="horz" pos="932" userDrawn="1">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a:t>
            </a:r>
          </a:p>
          <a:p>
            <a:pPr lvl="5"/>
            <a:r>
              <a:rPr lang="en-US" dirty="0"/>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a:t>
            </a:r>
          </a:p>
          <a:p>
            <a:pPr lvl="5"/>
            <a:r>
              <a:rPr lang="en-US" dirty="0"/>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a:t>
            </a:r>
          </a:p>
          <a:p>
            <a:pPr lvl="5"/>
            <a:r>
              <a:rPr lang="en-US" dirty="0"/>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a:t>
            </a:r>
          </a:p>
          <a:p>
            <a:pPr lvl="5"/>
            <a:r>
              <a:rPr lang="en-US" dirty="0"/>
              <a:t>Sixth level 12pt</a:t>
            </a:r>
          </a:p>
        </p:txBody>
      </p:sp>
      <p:sp>
        <p:nvSpPr>
          <p:cNvPr id="23" name="Footer Placeholder 3">
            <a:extLst>
              <a:ext uri="{FF2B5EF4-FFF2-40B4-BE49-F238E27FC236}">
                <a16:creationId xmlns:a16="http://schemas.microsoft.com/office/drawing/2014/main" id="{83000718-AD47-4F1E-8F71-56356C94065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4 Accenture. All rights reserved.</a:t>
            </a:r>
            <a:endParaRPr lang="en-GB" dirty="0"/>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1" y="380999"/>
            <a:ext cx="11429999" cy="793837"/>
          </a:xfrm>
        </p:spPr>
        <p:txBody>
          <a:bodyPr/>
          <a:lstStyle/>
          <a:p>
            <a:r>
              <a:rPr lang="en-GB" dirty="0"/>
              <a:t>Place headline here (36pt, min 30pt)</a:t>
            </a:r>
            <a:endParaRPr lang="en-US" dirty="0"/>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dirty="0"/>
              <a:t>Place subtitle here 20pt</a:t>
            </a:r>
          </a:p>
        </p:txBody>
      </p:sp>
      <p:sp>
        <p:nvSpPr>
          <p:cNvPr id="2" name="Slide Number Placeholder 1">
            <a:extLst>
              <a:ext uri="{FF2B5EF4-FFF2-40B4-BE49-F238E27FC236}">
                <a16:creationId xmlns:a16="http://schemas.microsoft.com/office/drawing/2014/main" id="{5D5B1DD8-C71C-4D65-A58A-0A9A86DCED84}"/>
              </a:ext>
            </a:extLst>
          </p:cNvPr>
          <p:cNvSpPr>
            <a:spLocks noGrp="1"/>
          </p:cNvSpPr>
          <p:nvPr>
            <p:ph type="sldNum" sz="quarter" idx="32"/>
          </p:nvPr>
        </p:nvSpPr>
        <p:spPr/>
        <p:txBody>
          <a:bodyPr/>
          <a:lstStyle/>
          <a:p>
            <a:fld id="{1F90F471-3972-4120-B8B3-0237DE626C35}" type="slidenum">
              <a:rPr lang="en-US" smtClean="0"/>
              <a:pPr/>
              <a:t>‹Nr.›</a:t>
            </a:fld>
            <a:endParaRPr lang="en-US" dirty="0"/>
          </a:p>
        </p:txBody>
      </p:sp>
    </p:spTree>
    <p:extLst>
      <p:ext uri="{BB962C8B-B14F-4D97-AF65-F5344CB8AC3E}">
        <p14:creationId xmlns:p14="http://schemas.microsoft.com/office/powerpoint/2010/main" val="3560975919"/>
      </p:ext>
    </p:extLst>
  </p:cSld>
  <p:clrMapOvr>
    <a:masterClrMapping/>
  </p:clrMapOvr>
  <p:extLst>
    <p:ext uri="{DCECCB84-F9BA-43D5-87BE-67443E8EF086}">
      <p15:sldGuideLst xmlns:p15="http://schemas.microsoft.com/office/powerpoint/2012/main">
        <p15:guide id="1" orient="horz" pos="3698" userDrawn="1">
          <p15:clr>
            <a:srgbClr val="C35EA4"/>
          </p15:clr>
        </p15:guide>
        <p15:guide id="2" orient="horz" pos="932" userDrawn="1">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GB" dirty="0"/>
              <a:t>Place headline here (36pt, min 30pt)</a:t>
            </a:r>
            <a:endParaRPr lang="en-US" dirty="0"/>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Graphik" panose="020B0604020202020204" pitchFamily="34" charset="0"/>
              <a:buNone/>
              <a:defRPr sz="1800" b="0"/>
            </a:lvl1pPr>
          </a:lstStyle>
          <a:p>
            <a:r>
              <a:rPr lang="en-GB" dirty="0"/>
              <a:t>Add icon</a:t>
            </a:r>
            <a:endParaRPr lang="en-US" dirty="0"/>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Graphik" panose="020B0604020202020204" pitchFamily="34" charset="0"/>
              <a:buNone/>
              <a:defRPr sz="1800" b="0"/>
            </a:lvl1pPr>
          </a:lstStyle>
          <a:p>
            <a:r>
              <a:rPr lang="en-GB" dirty="0"/>
              <a:t>Add icon</a:t>
            </a:r>
            <a:endParaRPr lang="en-US" dirty="0"/>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Graphik" panose="020B0604020202020204" pitchFamily="34" charset="0"/>
              <a:buNone/>
              <a:defRPr sz="1800" b="0"/>
            </a:lvl1pPr>
          </a:lstStyle>
          <a:p>
            <a:r>
              <a:rPr lang="en-GB" dirty="0"/>
              <a:t>Add icon</a:t>
            </a:r>
            <a:endParaRPr lang="en-US" dirty="0"/>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Graphik" panose="020B0604020202020204" pitchFamily="34" charset="0"/>
              <a:buNone/>
              <a:defRPr sz="1800" b="0"/>
            </a:lvl1pPr>
          </a:lstStyle>
          <a:p>
            <a:r>
              <a:rPr lang="en-GB" dirty="0"/>
              <a:t>Add icon</a:t>
            </a:r>
            <a:endParaRPr lang="en-US" dirty="0"/>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Graphik" panose="020B0604020202020204" pitchFamily="34" charset="0"/>
              <a:buNone/>
              <a:defRPr sz="1800" b="0"/>
            </a:lvl1pPr>
          </a:lstStyle>
          <a:p>
            <a:r>
              <a:rPr lang="en-GB" dirty="0"/>
              <a:t>Add icon</a:t>
            </a:r>
            <a:endParaRPr lang="en-US" dirty="0"/>
          </a:p>
        </p:txBody>
      </p:sp>
      <p:sp>
        <p:nvSpPr>
          <p:cNvPr id="33" name="Footer Placeholder 3">
            <a:extLst>
              <a:ext uri="{FF2B5EF4-FFF2-40B4-BE49-F238E27FC236}">
                <a16:creationId xmlns:a16="http://schemas.microsoft.com/office/drawing/2014/main" id="{57676F53-2AF5-4F44-9119-3C3347D1DA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4 Accenture. All rights reserved.</a:t>
            </a:r>
            <a:endParaRPr lang="en-GB" dirty="0"/>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dirty="0"/>
              <a:t>Place subtitle here 20pt</a:t>
            </a:r>
          </a:p>
        </p:txBody>
      </p:sp>
      <p:sp>
        <p:nvSpPr>
          <p:cNvPr id="3" name="Slide Number Placeholder 2">
            <a:extLst>
              <a:ext uri="{FF2B5EF4-FFF2-40B4-BE49-F238E27FC236}">
                <a16:creationId xmlns:a16="http://schemas.microsoft.com/office/drawing/2014/main" id="{55D3E087-C0E5-4045-83EC-D0F38053E0B8}"/>
              </a:ext>
            </a:extLst>
          </p:cNvPr>
          <p:cNvSpPr>
            <a:spLocks noGrp="1"/>
          </p:cNvSpPr>
          <p:nvPr>
            <p:ph type="sldNum" sz="quarter" idx="28"/>
          </p:nvPr>
        </p:nvSpPr>
        <p:spPr/>
        <p:txBody>
          <a:bodyPr/>
          <a:lstStyle/>
          <a:p>
            <a:fld id="{1F90F471-3972-4120-B8B3-0237DE626C35}" type="slidenum">
              <a:rPr lang="en-US" smtClean="0"/>
              <a:pPr/>
              <a:t>‹Nr.›</a:t>
            </a:fld>
            <a:endParaRPr lang="en-US" dirty="0"/>
          </a:p>
        </p:txBody>
      </p:sp>
    </p:spTree>
    <p:extLst>
      <p:ext uri="{BB962C8B-B14F-4D97-AF65-F5344CB8AC3E}">
        <p14:creationId xmlns:p14="http://schemas.microsoft.com/office/powerpoint/2010/main" val="3655126605"/>
      </p:ext>
    </p:extLst>
  </p:cSld>
  <p:clrMapOvr>
    <a:masterClrMapping/>
  </p:clrMapOvr>
  <p:extLst>
    <p:ext uri="{DCECCB84-F9BA-43D5-87BE-67443E8EF086}">
      <p15:sldGuideLst xmlns:p15="http://schemas.microsoft.com/office/powerpoint/2012/main">
        <p15:guide id="1" orient="horz" pos="3703" userDrawn="1">
          <p15:clr>
            <a:srgbClr val="C35EA4"/>
          </p15:clr>
        </p15:guide>
        <p15:guide id="2" orient="horz" pos="932" userDrawn="1">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ong Headline-Team 4-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Font typeface="Graphik" panose="020B0604020202020204" pitchFamily="34" charset="0"/>
              <a:buNone/>
              <a:defRPr lang="en-US" sz="1800" b="0" dirty="0"/>
            </a:lvl1pPr>
          </a:lstStyle>
          <a:p>
            <a:pPr lvl="0"/>
            <a:r>
              <a:rPr lang="en-GB" dirty="0"/>
              <a:t>Add profile photo</a:t>
            </a:r>
            <a:endParaRPr lang="en-US" dirty="0"/>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dirty="0"/>
              <a:t>Add profile photo</a:t>
            </a:r>
            <a:endParaRPr lang="en-US" dirty="0"/>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dirty="0"/>
              <a:t>Add profile photo</a:t>
            </a:r>
            <a:endParaRPr lang="en-US" dirty="0"/>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dirty="0"/>
              <a:t>Add profile photo</a:t>
            </a:r>
            <a:endParaRPr lang="en-US" dirty="0"/>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397858"/>
          </a:xfrm>
        </p:spPr>
        <p:txBody>
          <a:bodyPr/>
          <a:lstStyle>
            <a:lvl1pPr marL="0" indent="0">
              <a:lnSpc>
                <a:spcPct val="80000"/>
              </a:lnSpc>
              <a:spcAft>
                <a:spcPts val="600"/>
              </a:spcAft>
              <a:buFont typeface="Graphik" panose="020B0604020202020204" pitchFamily="34" charset="0"/>
              <a:buNone/>
              <a:defRPr sz="2100" b="0" i="0">
                <a:solidFill>
                  <a:schemeClr val="accent2"/>
                </a:solidFill>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a:t>
            </a:r>
            <a:br>
              <a:rPr lang="en-US" dirty="0"/>
            </a:br>
            <a:r>
              <a:rPr lang="en-US" dirty="0"/>
              <a:t>Last name 21pt</a:t>
            </a:r>
          </a:p>
          <a:p>
            <a:pPr lvl="1"/>
            <a:r>
              <a:rPr lang="en-US" dirty="0"/>
              <a:t>Role 16pt</a:t>
            </a:r>
          </a:p>
          <a:p>
            <a:pPr lvl="2"/>
            <a:r>
              <a:rPr lang="en-US" dirty="0"/>
              <a:t>Short bio 12pt</a:t>
            </a:r>
          </a:p>
          <a:p>
            <a:pPr lvl="3"/>
            <a:r>
              <a:rPr lang="en-US" dirty="0"/>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a:t>
            </a:r>
            <a:br>
              <a:rPr lang="en-US" dirty="0"/>
            </a:br>
            <a:r>
              <a:rPr lang="en-US" dirty="0"/>
              <a:t>Last name 21pt</a:t>
            </a:r>
          </a:p>
          <a:p>
            <a:pPr lvl="1"/>
            <a:r>
              <a:rPr lang="en-US" dirty="0"/>
              <a:t>Role 16pt</a:t>
            </a:r>
          </a:p>
          <a:p>
            <a:pPr lvl="2"/>
            <a:r>
              <a:rPr lang="en-US" dirty="0"/>
              <a:t>Short bio 12pt</a:t>
            </a:r>
          </a:p>
          <a:p>
            <a:pPr lvl="3"/>
            <a:r>
              <a:rPr lang="en-US" dirty="0"/>
              <a:t>Bullet point 12p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a:t>
            </a:r>
            <a:br>
              <a:rPr lang="en-US" dirty="0"/>
            </a:br>
            <a:r>
              <a:rPr lang="en-US" dirty="0"/>
              <a:t>Last name 21pt</a:t>
            </a:r>
          </a:p>
          <a:p>
            <a:pPr lvl="1"/>
            <a:r>
              <a:rPr lang="en-US" dirty="0"/>
              <a:t>Role 16pt</a:t>
            </a:r>
          </a:p>
          <a:p>
            <a:pPr lvl="2"/>
            <a:r>
              <a:rPr lang="en-US" dirty="0"/>
              <a:t>Short bio 12pt</a:t>
            </a:r>
          </a:p>
          <a:p>
            <a:pPr lvl="3"/>
            <a:r>
              <a:rPr lang="en-US" dirty="0"/>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a:t>
            </a:r>
            <a:br>
              <a:rPr lang="en-US" dirty="0"/>
            </a:br>
            <a:r>
              <a:rPr lang="en-US" dirty="0"/>
              <a:t>Last name 21pt</a:t>
            </a:r>
          </a:p>
          <a:p>
            <a:pPr lvl="1"/>
            <a:r>
              <a:rPr lang="en-US" dirty="0"/>
              <a:t>Role 16pt</a:t>
            </a:r>
          </a:p>
          <a:p>
            <a:pPr lvl="2"/>
            <a:r>
              <a:rPr lang="en-US" dirty="0"/>
              <a:t>Short bio 12pt</a:t>
            </a:r>
          </a:p>
          <a:p>
            <a:pPr lvl="3"/>
            <a:r>
              <a:rPr lang="en-US" dirty="0"/>
              <a:t>Bullet point 12pt</a:t>
            </a:r>
          </a:p>
        </p:txBody>
      </p:sp>
      <p:sp>
        <p:nvSpPr>
          <p:cNvPr id="13" name="Footer Placeholder 3">
            <a:extLst>
              <a:ext uri="{FF2B5EF4-FFF2-40B4-BE49-F238E27FC236}">
                <a16:creationId xmlns:a16="http://schemas.microsoft.com/office/drawing/2014/main" id="{9310CF55-0D9B-41F8-8D1E-8BA74BC232B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4 Accenture. All rights reserved.</a:t>
            </a:r>
            <a:endParaRPr lang="en-GB" dirty="0"/>
          </a:p>
        </p:txBody>
      </p:sp>
      <p:sp>
        <p:nvSpPr>
          <p:cNvPr id="3" name="Slide Number Placeholder 2">
            <a:extLst>
              <a:ext uri="{FF2B5EF4-FFF2-40B4-BE49-F238E27FC236}">
                <a16:creationId xmlns:a16="http://schemas.microsoft.com/office/drawing/2014/main" id="{684481D5-3713-4165-990F-CD2E7B955A03}"/>
              </a:ext>
            </a:extLst>
          </p:cNvPr>
          <p:cNvSpPr>
            <a:spLocks noGrp="1"/>
          </p:cNvSpPr>
          <p:nvPr>
            <p:ph type="sldNum" sz="quarter" idx="30"/>
          </p:nvPr>
        </p:nvSpPr>
        <p:spPr/>
        <p:txBody>
          <a:bodyPr/>
          <a:lstStyle/>
          <a:p>
            <a:fld id="{1F90F471-3972-4120-B8B3-0237DE626C35}" type="slidenum">
              <a:rPr lang="en-US" smtClean="0"/>
              <a:pPr/>
              <a:t>‹Nr.›</a:t>
            </a:fld>
            <a:endParaRPr lang="en-US" dirty="0"/>
          </a:p>
        </p:txBody>
      </p:sp>
    </p:spTree>
    <p:extLst>
      <p:ext uri="{BB962C8B-B14F-4D97-AF65-F5344CB8AC3E}">
        <p14:creationId xmlns:p14="http://schemas.microsoft.com/office/powerpoint/2010/main" val="2311186519"/>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bg1">
              <a:lumMod val="95000"/>
            </a:schemeClr>
          </a:solidFill>
        </p:spPr>
        <p:txBody>
          <a:bodyPr lIns="91440" tIns="0"/>
          <a:lstStyle>
            <a:lvl1pPr marL="0" indent="0">
              <a:buNone/>
              <a:defRPr sz="1800" b="0"/>
            </a:lvl1pPr>
          </a:lstStyle>
          <a:p>
            <a:r>
              <a:rPr lang="en-GB" dirty="0"/>
              <a:t>Add profile photo</a:t>
            </a:r>
            <a:endParaRPr lang="en-US" dirty="0"/>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43893"/>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37" name="Footer Placeholder 3">
            <a:extLst>
              <a:ext uri="{FF2B5EF4-FFF2-40B4-BE49-F238E27FC236}">
                <a16:creationId xmlns:a16="http://schemas.microsoft.com/office/drawing/2014/main" id="{BD665DCA-734C-4077-92CB-D7A9FCD67D9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4 Accenture. All rights reserved.</a:t>
            </a:r>
            <a:endParaRPr lang="en-GB" dirty="0"/>
          </a:p>
        </p:txBody>
      </p:sp>
      <p:sp>
        <p:nvSpPr>
          <p:cNvPr id="3" name="Slide Number Placeholder 2">
            <a:extLst>
              <a:ext uri="{FF2B5EF4-FFF2-40B4-BE49-F238E27FC236}">
                <a16:creationId xmlns:a16="http://schemas.microsoft.com/office/drawing/2014/main" id="{BF3D474A-8A06-4078-BEBB-EBDCDD30231B}"/>
              </a:ext>
            </a:extLst>
          </p:cNvPr>
          <p:cNvSpPr>
            <a:spLocks noGrp="1"/>
          </p:cNvSpPr>
          <p:nvPr>
            <p:ph type="sldNum" sz="quarter" idx="29"/>
          </p:nvPr>
        </p:nvSpPr>
        <p:spPr/>
        <p:txBody>
          <a:bodyPr/>
          <a:lstStyle/>
          <a:p>
            <a:fld id="{1F90F471-3972-4120-B8B3-0237DE626C35}" type="slidenum">
              <a:rPr lang="en-US" smtClean="0"/>
              <a:pPr/>
              <a:t>‹Nr.›</a:t>
            </a:fld>
            <a:endParaRPr lang="en-US" dirty="0"/>
          </a:p>
        </p:txBody>
      </p:sp>
      <p:sp>
        <p:nvSpPr>
          <p:cNvPr id="27" name="Picture Placeholder 4">
            <a:extLst>
              <a:ext uri="{FF2B5EF4-FFF2-40B4-BE49-F238E27FC236}">
                <a16:creationId xmlns:a16="http://schemas.microsoft.com/office/drawing/2014/main" id="{9FEF6117-B6D9-4841-8EFA-DF78BCFA9C0B}"/>
              </a:ext>
            </a:extLst>
          </p:cNvPr>
          <p:cNvSpPr>
            <a:spLocks noGrp="1"/>
          </p:cNvSpPr>
          <p:nvPr>
            <p:ph type="pic" sz="quarter" idx="30" hasCustomPrompt="1"/>
          </p:nvPr>
        </p:nvSpPr>
        <p:spPr>
          <a:xfrm>
            <a:off x="377415" y="3672216"/>
            <a:ext cx="457200" cy="27432"/>
          </a:xfrm>
          <a:solidFill>
            <a:schemeClr val="accent1"/>
          </a:solidFill>
        </p:spPr>
        <p:txBody>
          <a:bodyPr/>
          <a:lstStyle>
            <a:lvl1pPr>
              <a:buNone/>
              <a:defRPr sz="300"/>
            </a:lvl1pPr>
          </a:lstStyle>
          <a:p>
            <a:r>
              <a:rPr lang="en-GB" dirty="0"/>
              <a:t> </a:t>
            </a:r>
            <a:endParaRPr lang="en-US" dirty="0"/>
          </a:p>
        </p:txBody>
      </p:sp>
      <p:sp>
        <p:nvSpPr>
          <p:cNvPr id="38" name="Picture Placeholder 4">
            <a:extLst>
              <a:ext uri="{FF2B5EF4-FFF2-40B4-BE49-F238E27FC236}">
                <a16:creationId xmlns:a16="http://schemas.microsoft.com/office/drawing/2014/main" id="{90B0A6BB-BC70-4436-B334-35CF914D1772}"/>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GB" dirty="0"/>
              <a:t> </a:t>
            </a:r>
            <a:endParaRPr lang="en-US" dirty="0"/>
          </a:p>
        </p:txBody>
      </p:sp>
      <p:sp>
        <p:nvSpPr>
          <p:cNvPr id="39" name="Picture Placeholder 4">
            <a:extLst>
              <a:ext uri="{FF2B5EF4-FFF2-40B4-BE49-F238E27FC236}">
                <a16:creationId xmlns:a16="http://schemas.microsoft.com/office/drawing/2014/main" id="{EA23CA56-3568-4982-84E5-176DE32541C2}"/>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GB" dirty="0"/>
              <a:t> </a:t>
            </a:r>
            <a:endParaRPr lang="en-US" dirty="0"/>
          </a:p>
        </p:txBody>
      </p:sp>
      <p:sp>
        <p:nvSpPr>
          <p:cNvPr id="40" name="Picture Placeholder 4">
            <a:extLst>
              <a:ext uri="{FF2B5EF4-FFF2-40B4-BE49-F238E27FC236}">
                <a16:creationId xmlns:a16="http://schemas.microsoft.com/office/drawing/2014/main" id="{7E019EA7-B58E-4B17-A663-2E8CCD701589}"/>
              </a:ext>
            </a:extLst>
          </p:cNvPr>
          <p:cNvSpPr>
            <a:spLocks noGrp="1"/>
          </p:cNvSpPr>
          <p:nvPr>
            <p:ph type="pic" sz="quarter" idx="33" hasCustomPrompt="1"/>
          </p:nvPr>
        </p:nvSpPr>
        <p:spPr>
          <a:xfrm>
            <a:off x="6306312" y="3672216"/>
            <a:ext cx="457200" cy="27432"/>
          </a:xfrm>
          <a:solidFill>
            <a:schemeClr val="accent1"/>
          </a:solidFill>
        </p:spPr>
        <p:txBody>
          <a:bodyPr/>
          <a:lstStyle>
            <a:lvl1pPr>
              <a:buNone/>
              <a:defRPr sz="300"/>
            </a:lvl1pPr>
          </a:lstStyle>
          <a:p>
            <a:r>
              <a:rPr lang="en-GB" dirty="0"/>
              <a:t> </a:t>
            </a:r>
            <a:endParaRPr lang="en-US" dirty="0"/>
          </a:p>
        </p:txBody>
      </p:sp>
      <p:sp>
        <p:nvSpPr>
          <p:cNvPr id="44" name="Picture Placeholder 4">
            <a:extLst>
              <a:ext uri="{FF2B5EF4-FFF2-40B4-BE49-F238E27FC236}">
                <a16:creationId xmlns:a16="http://schemas.microsoft.com/office/drawing/2014/main" id="{9A57066F-5BF5-43F7-A9DA-1788B5511DA7}"/>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GB" dirty="0"/>
              <a:t> </a:t>
            </a:r>
            <a:endParaRPr lang="en-US" dirty="0"/>
          </a:p>
        </p:txBody>
      </p:sp>
      <p:sp>
        <p:nvSpPr>
          <p:cNvPr id="45" name="Picture Placeholder 4">
            <a:extLst>
              <a:ext uri="{FF2B5EF4-FFF2-40B4-BE49-F238E27FC236}">
                <a16:creationId xmlns:a16="http://schemas.microsoft.com/office/drawing/2014/main" id="{EA5F90EC-FB85-4041-85C1-409768D3A0C0}"/>
              </a:ext>
            </a:extLst>
          </p:cNvPr>
          <p:cNvSpPr>
            <a:spLocks noGrp="1"/>
          </p:cNvSpPr>
          <p:nvPr>
            <p:ph type="pic" sz="quarter" idx="35" hasCustomPrompt="1"/>
          </p:nvPr>
        </p:nvSpPr>
        <p:spPr>
          <a:xfrm>
            <a:off x="10256520" y="3672216"/>
            <a:ext cx="457200" cy="27432"/>
          </a:xfrm>
          <a:solidFill>
            <a:schemeClr val="accent1"/>
          </a:solidFill>
        </p:spPr>
        <p:txBody>
          <a:bodyPr/>
          <a:lstStyle>
            <a:lvl1pPr>
              <a:buNone/>
              <a:defRPr sz="300"/>
            </a:lvl1pPr>
          </a:lstStyle>
          <a:p>
            <a:r>
              <a:rPr lang="en-GB" dirty="0"/>
              <a:t> </a:t>
            </a:r>
            <a:endParaRPr lang="en-US" dirty="0"/>
          </a:p>
        </p:txBody>
      </p:sp>
    </p:spTree>
    <p:extLst>
      <p:ext uri="{BB962C8B-B14F-4D97-AF65-F5344CB8AC3E}">
        <p14:creationId xmlns:p14="http://schemas.microsoft.com/office/powerpoint/2010/main" val="3799034554"/>
      </p:ext>
    </p:extLst>
  </p:cSld>
  <p:clrMapOvr>
    <a:masterClrMapping/>
  </p:clrMapOvr>
  <p:extLst>
    <p:ext uri="{DCECCB84-F9BA-43D5-87BE-67443E8EF086}">
      <p15:sldGuideLst xmlns:p15="http://schemas.microsoft.com/office/powerpoint/2012/main">
        <p15:guide id="1" orient="horz" pos="3703" userDrawn="1">
          <p15:clr>
            <a:srgbClr val="C35E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Long Headline-Team 6-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GB" dirty="0"/>
              <a:t>Add profile photo</a:t>
            </a:r>
            <a:endParaRPr lang="en-US" dirty="0"/>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dirty="0"/>
              <a:t>Add profile photo</a:t>
            </a:r>
            <a:endParaRPr lang="en-US" dirty="0"/>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dirty="0"/>
              <a:t>Add profile photo</a:t>
            </a:r>
            <a:endParaRPr lang="en-US" dirty="0"/>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dirty="0"/>
              <a:t>Add profile photo</a:t>
            </a:r>
            <a:endParaRPr lang="en-US" dirty="0"/>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dirty="0"/>
              <a:t>Add profile photo</a:t>
            </a:r>
            <a:endParaRPr lang="en-US" dirty="0"/>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43892"/>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dirty="0"/>
              <a:t>Add profile photo</a:t>
            </a:r>
            <a:endParaRPr lang="en-US" dirty="0"/>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5196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51958"/>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29" name="Footer Placeholder 3">
            <a:extLst>
              <a:ext uri="{FF2B5EF4-FFF2-40B4-BE49-F238E27FC236}">
                <a16:creationId xmlns:a16="http://schemas.microsoft.com/office/drawing/2014/main" id="{F748F9AD-5F56-42EC-9922-780EBA4436E9}"/>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4 Accenture. All rights reserved.</a:t>
            </a:r>
            <a:endParaRPr lang="en-GB" dirty="0"/>
          </a:p>
        </p:txBody>
      </p:sp>
      <p:sp>
        <p:nvSpPr>
          <p:cNvPr id="32" name="GTS_WH" descr="Accenture Greater Than symbol in white">
            <a:extLst>
              <a:ext uri="{FF2B5EF4-FFF2-40B4-BE49-F238E27FC236}">
                <a16:creationId xmlns:a16="http://schemas.microsoft.com/office/drawing/2014/main" id="{B49891DC-D80E-4D1B-961E-1B567E0E453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 name="Slide Number Placeholder 2">
            <a:extLst>
              <a:ext uri="{FF2B5EF4-FFF2-40B4-BE49-F238E27FC236}">
                <a16:creationId xmlns:a16="http://schemas.microsoft.com/office/drawing/2014/main" id="{DE8FB076-B311-496F-8C11-2C54B06FBB3D}"/>
              </a:ext>
            </a:extLst>
          </p:cNvPr>
          <p:cNvSpPr>
            <a:spLocks noGrp="1"/>
          </p:cNvSpPr>
          <p:nvPr>
            <p:ph type="sldNum" sz="quarter" idx="29"/>
          </p:nvPr>
        </p:nvSpPr>
        <p:spPr/>
        <p:txBody>
          <a:bodyPr/>
          <a:lstStyle/>
          <a:p>
            <a:fld id="{1F90F471-3972-4120-B8B3-0237DE626C35}" type="slidenum">
              <a:rPr lang="en-US" smtClean="0"/>
              <a:pPr/>
              <a:t>‹Nr.›</a:t>
            </a:fld>
            <a:endParaRPr lang="en-US" dirty="0"/>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GB" dirty="0"/>
              <a:t> </a:t>
            </a:r>
            <a:endParaRPr lang="en-US" dirty="0"/>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GB" dirty="0"/>
              <a:t> </a:t>
            </a:r>
            <a:endParaRPr lang="en-US" dirty="0"/>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GB" dirty="0"/>
              <a:t> </a:t>
            </a:r>
            <a:endParaRPr lang="en-US" dirty="0"/>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GB" dirty="0"/>
              <a:t> </a:t>
            </a:r>
            <a:endParaRPr lang="en-US" dirty="0"/>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GB" dirty="0"/>
              <a:t> </a:t>
            </a:r>
            <a:endParaRPr lang="en-US" dirty="0"/>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GB" dirty="0"/>
              <a:t> </a:t>
            </a:r>
            <a:endParaRPr lang="en-US" dirty="0"/>
          </a:p>
        </p:txBody>
      </p:sp>
    </p:spTree>
    <p:extLst>
      <p:ext uri="{BB962C8B-B14F-4D97-AF65-F5344CB8AC3E}">
        <p14:creationId xmlns:p14="http://schemas.microsoft.com/office/powerpoint/2010/main" val="282602897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703" userDrawn="1">
          <p15:clr>
            <a:srgbClr val="C35E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ong Headline-Team 8-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lvl1pPr>
              <a:defRPr/>
            </a:lvl1pPr>
            <a:lvl2pPr>
              <a:defRPr/>
            </a:lvl2pPr>
            <a:lvl3pPr>
              <a:defRPr/>
            </a:lvl3pPr>
            <a:lvl4pPr>
              <a:defRPr/>
            </a:lvl4pPr>
            <a:lvl5pPr>
              <a:defRPr/>
            </a:lvl5pPr>
          </a:lstStyle>
          <a:p>
            <a:pPr lvl="0"/>
            <a:r>
              <a:rPr lang="en-GB" dirty="0"/>
              <a:t>Place text here, use indent to access other levels 20pt</a:t>
            </a:r>
          </a:p>
          <a:p>
            <a:pPr lvl="1"/>
            <a:r>
              <a:rPr lang="en-GB" dirty="0"/>
              <a:t>Second level 20pt</a:t>
            </a:r>
          </a:p>
          <a:p>
            <a:pPr lvl="2"/>
            <a:r>
              <a:rPr lang="en-GB" dirty="0"/>
              <a:t>Third level 20pt</a:t>
            </a:r>
          </a:p>
          <a:p>
            <a:pPr lvl="3"/>
            <a:r>
              <a:rPr lang="en-GB" dirty="0"/>
              <a:t>Fourth level 18pt</a:t>
            </a:r>
          </a:p>
          <a:p>
            <a:pPr lvl="4"/>
            <a:r>
              <a:rPr lang="en-GB" dirty="0"/>
              <a:t>Fifth level 18pt</a:t>
            </a:r>
            <a:endParaRPr lang="en-US" dirty="0"/>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0"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1"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3"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2"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 14pt</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 14pt</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 14pt</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 14pt</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 14pt</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 14pt</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 14pt</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 14pt</a:t>
            </a:r>
          </a:p>
        </p:txBody>
      </p:sp>
      <p:sp>
        <p:nvSpPr>
          <p:cNvPr id="50" name="Footer Placeholder 3">
            <a:extLst>
              <a:ext uri="{FF2B5EF4-FFF2-40B4-BE49-F238E27FC236}">
                <a16:creationId xmlns:a16="http://schemas.microsoft.com/office/drawing/2014/main" id="{A671D4FB-2F86-4AF3-89D0-D61D543789F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4 Accenture. All rights reserved.</a:t>
            </a:r>
            <a:endParaRPr lang="en-GB" dirty="0"/>
          </a:p>
        </p:txBody>
      </p:sp>
      <p:sp>
        <p:nvSpPr>
          <p:cNvPr id="3" name="Slide Number Placeholder 2">
            <a:extLst>
              <a:ext uri="{FF2B5EF4-FFF2-40B4-BE49-F238E27FC236}">
                <a16:creationId xmlns:a16="http://schemas.microsoft.com/office/drawing/2014/main" id="{7B1014D8-C563-4003-8EBC-A9F6EE68BA63}"/>
              </a:ext>
            </a:extLst>
          </p:cNvPr>
          <p:cNvSpPr>
            <a:spLocks noGrp="1"/>
          </p:cNvSpPr>
          <p:nvPr>
            <p:ph type="sldNum" sz="quarter" idx="51"/>
          </p:nvPr>
        </p:nvSpPr>
        <p:spPr/>
        <p:txBody>
          <a:bodyPr/>
          <a:lstStyle/>
          <a:p>
            <a:fld id="{1F90F471-3972-4120-B8B3-0237DE626C35}" type="slidenum">
              <a:rPr lang="en-US" smtClean="0"/>
              <a:pPr/>
              <a:t>‹Nr.›</a:t>
            </a:fld>
            <a:endParaRPr lang="en-US" dirty="0"/>
          </a:p>
        </p:txBody>
      </p:sp>
      <p:sp>
        <p:nvSpPr>
          <p:cNvPr id="31" name="Picture Placeholder 4">
            <a:extLst>
              <a:ext uri="{FF2B5EF4-FFF2-40B4-BE49-F238E27FC236}">
                <a16:creationId xmlns:a16="http://schemas.microsoft.com/office/drawing/2014/main" id="{1559D4A6-A7D1-4EAE-87E5-EB8A4B73E546}"/>
              </a:ext>
            </a:extLst>
          </p:cNvPr>
          <p:cNvSpPr>
            <a:spLocks noGrp="1"/>
          </p:cNvSpPr>
          <p:nvPr>
            <p:ph type="pic" sz="quarter" idx="52" hasCustomPrompt="1"/>
          </p:nvPr>
        </p:nvSpPr>
        <p:spPr>
          <a:xfrm>
            <a:off x="4325822" y="2616843"/>
            <a:ext cx="356616" cy="27432"/>
          </a:xfrm>
          <a:solidFill>
            <a:schemeClr val="accent1"/>
          </a:solidFill>
        </p:spPr>
        <p:txBody>
          <a:bodyPr/>
          <a:lstStyle>
            <a:lvl1pPr>
              <a:buNone/>
              <a:defRPr sz="300"/>
            </a:lvl1pPr>
          </a:lstStyle>
          <a:p>
            <a:r>
              <a:rPr lang="en-GB" dirty="0"/>
              <a:t> </a:t>
            </a:r>
            <a:endParaRPr lang="en-US" dirty="0"/>
          </a:p>
        </p:txBody>
      </p:sp>
      <p:sp>
        <p:nvSpPr>
          <p:cNvPr id="44" name="Picture Placeholder 4">
            <a:extLst>
              <a:ext uri="{FF2B5EF4-FFF2-40B4-BE49-F238E27FC236}">
                <a16:creationId xmlns:a16="http://schemas.microsoft.com/office/drawing/2014/main" id="{564E037C-8888-4DE6-88C4-A629CBF5F3A9}"/>
              </a:ext>
            </a:extLst>
          </p:cNvPr>
          <p:cNvSpPr>
            <a:spLocks noGrp="1"/>
          </p:cNvSpPr>
          <p:nvPr>
            <p:ph type="pic" sz="quarter" idx="53" hasCustomPrompt="1"/>
          </p:nvPr>
        </p:nvSpPr>
        <p:spPr>
          <a:xfrm>
            <a:off x="6298233" y="2616843"/>
            <a:ext cx="356616" cy="27432"/>
          </a:xfrm>
          <a:solidFill>
            <a:schemeClr val="accent1"/>
          </a:solidFill>
        </p:spPr>
        <p:txBody>
          <a:bodyPr/>
          <a:lstStyle>
            <a:lvl1pPr>
              <a:buNone/>
              <a:defRPr sz="300"/>
            </a:lvl1pPr>
          </a:lstStyle>
          <a:p>
            <a:r>
              <a:rPr lang="en-GB" dirty="0"/>
              <a:t> </a:t>
            </a:r>
            <a:endParaRPr lang="en-US" dirty="0"/>
          </a:p>
        </p:txBody>
      </p:sp>
      <p:sp>
        <p:nvSpPr>
          <p:cNvPr id="51" name="Picture Placeholder 4">
            <a:extLst>
              <a:ext uri="{FF2B5EF4-FFF2-40B4-BE49-F238E27FC236}">
                <a16:creationId xmlns:a16="http://schemas.microsoft.com/office/drawing/2014/main" id="{1DD1D133-7281-4297-B58B-4683B9743A55}"/>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GB" dirty="0"/>
              <a:t> </a:t>
            </a:r>
            <a:endParaRPr lang="en-US" dirty="0"/>
          </a:p>
        </p:txBody>
      </p:sp>
      <p:sp>
        <p:nvSpPr>
          <p:cNvPr id="52" name="Picture Placeholder 4">
            <a:extLst>
              <a:ext uri="{FF2B5EF4-FFF2-40B4-BE49-F238E27FC236}">
                <a16:creationId xmlns:a16="http://schemas.microsoft.com/office/drawing/2014/main" id="{4D49677A-CABE-49CD-A2EE-9EC21E15DF23}"/>
              </a:ext>
            </a:extLst>
          </p:cNvPr>
          <p:cNvSpPr>
            <a:spLocks noGrp="1"/>
          </p:cNvSpPr>
          <p:nvPr>
            <p:ph type="pic" sz="quarter" idx="55" hasCustomPrompt="1"/>
          </p:nvPr>
        </p:nvSpPr>
        <p:spPr>
          <a:xfrm>
            <a:off x="10243055" y="2616843"/>
            <a:ext cx="356616" cy="27432"/>
          </a:xfrm>
          <a:solidFill>
            <a:schemeClr val="accent1"/>
          </a:solidFill>
        </p:spPr>
        <p:txBody>
          <a:bodyPr/>
          <a:lstStyle>
            <a:lvl1pPr>
              <a:buNone/>
              <a:defRPr sz="300"/>
            </a:lvl1pPr>
          </a:lstStyle>
          <a:p>
            <a:r>
              <a:rPr lang="en-GB" dirty="0"/>
              <a:t> </a:t>
            </a:r>
            <a:endParaRPr lang="en-US" dirty="0"/>
          </a:p>
        </p:txBody>
      </p:sp>
      <p:sp>
        <p:nvSpPr>
          <p:cNvPr id="53" name="Picture Placeholder 4">
            <a:extLst>
              <a:ext uri="{FF2B5EF4-FFF2-40B4-BE49-F238E27FC236}">
                <a16:creationId xmlns:a16="http://schemas.microsoft.com/office/drawing/2014/main" id="{E46B730A-2104-4381-A7F8-6A08201D7F97}"/>
              </a:ext>
            </a:extLst>
          </p:cNvPr>
          <p:cNvSpPr>
            <a:spLocks noGrp="1"/>
          </p:cNvSpPr>
          <p:nvPr>
            <p:ph type="pic" sz="quarter" idx="56" hasCustomPrompt="1"/>
          </p:nvPr>
        </p:nvSpPr>
        <p:spPr>
          <a:xfrm>
            <a:off x="4325822" y="5165507"/>
            <a:ext cx="356616" cy="27432"/>
          </a:xfrm>
          <a:solidFill>
            <a:schemeClr val="accent1"/>
          </a:solidFill>
        </p:spPr>
        <p:txBody>
          <a:bodyPr/>
          <a:lstStyle>
            <a:lvl1pPr>
              <a:buNone/>
              <a:defRPr sz="300"/>
            </a:lvl1pPr>
          </a:lstStyle>
          <a:p>
            <a:r>
              <a:rPr lang="en-GB" dirty="0"/>
              <a:t> </a:t>
            </a:r>
            <a:endParaRPr lang="en-US" dirty="0"/>
          </a:p>
        </p:txBody>
      </p:sp>
      <p:sp>
        <p:nvSpPr>
          <p:cNvPr id="60" name="Picture Placeholder 4">
            <a:extLst>
              <a:ext uri="{FF2B5EF4-FFF2-40B4-BE49-F238E27FC236}">
                <a16:creationId xmlns:a16="http://schemas.microsoft.com/office/drawing/2014/main" id="{15BD8921-64C2-47AC-9DE2-E4DFFCBF7C64}"/>
              </a:ext>
            </a:extLst>
          </p:cNvPr>
          <p:cNvSpPr>
            <a:spLocks noGrp="1"/>
          </p:cNvSpPr>
          <p:nvPr>
            <p:ph type="pic" sz="quarter" idx="57" hasCustomPrompt="1"/>
          </p:nvPr>
        </p:nvSpPr>
        <p:spPr>
          <a:xfrm>
            <a:off x="6298233" y="5165507"/>
            <a:ext cx="356616" cy="27432"/>
          </a:xfrm>
          <a:solidFill>
            <a:schemeClr val="accent1"/>
          </a:solidFill>
        </p:spPr>
        <p:txBody>
          <a:bodyPr/>
          <a:lstStyle>
            <a:lvl1pPr>
              <a:buNone/>
              <a:defRPr sz="300"/>
            </a:lvl1pPr>
          </a:lstStyle>
          <a:p>
            <a:r>
              <a:rPr lang="en-GB" dirty="0"/>
              <a:t> </a:t>
            </a:r>
            <a:endParaRPr lang="en-US" dirty="0"/>
          </a:p>
        </p:txBody>
      </p:sp>
      <p:sp>
        <p:nvSpPr>
          <p:cNvPr id="61" name="Picture Placeholder 4">
            <a:extLst>
              <a:ext uri="{FF2B5EF4-FFF2-40B4-BE49-F238E27FC236}">
                <a16:creationId xmlns:a16="http://schemas.microsoft.com/office/drawing/2014/main" id="{3EF9A07C-1758-4B3E-A1CD-67412E56BBFE}"/>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GB" dirty="0"/>
              <a:t> </a:t>
            </a:r>
            <a:endParaRPr lang="en-US" dirty="0"/>
          </a:p>
        </p:txBody>
      </p:sp>
      <p:sp>
        <p:nvSpPr>
          <p:cNvPr id="62" name="Picture Placeholder 4">
            <a:extLst>
              <a:ext uri="{FF2B5EF4-FFF2-40B4-BE49-F238E27FC236}">
                <a16:creationId xmlns:a16="http://schemas.microsoft.com/office/drawing/2014/main" id="{25D8A2F3-A845-4271-8B71-45408EF9F6C1}"/>
              </a:ext>
            </a:extLst>
          </p:cNvPr>
          <p:cNvSpPr>
            <a:spLocks noGrp="1"/>
          </p:cNvSpPr>
          <p:nvPr>
            <p:ph type="pic" sz="quarter" idx="59" hasCustomPrompt="1"/>
          </p:nvPr>
        </p:nvSpPr>
        <p:spPr>
          <a:xfrm>
            <a:off x="10243053" y="5165507"/>
            <a:ext cx="356616" cy="27432"/>
          </a:xfrm>
          <a:solidFill>
            <a:schemeClr val="accent1"/>
          </a:solidFill>
        </p:spPr>
        <p:txBody>
          <a:bodyPr/>
          <a:lstStyle>
            <a:lvl1pPr>
              <a:buNone/>
              <a:defRPr sz="300"/>
            </a:lvl1pPr>
          </a:lstStyle>
          <a:p>
            <a:r>
              <a:rPr lang="en-GB" dirty="0"/>
              <a:t> </a:t>
            </a:r>
            <a:endParaRPr lang="en-US" dirty="0"/>
          </a:p>
        </p:txBody>
      </p:sp>
    </p:spTree>
    <p:extLst>
      <p:ext uri="{BB962C8B-B14F-4D97-AF65-F5344CB8AC3E}">
        <p14:creationId xmlns:p14="http://schemas.microsoft.com/office/powerpoint/2010/main" val="70619214"/>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
            <a:ext cx="6096000" cy="6857999"/>
          </a:xfrm>
          <a:solidFill>
            <a:schemeClr val="bg1">
              <a:lumMod val="95000"/>
            </a:schemeClr>
          </a:solidFill>
        </p:spPr>
        <p:txBody>
          <a:bodyPr tIns="548640" anchor="t"/>
          <a:lstStyle>
            <a:lvl1pPr marL="0" indent="0" algn="ctr" defTabSz="914400" rtl="0" eaLnBrk="1" latinLnBrk="0" hangingPunct="1">
              <a:lnSpc>
                <a:spcPct val="100000"/>
              </a:lnSpc>
              <a:spcBef>
                <a:spcPts val="0"/>
              </a:spcBef>
              <a:spcAft>
                <a:spcPts val="1200"/>
              </a:spcAft>
              <a:buFont typeface="Graphik"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Drag picture to placeholder or click icon to add, then ‘Send to Back’</a:t>
            </a:r>
            <a:endParaRPr lang="en-US" dirty="0"/>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dirty="0"/>
              <a:t>Place headline here (36pt, min 30pt)</a:t>
            </a:r>
            <a:endParaRPr lang="en-US" dirty="0"/>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11" name="Footer Placeholder 3">
            <a:extLst>
              <a:ext uri="{FF2B5EF4-FFF2-40B4-BE49-F238E27FC236}">
                <a16:creationId xmlns:a16="http://schemas.microsoft.com/office/drawing/2014/main" id="{AF384B1D-1AA1-4DD2-A317-08008594FF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4 Accenture. All rights reserved.</a:t>
            </a:r>
            <a:endParaRPr lang="en-GB" dirty="0"/>
          </a:p>
        </p:txBody>
      </p:sp>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4"/>
            <a:ext cx="5330952" cy="3044265"/>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Graphik" panose="020B0604020202020204" pitchFamily="34" charset="0"/>
              <a:buChar char="•"/>
              <a:defRPr sz="1800"/>
            </a:lvl2pPr>
            <a:lvl3pPr marL="457200">
              <a:buFont typeface="Graphik" panose="020B0503030202060203" pitchFamily="34" charset="0"/>
              <a:buChar char="–"/>
              <a:defRPr sz="1800"/>
            </a:lvl3pPr>
            <a:lvl4pPr marL="685800">
              <a:buFont typeface="Graphik" panose="020B0604020202020204" pitchFamily="34" charset="0"/>
              <a:buChar char="•"/>
              <a:defRPr sz="1600"/>
            </a:lvl4pPr>
            <a:lvl5pPr marL="914400">
              <a:buFont typeface="Graphik" panose="020B0503030202060203" pitchFamily="34" charset="0"/>
              <a:buChar char="–"/>
              <a:defRPr sz="1600"/>
            </a:lvl5pPr>
          </a:lstStyle>
          <a:p>
            <a:pPr lvl="0"/>
            <a:r>
              <a:rPr lang="en-US" dirty="0"/>
              <a:t>Place sub-headline here in GT Sectra Fine </a:t>
            </a:r>
            <a:r>
              <a:rPr lang="en-US" dirty="0" err="1"/>
              <a:t>Rg</a:t>
            </a:r>
            <a:r>
              <a:rPr lang="en-US" dirty="0"/>
              <a:t>, indent for other levels 24pt</a:t>
            </a:r>
          </a:p>
          <a:p>
            <a:pPr lvl="1"/>
            <a:r>
              <a:rPr lang="en-US" dirty="0"/>
              <a:t>Second level 18pt</a:t>
            </a:r>
          </a:p>
          <a:p>
            <a:pPr lvl="2"/>
            <a:r>
              <a:rPr lang="en-US" dirty="0"/>
              <a:t>Third level bullet 18pt</a:t>
            </a:r>
          </a:p>
          <a:p>
            <a:pPr lvl="3"/>
            <a:r>
              <a:rPr lang="en-US" dirty="0"/>
              <a:t>Fourth level bullet 16pt</a:t>
            </a:r>
          </a:p>
          <a:p>
            <a:pPr lvl="4"/>
            <a:r>
              <a:rPr lang="en-US" dirty="0"/>
              <a:t>Fifth level bullet 16pt</a:t>
            </a:r>
          </a:p>
        </p:txBody>
      </p:sp>
      <p:sp>
        <p:nvSpPr>
          <p:cNvPr id="4" name="Slide Number Placeholder 3">
            <a:extLst>
              <a:ext uri="{FF2B5EF4-FFF2-40B4-BE49-F238E27FC236}">
                <a16:creationId xmlns:a16="http://schemas.microsoft.com/office/drawing/2014/main" id="{336A2778-1AEF-4134-970E-9AB430A5206F}"/>
              </a:ext>
            </a:extLst>
          </p:cNvPr>
          <p:cNvSpPr>
            <a:spLocks noGrp="1"/>
          </p:cNvSpPr>
          <p:nvPr>
            <p:ph type="sldNum" sz="quarter" idx="16"/>
          </p:nvPr>
        </p:nvSpPr>
        <p:spPr/>
        <p:txBody>
          <a:bodyPr/>
          <a:lstStyle/>
          <a:p>
            <a:fld id="{1F90F471-3972-4120-B8B3-0237DE626C35}" type="slidenum">
              <a:rPr lang="en-US" smtClean="0"/>
              <a:pPr/>
              <a:t>‹Nr.›</a:t>
            </a:fld>
            <a:endParaRPr lang="en-US" dirty="0"/>
          </a:p>
        </p:txBody>
      </p:sp>
    </p:spTree>
    <p:extLst>
      <p:ext uri="{BB962C8B-B14F-4D97-AF65-F5344CB8AC3E}">
        <p14:creationId xmlns:p14="http://schemas.microsoft.com/office/powerpoint/2010/main" val="580181711"/>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solidFill>
            <a:schemeClr val="tx1">
              <a:lumMod val="95000"/>
            </a:schemeClr>
          </a:solidFill>
        </p:spPr>
        <p:txBody>
          <a:bodyPr lIns="0" tIns="210312" anchor="t"/>
          <a:lstStyle>
            <a:lvl1pPr marL="0" indent="0" algn="ctr">
              <a:buNone/>
              <a:defRPr sz="1400" b="0">
                <a:solidFill>
                  <a:schemeClr val="bg1"/>
                </a:solidFill>
              </a:defRPr>
            </a:lvl1pPr>
          </a:lstStyle>
          <a:p>
            <a:r>
              <a:rPr lang="en-GB" dirty="0"/>
              <a:t>Drag picture to placeholder or click icon to add</a:t>
            </a:r>
            <a:endParaRPr lang="en-US" dirty="0"/>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dirty="0"/>
              <a:t>Place headline here (36pt, min 30pt)</a:t>
            </a:r>
            <a:endParaRPr lang="en-US" dirty="0"/>
          </a:p>
        </p:txBody>
      </p:sp>
      <p:sp>
        <p:nvSpPr>
          <p:cNvPr id="15" name="Footer Placeholder 3">
            <a:extLst>
              <a:ext uri="{FF2B5EF4-FFF2-40B4-BE49-F238E27FC236}">
                <a16:creationId xmlns:a16="http://schemas.microsoft.com/office/drawing/2014/main" id="{E567C369-8A33-4851-8646-E53D6E8D8CC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4 Accenture. All rights reserved.</a:t>
            </a:r>
            <a:endParaRPr lang="en-GB" dirty="0"/>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480047" y="3264586"/>
            <a:ext cx="5330952" cy="3047313"/>
          </a:xfrm>
        </p:spPr>
        <p:txBody>
          <a:bodyPr/>
          <a:lstStyle>
            <a:lvl1pPr marL="0" indent="0">
              <a:lnSpc>
                <a:spcPct val="90000"/>
              </a:lnSpc>
              <a:buNone/>
              <a:defRPr sz="2400">
                <a:solidFill>
                  <a:schemeClr val="tx1"/>
                </a:solidFill>
                <a:latin typeface="GT Sectra Fine Rg" panose="00000500000000000000" pitchFamily="50" charset="0"/>
              </a:defRPr>
            </a:lvl1pPr>
            <a:lvl2pPr marL="228600" indent="-228600">
              <a:buFont typeface="Graphik" panose="020B0604020202020204" pitchFamily="34" charset="0"/>
              <a:buChar char="•"/>
              <a:defRPr sz="1800">
                <a:solidFill>
                  <a:schemeClr val="tx1"/>
                </a:solidFill>
              </a:defRPr>
            </a:lvl2pPr>
            <a:lvl3pPr marL="457200">
              <a:buFont typeface="Graphik" panose="020B0503030202060203" pitchFamily="34" charset="0"/>
              <a:buChar char="–"/>
              <a:defRPr sz="1800">
                <a:solidFill>
                  <a:schemeClr val="tx1"/>
                </a:solidFill>
              </a:defRPr>
            </a:lvl3pPr>
            <a:lvl4pPr marL="685800">
              <a:buFont typeface="Graphik" panose="020B0604020202020204" pitchFamily="34" charset="0"/>
              <a:buChar char="•"/>
              <a:defRPr sz="1600">
                <a:solidFill>
                  <a:schemeClr val="tx1"/>
                </a:solidFill>
              </a:defRPr>
            </a:lvl4pPr>
            <a:lvl5pPr marL="914400">
              <a:buFont typeface="Graphik" panose="020B0503030202060203" pitchFamily="34" charset="0"/>
              <a:buChar char="–"/>
              <a:defRPr sz="1600">
                <a:solidFill>
                  <a:schemeClr val="tx1"/>
                </a:solidFill>
              </a:defRPr>
            </a:lvl5pPr>
          </a:lstStyle>
          <a:p>
            <a:pPr lvl="0"/>
            <a:r>
              <a:rPr lang="en-US" dirty="0"/>
              <a:t>Place sub-headline here in GT Sectra Fine </a:t>
            </a:r>
            <a:r>
              <a:rPr lang="en-US" dirty="0" err="1"/>
              <a:t>Rg</a:t>
            </a:r>
            <a:r>
              <a:rPr lang="en-US" dirty="0"/>
              <a:t>, indent for other levels 24pt</a:t>
            </a:r>
          </a:p>
          <a:p>
            <a:pPr lvl="1"/>
            <a:r>
              <a:rPr lang="en-US" dirty="0"/>
              <a:t>Second level 18pt</a:t>
            </a:r>
          </a:p>
          <a:p>
            <a:pPr lvl="2"/>
            <a:r>
              <a:rPr lang="en-US" dirty="0"/>
              <a:t>Third level bullet 18pt</a:t>
            </a:r>
          </a:p>
          <a:p>
            <a:pPr lvl="3"/>
            <a:r>
              <a:rPr lang="en-US" dirty="0"/>
              <a:t>Fourth level bullet 16pt</a:t>
            </a:r>
          </a:p>
          <a:p>
            <a:pPr lvl="4"/>
            <a:r>
              <a:rPr lang="en-US" dirty="0"/>
              <a:t>Fifth level bullet 16pt</a:t>
            </a:r>
          </a:p>
        </p:txBody>
      </p:sp>
      <p:sp>
        <p:nvSpPr>
          <p:cNvPr id="12" name="GTS_WH" descr="Accenture Greater Than symbol in white">
            <a:extLst>
              <a:ext uri="{FF2B5EF4-FFF2-40B4-BE49-F238E27FC236}">
                <a16:creationId xmlns:a16="http://schemas.microsoft.com/office/drawing/2014/main" id="{9742AFA2-2F86-4FC9-AB33-FE5A8DC3B4C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ECF1D8E5-ED70-409D-A4B1-635A02DFE5A1}"/>
              </a:ext>
            </a:extLst>
          </p:cNvPr>
          <p:cNvSpPr>
            <a:spLocks noGrp="1"/>
          </p:cNvSpPr>
          <p:nvPr>
            <p:ph type="sldNum" sz="quarter" idx="17"/>
          </p:nvPr>
        </p:nvSpPr>
        <p:spPr/>
        <p:txBody>
          <a:bodyPr/>
          <a:lstStyle/>
          <a:p>
            <a:fld id="{1F90F471-3972-4120-B8B3-0237DE626C35}" type="slidenum">
              <a:rPr lang="en-US" smtClean="0"/>
              <a:pPr/>
              <a:t>‹Nr.›</a:t>
            </a:fld>
            <a:endParaRPr lang="en-US" dirty="0"/>
          </a:p>
        </p:txBody>
      </p:sp>
    </p:spTree>
    <p:extLst>
      <p:ext uri="{BB962C8B-B14F-4D97-AF65-F5344CB8AC3E}">
        <p14:creationId xmlns:p14="http://schemas.microsoft.com/office/powerpoint/2010/main" val="294918022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dirty="0"/>
              <a:t>Drag picture to placeholder or click icon to add</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dirty="0"/>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4 Accenture. All rights reserved.</a:t>
            </a:r>
            <a:endParaRPr lang="en-GB" dirty="0"/>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fld id="{1F90F471-3972-4120-B8B3-0237DE626C35}" type="slidenum">
              <a:rPr lang="en-US" smtClean="0"/>
              <a:pPr/>
              <a:t>‹Nr.›</a:t>
            </a:fld>
            <a:endParaRPr lang="en-US" dirty="0"/>
          </a:p>
        </p:txBody>
      </p:sp>
    </p:spTree>
    <p:extLst>
      <p:ext uri="{BB962C8B-B14F-4D97-AF65-F5344CB8AC3E}">
        <p14:creationId xmlns:p14="http://schemas.microsoft.com/office/powerpoint/2010/main" val="35331159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alutation-GTS left-image bkgnd">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E7551B-7F86-46D2-A90B-DF5CC30BDFD8}"/>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dirty="0"/>
              <a:t>Insert Salutation 72pt</a:t>
            </a:r>
            <a:endParaRPr lang="en-US" dirty="0"/>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6" name="GTS_WH" descr="Accenture Greater Than symbol in white">
            <a:extLst>
              <a:ext uri="{FF2B5EF4-FFF2-40B4-BE49-F238E27FC236}">
                <a16:creationId xmlns:a16="http://schemas.microsoft.com/office/drawing/2014/main" id="{5820492B-C4D2-42F2-B2B8-CB1CE70F894B}"/>
              </a:ext>
            </a:extLst>
          </p:cNvPr>
          <p:cNvSpPr>
            <a:spLocks noChangeAspect="1"/>
          </p:cNvSpPr>
          <p:nvPr userDrawn="1"/>
        </p:nvSpPr>
        <p:spPr bwMode="black">
          <a:xfrm>
            <a:off x="380999" y="5607812"/>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71586135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 image (alternativ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a:outerShdw dist="215900" dir="2700000" algn="tl" rotWithShape="0">
              <a:schemeClr val="accent1"/>
            </a:outerShdw>
          </a:effectLst>
        </p:spPr>
        <p:txBody>
          <a:bodyPr tIns="274320" bIns="274320" anchor="t"/>
          <a:lstStyle>
            <a:lvl1pPr marL="0" indent="0" algn="ctr">
              <a:buNone/>
              <a:defRPr sz="1400" b="0">
                <a:solidFill>
                  <a:schemeClr val="tx1"/>
                </a:solidFill>
              </a:defRPr>
            </a:lvl1pPr>
          </a:lstStyle>
          <a:p>
            <a:r>
              <a:rPr lang="en-GB" dirty="0"/>
              <a:t>Drag picture to placeholder or click icon to add</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dirty="0"/>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4 Accenture. All rights reserved.</a:t>
            </a:r>
            <a:endParaRPr lang="en-GB" dirty="0"/>
          </a:p>
        </p:txBody>
      </p:sp>
      <p:sp>
        <p:nvSpPr>
          <p:cNvPr id="3" name="Slide Number Placeholder 2">
            <a:extLst>
              <a:ext uri="{FF2B5EF4-FFF2-40B4-BE49-F238E27FC236}">
                <a16:creationId xmlns:a16="http://schemas.microsoft.com/office/drawing/2014/main" id="{FD217B10-543D-46E3-A5E7-CA1C578F6F62}"/>
              </a:ext>
            </a:extLst>
          </p:cNvPr>
          <p:cNvSpPr>
            <a:spLocks noGrp="1"/>
          </p:cNvSpPr>
          <p:nvPr>
            <p:ph type="sldNum" sz="quarter" idx="14"/>
          </p:nvPr>
        </p:nvSpPr>
        <p:spPr/>
        <p:txBody>
          <a:bodyPr/>
          <a:lstStyle/>
          <a:p>
            <a:fld id="{1F90F471-3972-4120-B8B3-0237DE626C35}" type="slidenum">
              <a:rPr lang="en-US" smtClean="0"/>
              <a:pPr/>
              <a:t>‹Nr.›</a:t>
            </a:fld>
            <a:endParaRPr lang="en-US" dirty="0"/>
          </a:p>
        </p:txBody>
      </p:sp>
    </p:spTree>
    <p:extLst>
      <p:ext uri="{BB962C8B-B14F-4D97-AF65-F5344CB8AC3E}">
        <p14:creationId xmlns:p14="http://schemas.microsoft.com/office/powerpoint/2010/main" val="1154445263"/>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tatistics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bwMode="white">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dirty="0"/>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0"/>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GB" dirty="0"/>
              <a:t>Drag picture to placeholder or click icon to add</a:t>
            </a:r>
            <a:endParaRPr lang="en-US" dirty="0"/>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dirty="0"/>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dirty="0"/>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dirty="0"/>
              <a:t>Bullet point 16pt</a:t>
            </a:r>
          </a:p>
        </p:txBody>
      </p:sp>
      <p:sp>
        <p:nvSpPr>
          <p:cNvPr id="21" name="Footer Placeholder 3">
            <a:extLst>
              <a:ext uri="{FF2B5EF4-FFF2-40B4-BE49-F238E27FC236}">
                <a16:creationId xmlns:a16="http://schemas.microsoft.com/office/drawing/2014/main" id="{3B3ABE64-A2B2-4267-83DE-C2D349057B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defTabSz="228600">
              <a:spcAft>
                <a:spcPts val="1200"/>
              </a:spcAft>
              <a:defRPr/>
            </a:pPr>
            <a:r>
              <a:rPr lang="en-GB"/>
              <a:t>Copyright © 2024 Accenture. All rights reserved.</a:t>
            </a:r>
          </a:p>
        </p:txBody>
      </p:sp>
      <p:pic>
        <p:nvPicPr>
          <p:cNvPr id="19" name="Picture 18" descr="Accenture Greater Than symbol in white">
            <a:extLst>
              <a:ext uri="{FF2B5EF4-FFF2-40B4-BE49-F238E27FC236}">
                <a16:creationId xmlns:a16="http://schemas.microsoft.com/office/drawing/2014/main" id="{E8781F80-F3D9-42F9-B6EE-F6DC303E05F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32A306F6-3D4B-4153-AFB5-695424B80AC9}"/>
              </a:ext>
            </a:extLst>
          </p:cNvPr>
          <p:cNvSpPr>
            <a:spLocks noGrp="1"/>
          </p:cNvSpPr>
          <p:nvPr>
            <p:ph type="sldNum" sz="quarter" idx="25"/>
          </p:nvPr>
        </p:nvSpPr>
        <p:spPr/>
        <p:txBody>
          <a:bodyPr/>
          <a:lstStyle>
            <a:lvl1pPr>
              <a:defRPr>
                <a:solidFill>
                  <a:schemeClr val="bg1"/>
                </a:solidFill>
              </a:defRPr>
            </a:lvl1pPr>
          </a:lstStyle>
          <a:p>
            <a:fld id="{1F90F471-3972-4120-B8B3-0237DE626C35}" type="slidenum">
              <a:rPr lang="en-US" smtClean="0"/>
              <a:pPr/>
              <a:t>‹Nr.›</a:t>
            </a:fld>
            <a:endParaRPr lang="en-US" dirty="0"/>
          </a:p>
        </p:txBody>
      </p:sp>
    </p:spTree>
    <p:extLst>
      <p:ext uri="{BB962C8B-B14F-4D97-AF65-F5344CB8AC3E}">
        <p14:creationId xmlns:p14="http://schemas.microsoft.com/office/powerpoint/2010/main" val="1162012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atistics 2">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2E53630-789F-425F-8AB1-96EFF4EA1E46}"/>
              </a:ext>
            </a:extLst>
          </p:cNvPr>
          <p:cNvSpPr/>
          <p:nvPr userDrawn="1"/>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16F949-3472-4EBC-9DC1-05EC807C9FC0}"/>
              </a:ext>
            </a:extLst>
          </p:cNvPr>
          <p:cNvSpPr/>
          <p:nvPr userDrawn="1"/>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GB" dirty="0"/>
              <a:t>Drag picture to placeholder </a:t>
            </a:r>
          </a:p>
          <a:p>
            <a:r>
              <a:rPr lang="en-GB" dirty="0"/>
              <a:t>or click icon to add</a:t>
            </a:r>
            <a:endParaRPr lang="en-US" dirty="0"/>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dirty="0"/>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dirty="0"/>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dirty="0"/>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8"/>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600" lvl="0" indent="-228600" algn="ctr"/>
            <a:r>
              <a:rPr lang="en-GB" dirty="0"/>
              <a:t>Drag picture to placeholder </a:t>
            </a:r>
          </a:p>
          <a:p>
            <a:pPr marL="228600" lvl="0" indent="-228600" algn="ctr"/>
            <a:r>
              <a:rPr lang="en-GB" dirty="0"/>
              <a:t>or click icon to add</a:t>
            </a:r>
            <a:endParaRPr lang="en-US" dirty="0"/>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662794"/>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dirty="0"/>
              <a:t>Bullet point 16pt</a:t>
            </a:r>
          </a:p>
        </p:txBody>
      </p:sp>
      <p:sp>
        <p:nvSpPr>
          <p:cNvPr id="35" name="Text Placeholder 26">
            <a:extLst>
              <a:ext uri="{FF2B5EF4-FFF2-40B4-BE49-F238E27FC236}">
                <a16:creationId xmlns:a16="http://schemas.microsoft.com/office/drawing/2014/main" id="{9BC0904C-6BDA-4032-94C2-6417F59042D8}"/>
              </a:ext>
            </a:extLst>
          </p:cNvPr>
          <p:cNvSpPr>
            <a:spLocks noGrp="1"/>
          </p:cNvSpPr>
          <p:nvPr>
            <p:ph type="body" sz="quarter" idx="26" hasCustomPrompt="1"/>
          </p:nvPr>
        </p:nvSpPr>
        <p:spPr>
          <a:xfrm>
            <a:off x="380997" y="380999"/>
            <a:ext cx="5333972" cy="2393952"/>
          </a:xfrm>
        </p:spPr>
        <p:txBody>
          <a:bodyPr anchor="ctr"/>
          <a:lstStyle>
            <a:lvl1pPr marL="0" indent="0">
              <a:buNone/>
              <a:defRPr kumimoji="0" lang="en-US" sz="3600" b="1" i="0" u="none" strike="noStrike" kern="1200" cap="none" spc="0" normalizeH="0" baseline="0" dirty="0">
                <a:ln>
                  <a:noFill/>
                </a:ln>
                <a:solidFill>
                  <a:srgbClr val="000000"/>
                </a:solidFill>
                <a:effectLst/>
                <a:uLnTx/>
                <a:uFillTx/>
                <a:latin typeface="Graphik"/>
                <a:ea typeface="+mj-ea"/>
                <a:cs typeface="+mj-cs"/>
              </a:defRPr>
            </a:lvl1pPr>
            <a:lvl2pPr>
              <a:defRPr/>
            </a:lvl2pPr>
            <a:lvl3pPr>
              <a:defRPr/>
            </a:lvl3pPr>
            <a:lvl4pPr>
              <a:defRPr/>
            </a:lvl4pPr>
            <a:lvl5pPr>
              <a:defRPr/>
            </a:lvl5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GB" sz="3600" b="1" i="0" u="none" strike="noStrike" kern="1200" cap="none" spc="0" normalizeH="0" baseline="0" noProof="0" dirty="0">
                <a:ln>
                  <a:noFill/>
                </a:ln>
                <a:solidFill>
                  <a:srgbClr val="000000"/>
                </a:solidFill>
                <a:effectLst/>
                <a:uLnTx/>
                <a:uFillTx/>
                <a:latin typeface="Graphik"/>
                <a:ea typeface="+mj-ea"/>
                <a:cs typeface="+mj-cs"/>
              </a:rPr>
              <a:t>P</a:t>
            </a:r>
            <a:r>
              <a:rPr kumimoji="0" lang="en-US" sz="3600" b="1" i="0" u="none" strike="noStrike" kern="1200" cap="none" spc="0" normalizeH="0" baseline="0" noProof="0" dirty="0">
                <a:ln>
                  <a:noFill/>
                </a:ln>
                <a:solidFill>
                  <a:srgbClr val="000000"/>
                </a:solidFill>
                <a:effectLst/>
                <a:uLnTx/>
                <a:uFillTx/>
                <a:latin typeface="Graphik"/>
                <a:ea typeface="+mj-ea"/>
                <a:cs typeface="+mj-cs"/>
              </a:rPr>
              <a:t>lace headline here 36pt, min 30pt)</a:t>
            </a:r>
          </a:p>
        </p:txBody>
      </p:sp>
      <p:sp>
        <p:nvSpPr>
          <p:cNvPr id="22" name="Footer Placeholder 3">
            <a:extLst>
              <a:ext uri="{FF2B5EF4-FFF2-40B4-BE49-F238E27FC236}">
                <a16:creationId xmlns:a16="http://schemas.microsoft.com/office/drawing/2014/main" id="{272DDB3A-459D-40AA-A5E7-DDCDD2DEA3B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defTabSz="228600">
              <a:spcAft>
                <a:spcPts val="1200"/>
              </a:spcAft>
              <a:defRPr/>
            </a:pPr>
            <a:r>
              <a:rPr lang="en-GB"/>
              <a:t>Copyright © 2024 Accenture. All rights reserved.</a:t>
            </a:r>
          </a:p>
        </p:txBody>
      </p:sp>
      <p:pic>
        <p:nvPicPr>
          <p:cNvPr id="23" name="Picture 22" descr="Accenture Greater Than symbol in white">
            <a:extLst>
              <a:ext uri="{FF2B5EF4-FFF2-40B4-BE49-F238E27FC236}">
                <a16:creationId xmlns:a16="http://schemas.microsoft.com/office/drawing/2014/main" id="{78774BCE-242F-4FF9-9C01-D01B97743A9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911B33BA-8B14-4BE4-8987-4DD490763486}"/>
              </a:ext>
            </a:extLst>
          </p:cNvPr>
          <p:cNvSpPr>
            <a:spLocks noGrp="1"/>
          </p:cNvSpPr>
          <p:nvPr>
            <p:ph type="sldNum" sz="quarter" idx="27"/>
          </p:nvPr>
        </p:nvSpPr>
        <p:spPr/>
        <p:txBody>
          <a:bodyPr/>
          <a:lstStyle>
            <a:lvl1pPr>
              <a:defRPr>
                <a:solidFill>
                  <a:schemeClr val="bg1"/>
                </a:solidFill>
              </a:defRPr>
            </a:lvl1pPr>
          </a:lstStyle>
          <a:p>
            <a:fld id="{1F90F471-3972-4120-B8B3-0237DE626C35}" type="slidenum">
              <a:rPr lang="en-US" smtClean="0"/>
              <a:pPr/>
              <a:t>‹Nr.›</a:t>
            </a:fld>
            <a:endParaRPr lang="en-US" dirty="0">
              <a:solidFill>
                <a:schemeClr val="bg1"/>
              </a:solidFill>
            </a:endParaRPr>
          </a:p>
        </p:txBody>
      </p:sp>
    </p:spTree>
    <p:extLst>
      <p:ext uri="{BB962C8B-B14F-4D97-AF65-F5344CB8AC3E}">
        <p14:creationId xmlns:p14="http://schemas.microsoft.com/office/powerpoint/2010/main" val="413620612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descr="Accenture Gradient Dark">
            <a:extLst>
              <a:ext uri="{FF2B5EF4-FFF2-40B4-BE49-F238E27FC236}">
                <a16:creationId xmlns:a16="http://schemas.microsoft.com/office/drawing/2014/main" id="{AB47B586-CFEE-4C32-8227-001B5A89C3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dirty="0"/>
              <a:t>Place key message here 54pt</a:t>
            </a:r>
          </a:p>
        </p:txBody>
      </p:sp>
      <p:sp>
        <p:nvSpPr>
          <p:cNvPr id="10" name="Footer Placeholder 3">
            <a:extLst>
              <a:ext uri="{FF2B5EF4-FFF2-40B4-BE49-F238E27FC236}">
                <a16:creationId xmlns:a16="http://schemas.microsoft.com/office/drawing/2014/main" id="{9310B6FD-F7E2-4120-A2CE-22852AAA9F5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4 Accenture. All rights reserved.</a:t>
            </a:r>
            <a:endParaRPr lang="en-GB" dirty="0"/>
          </a:p>
        </p:txBody>
      </p:sp>
      <p:sp>
        <p:nvSpPr>
          <p:cNvPr id="11" name="GTS_WH" descr="Accenture Greater Than symbol in white">
            <a:extLst>
              <a:ext uri="{FF2B5EF4-FFF2-40B4-BE49-F238E27FC236}">
                <a16:creationId xmlns:a16="http://schemas.microsoft.com/office/drawing/2014/main" id="{2FF57A0A-C5DD-42B6-8DD3-E5EA041C72D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CF31A683-09B8-4B7C-917B-D192D06BBAE0}"/>
              </a:ext>
            </a:extLst>
          </p:cNvPr>
          <p:cNvSpPr>
            <a:spLocks noGrp="1"/>
          </p:cNvSpPr>
          <p:nvPr>
            <p:ph type="sldNum" sz="quarter" idx="11"/>
          </p:nvPr>
        </p:nvSpPr>
        <p:spPr/>
        <p:txBody>
          <a:bodyPr/>
          <a:lstStyle/>
          <a:p>
            <a:fld id="{1F90F471-3972-4120-B8B3-0237DE626C35}" type="slidenum">
              <a:rPr lang="en-US" smtClean="0"/>
              <a:pPr/>
              <a:t>‹Nr.›</a:t>
            </a:fld>
            <a:endParaRPr lang="en-US" dirty="0"/>
          </a:p>
        </p:txBody>
      </p:sp>
    </p:spTree>
    <p:extLst>
      <p:ext uri="{BB962C8B-B14F-4D97-AF65-F5344CB8AC3E}">
        <p14:creationId xmlns:p14="http://schemas.microsoft.com/office/powerpoint/2010/main" val="422336508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dirty="0"/>
              <a:t>Place key message here 54pt</a:t>
            </a:r>
          </a:p>
        </p:txBody>
      </p:sp>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dirty="0">
              <a:ln>
                <a:noFill/>
              </a:ln>
              <a:solidFill>
                <a:schemeClr val="bg2"/>
              </a:solidFill>
              <a:effectLst/>
              <a:uLnTx/>
              <a:uFillTx/>
            </a:endParaRPr>
          </a:p>
        </p:txBody>
      </p:sp>
      <p:sp>
        <p:nvSpPr>
          <p:cNvPr id="10" name="Footer Placeholder 3">
            <a:extLst>
              <a:ext uri="{FF2B5EF4-FFF2-40B4-BE49-F238E27FC236}">
                <a16:creationId xmlns:a16="http://schemas.microsoft.com/office/drawing/2014/main" id="{8D9D8DCD-E7C3-4F1A-8A48-31319650AC3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4 Accenture. All rights reserved.</a:t>
            </a:r>
            <a:endParaRPr lang="en-GB" dirty="0"/>
          </a:p>
        </p:txBody>
      </p:sp>
      <p:sp>
        <p:nvSpPr>
          <p:cNvPr id="11" name="GTS_WH" descr="Accenture Greater Than symbol in white">
            <a:extLst>
              <a:ext uri="{FF2B5EF4-FFF2-40B4-BE49-F238E27FC236}">
                <a16:creationId xmlns:a16="http://schemas.microsoft.com/office/drawing/2014/main" id="{B0B0C095-6C73-4899-AD8E-8F75768CF51A}"/>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52AFE70C-67B2-45BA-88F7-45C14692FC25}"/>
              </a:ext>
            </a:extLst>
          </p:cNvPr>
          <p:cNvSpPr>
            <a:spLocks noGrp="1"/>
          </p:cNvSpPr>
          <p:nvPr>
            <p:ph type="sldNum" sz="quarter" idx="11"/>
          </p:nvPr>
        </p:nvSpPr>
        <p:spPr/>
        <p:txBody>
          <a:bodyPr/>
          <a:lstStyle/>
          <a:p>
            <a:fld id="{1F90F471-3972-4120-B8B3-0237DE626C35}" type="slidenum">
              <a:rPr lang="en-US" smtClean="0"/>
              <a:pPr/>
              <a:t>‹Nr.›</a:t>
            </a:fld>
            <a:endParaRPr lang="en-US" dirty="0"/>
          </a:p>
        </p:txBody>
      </p:sp>
    </p:spTree>
    <p:extLst>
      <p:ext uri="{BB962C8B-B14F-4D97-AF65-F5344CB8AC3E}">
        <p14:creationId xmlns:p14="http://schemas.microsoft.com/office/powerpoint/2010/main" val="353613789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5AD31DD4-2506-4E03-897C-F4C8C020F0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dirty="0"/>
              <a:t>Place headline here 54pt</a:t>
            </a:r>
          </a:p>
        </p:txBody>
      </p:sp>
      <p:sp>
        <p:nvSpPr>
          <p:cNvPr id="12" name="Footer Placeholder 3">
            <a:extLst>
              <a:ext uri="{FF2B5EF4-FFF2-40B4-BE49-F238E27FC236}">
                <a16:creationId xmlns:a16="http://schemas.microsoft.com/office/drawing/2014/main" id="{2A2CFACC-0767-48E1-9FD9-763E5025E7A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4 Accenture. All rights reserved.</a:t>
            </a:r>
            <a:endParaRPr lang="en-GB" dirty="0"/>
          </a:p>
        </p:txBody>
      </p:sp>
      <p:sp>
        <p:nvSpPr>
          <p:cNvPr id="7" name="GTS_WH" descr="Accenture Greater Than symbol in white">
            <a:extLst>
              <a:ext uri="{FF2B5EF4-FFF2-40B4-BE49-F238E27FC236}">
                <a16:creationId xmlns:a16="http://schemas.microsoft.com/office/drawing/2014/main" id="{AE479463-B4C9-4B9A-BE8B-62B5B9CF007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945BAA91-4288-4230-8881-E1D51DEBFFC3}"/>
              </a:ext>
            </a:extLst>
          </p:cNvPr>
          <p:cNvSpPr>
            <a:spLocks noGrp="1"/>
          </p:cNvSpPr>
          <p:nvPr>
            <p:ph type="sldNum" sz="quarter" idx="12"/>
          </p:nvPr>
        </p:nvSpPr>
        <p:spPr/>
        <p:txBody>
          <a:bodyPr/>
          <a:lstStyle/>
          <a:p>
            <a:fld id="{1F90F471-3972-4120-B8B3-0237DE626C35}" type="slidenum">
              <a:rPr lang="en-US" smtClean="0"/>
              <a:pPr/>
              <a:t>‹Nr.›</a:t>
            </a:fld>
            <a:endParaRPr lang="en-US" dirty="0"/>
          </a:p>
        </p:txBody>
      </p:sp>
    </p:spTree>
    <p:extLst>
      <p:ext uri="{BB962C8B-B14F-4D97-AF65-F5344CB8AC3E}">
        <p14:creationId xmlns:p14="http://schemas.microsoft.com/office/powerpoint/2010/main" val="101723486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dirty="0"/>
              <a:t>Place headline here (36pt, min 30pt)</a:t>
            </a:r>
            <a:endParaRPr lang="en-US" dirty="0"/>
          </a:p>
        </p:txBody>
      </p:sp>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4 Accenture. All rights reserved.</a:t>
            </a:r>
            <a:endParaRPr lang="en-GB" dirty="0"/>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p>
            <a:fld id="{1F90F471-3972-4120-B8B3-0237DE626C35}" type="slidenum">
              <a:rPr lang="en-US" smtClean="0"/>
              <a:pPr/>
              <a:t>‹Nr.›</a:t>
            </a:fld>
            <a:endParaRPr lang="en-US" dirty="0"/>
          </a:p>
        </p:txBody>
      </p:sp>
    </p:spTree>
    <p:extLst>
      <p:ext uri="{BB962C8B-B14F-4D97-AF65-F5344CB8AC3E}">
        <p14:creationId xmlns:p14="http://schemas.microsoft.com/office/powerpoint/2010/main" val="1043245015"/>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Long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dirty="0"/>
              <a:t>Place headline here (36pt, min 30pt)</a:t>
            </a:r>
            <a:endParaRPr lang="en-US" dirty="0"/>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dirty="0"/>
              <a:t>Place subtitle here 20pt</a:t>
            </a:r>
          </a:p>
        </p:txBody>
      </p:sp>
      <p:sp>
        <p:nvSpPr>
          <p:cNvPr id="7" name="Footer Placeholder 3">
            <a:extLst>
              <a:ext uri="{FF2B5EF4-FFF2-40B4-BE49-F238E27FC236}">
                <a16:creationId xmlns:a16="http://schemas.microsoft.com/office/drawing/2014/main" id="{D81D62B4-50F4-4143-BFCC-F5508365C8BA}"/>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4 Accenture. All rights reserved.</a:t>
            </a:r>
            <a:endParaRPr lang="en-GB" dirty="0"/>
          </a:p>
        </p:txBody>
      </p:sp>
      <p:sp>
        <p:nvSpPr>
          <p:cNvPr id="3" name="Slide Number Placeholder 2">
            <a:extLst>
              <a:ext uri="{FF2B5EF4-FFF2-40B4-BE49-F238E27FC236}">
                <a16:creationId xmlns:a16="http://schemas.microsoft.com/office/drawing/2014/main" id="{9F7CFBA7-F1B1-4FF3-932C-7525FBDA5B5C}"/>
              </a:ext>
            </a:extLst>
          </p:cNvPr>
          <p:cNvSpPr>
            <a:spLocks noGrp="1"/>
          </p:cNvSpPr>
          <p:nvPr>
            <p:ph type="sldNum" sz="quarter" idx="12"/>
          </p:nvPr>
        </p:nvSpPr>
        <p:spPr/>
        <p:txBody>
          <a:bodyPr/>
          <a:lstStyle/>
          <a:p>
            <a:fld id="{1F90F471-3972-4120-B8B3-0237DE626C35}" type="slidenum">
              <a:rPr lang="en-US" smtClean="0"/>
              <a:pPr/>
              <a:t>‹Nr.›</a:t>
            </a:fld>
            <a:endParaRPr lang="en-US" dirty="0"/>
          </a:p>
        </p:txBody>
      </p:sp>
    </p:spTree>
    <p:extLst>
      <p:ext uri="{BB962C8B-B14F-4D97-AF65-F5344CB8AC3E}">
        <p14:creationId xmlns:p14="http://schemas.microsoft.com/office/powerpoint/2010/main" val="1429691506"/>
      </p:ext>
    </p:extLst>
  </p:cSld>
  <p:clrMapOvr>
    <a:masterClrMapping/>
  </p:clrMapOvr>
  <p:extLst>
    <p:ext uri="{DCECCB84-F9BA-43D5-87BE-67443E8EF086}">
      <p15:sldGuideLst xmlns:p15="http://schemas.microsoft.com/office/powerpoint/2012/main">
        <p15:guide id="1" orient="horz" pos="932" userDrawn="1">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16BF2C1-BAA9-4BAD-9934-C110D730322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4 Accenture. All rights reserved.</a:t>
            </a:r>
            <a:endParaRPr lang="en-GB" dirty="0"/>
          </a:p>
        </p:txBody>
      </p:sp>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p:txBody>
          <a:bodyPr/>
          <a:lstStyle/>
          <a:p>
            <a:fld id="{1F90F471-3972-4120-B8B3-0237DE626C35}" type="slidenum">
              <a:rPr lang="en-US" smtClean="0"/>
              <a:pPr/>
              <a:t>‹Nr.›</a:t>
            </a:fld>
            <a:endParaRPr lang="en-US" dirty="0"/>
          </a:p>
        </p:txBody>
      </p:sp>
    </p:spTree>
    <p:extLst>
      <p:ext uri="{BB962C8B-B14F-4D97-AF65-F5344CB8AC3E}">
        <p14:creationId xmlns:p14="http://schemas.microsoft.com/office/powerpoint/2010/main" val="1285542610"/>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Long Headline-subtitle and 2 Codebloc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dirty="0"/>
              <a:t>Place headline here (36pt, min 30pt)</a:t>
            </a:r>
            <a:endParaRPr lang="en-US" dirty="0"/>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0" y="1949194"/>
            <a:ext cx="11430000" cy="753366"/>
          </a:xfrm>
        </p:spPr>
        <p:txBody>
          <a:bodyPr/>
          <a:lstStyle/>
          <a:p>
            <a:pPr lvl="0"/>
            <a:r>
              <a:rPr lang="en-US" dirty="0"/>
              <a:t>Place text here</a:t>
            </a:r>
          </a:p>
          <a:p>
            <a:pPr lvl="1"/>
            <a:r>
              <a:rPr lang="en-US" dirty="0"/>
              <a:t>Second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dirty="0"/>
              <a:t>Place subtitle here 20pt</a:t>
            </a:r>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4 Accenture. All rights reserved.</a:t>
            </a:r>
            <a:endParaRPr lang="en-GB" dirty="0"/>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fld id="{1F90F471-3972-4120-B8B3-0237DE626C35}" type="slidenum">
              <a:rPr lang="en-US" smtClean="0"/>
              <a:pPr/>
              <a:t>‹Nr.›</a:t>
            </a:fld>
            <a:endParaRPr lang="en-US" dirty="0"/>
          </a:p>
        </p:txBody>
      </p:sp>
      <p:sp>
        <p:nvSpPr>
          <p:cNvPr id="6" name="Content Placeholder 7">
            <a:extLst>
              <a:ext uri="{FF2B5EF4-FFF2-40B4-BE49-F238E27FC236}">
                <a16:creationId xmlns:a16="http://schemas.microsoft.com/office/drawing/2014/main" id="{8BEB1BF3-EEE7-8D9D-25CC-FC78B72221AA}"/>
              </a:ext>
            </a:extLst>
          </p:cNvPr>
          <p:cNvSpPr>
            <a:spLocks noGrp="1"/>
          </p:cNvSpPr>
          <p:nvPr>
            <p:ph sz="quarter" idx="13" hasCustomPrompt="1"/>
          </p:nvPr>
        </p:nvSpPr>
        <p:spPr>
          <a:xfrm>
            <a:off x="381000" y="4152945"/>
            <a:ext cx="11430000" cy="753366"/>
          </a:xfrm>
        </p:spPr>
        <p:txBody>
          <a:bodyPr/>
          <a:lstStyle/>
          <a:p>
            <a:pPr lvl="0"/>
            <a:r>
              <a:rPr lang="en-US" dirty="0"/>
              <a:t>Place text here</a:t>
            </a:r>
          </a:p>
          <a:p>
            <a:pPr lvl="1"/>
            <a:r>
              <a:rPr lang="en-US" dirty="0"/>
              <a:t>Second level</a:t>
            </a:r>
          </a:p>
        </p:txBody>
      </p:sp>
      <p:sp>
        <p:nvSpPr>
          <p:cNvPr id="12" name="Content Placeholder 7">
            <a:extLst>
              <a:ext uri="{FF2B5EF4-FFF2-40B4-BE49-F238E27FC236}">
                <a16:creationId xmlns:a16="http://schemas.microsoft.com/office/drawing/2014/main" id="{DED8136E-F029-DB5C-83C1-7E5F1E6D8992}"/>
              </a:ext>
            </a:extLst>
          </p:cNvPr>
          <p:cNvSpPr>
            <a:spLocks noGrp="1"/>
          </p:cNvSpPr>
          <p:nvPr>
            <p:ph sz="quarter" idx="14" hasCustomPrompt="1"/>
          </p:nvPr>
        </p:nvSpPr>
        <p:spPr>
          <a:xfrm>
            <a:off x="381000" y="2769438"/>
            <a:ext cx="11430000" cy="1321981"/>
          </a:xfrm>
          <a:solidFill>
            <a:schemeClr val="bg1">
              <a:lumMod val="95000"/>
            </a:schemeClr>
          </a:solidFill>
          <a:ln>
            <a:solidFill>
              <a:schemeClr val="tx2"/>
            </a:solidFill>
          </a:ln>
        </p:spPr>
        <p:txBody>
          <a:bodyPr lIns="72000" tIns="36000" rIns="36000" bIns="36000"/>
          <a:lstStyle>
            <a:lvl1pPr marL="0" indent="0">
              <a:spcAft>
                <a:spcPts val="0"/>
              </a:spcAft>
              <a:buFontTx/>
              <a:buNone/>
              <a:defRPr>
                <a:latin typeface="Courier New" panose="02070309020205020404" pitchFamily="49" charset="0"/>
                <a:cs typeface="Courier New" panose="02070309020205020404" pitchFamily="49" charset="0"/>
              </a:defRPr>
            </a:lvl1pPr>
            <a:lvl2pPr marL="228600" indent="0">
              <a:buFontTx/>
              <a:buNone/>
              <a:defRPr>
                <a:latin typeface="Courier New" panose="02070309020205020404" pitchFamily="49" charset="0"/>
                <a:cs typeface="Courier New" panose="02070309020205020404" pitchFamily="49" charset="0"/>
              </a:defRPr>
            </a:lvl2pPr>
          </a:lstStyle>
          <a:p>
            <a:pPr lvl="0"/>
            <a:r>
              <a:rPr lang="en-US" dirty="0"/>
              <a:t>Place code here</a:t>
            </a:r>
          </a:p>
        </p:txBody>
      </p:sp>
      <p:sp>
        <p:nvSpPr>
          <p:cNvPr id="13" name="Content Placeholder 7">
            <a:extLst>
              <a:ext uri="{FF2B5EF4-FFF2-40B4-BE49-F238E27FC236}">
                <a16:creationId xmlns:a16="http://schemas.microsoft.com/office/drawing/2014/main" id="{8439BD9C-C264-04B6-8009-73443EFDFA52}"/>
              </a:ext>
            </a:extLst>
          </p:cNvPr>
          <p:cNvSpPr>
            <a:spLocks noGrp="1"/>
          </p:cNvSpPr>
          <p:nvPr>
            <p:ph sz="quarter" idx="15" hasCustomPrompt="1"/>
          </p:nvPr>
        </p:nvSpPr>
        <p:spPr>
          <a:xfrm>
            <a:off x="381000" y="4962569"/>
            <a:ext cx="11430000" cy="1321981"/>
          </a:xfrm>
          <a:solidFill>
            <a:schemeClr val="bg1">
              <a:lumMod val="95000"/>
            </a:schemeClr>
          </a:solidFill>
          <a:ln>
            <a:solidFill>
              <a:schemeClr val="tx2"/>
            </a:solidFill>
          </a:ln>
        </p:spPr>
        <p:txBody>
          <a:bodyPr lIns="72000" tIns="36000" rIns="36000" bIns="36000"/>
          <a:lstStyle>
            <a:lvl1pPr marL="0" indent="0">
              <a:spcAft>
                <a:spcPts val="0"/>
              </a:spcAft>
              <a:buFontTx/>
              <a:buNone/>
              <a:defRPr>
                <a:latin typeface="Courier New" panose="02070309020205020404" pitchFamily="49" charset="0"/>
                <a:cs typeface="Courier New" panose="02070309020205020404" pitchFamily="49" charset="0"/>
              </a:defRPr>
            </a:lvl1pPr>
            <a:lvl2pPr marL="228600" indent="0">
              <a:buFontTx/>
              <a:buNone/>
              <a:defRPr>
                <a:latin typeface="Courier New" panose="02070309020205020404" pitchFamily="49" charset="0"/>
                <a:cs typeface="Courier New" panose="02070309020205020404" pitchFamily="49" charset="0"/>
              </a:defRPr>
            </a:lvl2pPr>
          </a:lstStyle>
          <a:p>
            <a:pPr lvl="0"/>
            <a:r>
              <a:rPr lang="en-US" dirty="0"/>
              <a:t>Place code here</a:t>
            </a:r>
          </a:p>
        </p:txBody>
      </p:sp>
    </p:spTree>
    <p:extLst>
      <p:ext uri="{BB962C8B-B14F-4D97-AF65-F5344CB8AC3E}">
        <p14:creationId xmlns:p14="http://schemas.microsoft.com/office/powerpoint/2010/main" val="4156162243"/>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Black1">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bwMode="blackGray">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784378"/>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b="0" i="0" kern="1200" spc="0" dirty="0">
                <a:solidFill>
                  <a:schemeClr val="tx1"/>
                </a:solidFill>
                <a:latin typeface="GT Sectra Fine Rg" panose="00000500000000000000" pitchFamily="50" charset="0"/>
                <a:ea typeface="+mn-ea"/>
                <a:cs typeface="+mn-cs"/>
              </a:defRPr>
            </a:lvl1pPr>
            <a:lvl2pPr marL="0" algn="ctr">
              <a:lnSpc>
                <a:spcPct val="90000"/>
              </a:lnSpc>
              <a:spcAft>
                <a:spcPts val="600"/>
              </a:spcAft>
              <a:defRPr lang="en-US" sz="2400" dirty="0" smtClean="0">
                <a:solidFill>
                  <a:srgbClr val="E6DCFF"/>
                </a:solidFill>
                <a:latin typeface="GT Sectra Fine Rg" panose="00000500000000000000" pitchFamily="50" charset="0"/>
              </a:defRPr>
            </a:lvl2pPr>
            <a:lvl3pPr marL="0" algn="ctr">
              <a:lnSpc>
                <a:spcPct val="90000"/>
              </a:lnSpc>
              <a:spcAft>
                <a:spcPts val="600"/>
              </a:spcAft>
              <a:defRPr lang="en-US" sz="2400" dirty="0" smtClean="0">
                <a:solidFill>
                  <a:srgbClr val="E6DCFF"/>
                </a:solidFill>
                <a:latin typeface="GT Sectra Fine Rg" panose="00000500000000000000" pitchFamily="50" charset="0"/>
              </a:defRPr>
            </a:lvl3pPr>
            <a:lvl4pPr marL="0" algn="ctr">
              <a:lnSpc>
                <a:spcPct val="90000"/>
              </a:lnSpc>
              <a:spcAft>
                <a:spcPts val="600"/>
              </a:spcAft>
              <a:defRPr lang="en-US" sz="2400" dirty="0" smtClean="0">
                <a:solidFill>
                  <a:srgbClr val="E6DCFF"/>
                </a:solidFill>
                <a:latin typeface="GT Sectra Fine Rg" panose="00000500000000000000" pitchFamily="50" charset="0"/>
              </a:defRPr>
            </a:lvl4pPr>
            <a:lvl5pPr marL="0" algn="ctr">
              <a:lnSpc>
                <a:spcPct val="90000"/>
              </a:lnSpc>
              <a:spcAft>
                <a:spcPts val="600"/>
              </a:spcAft>
              <a:defRPr lang="en-US" sz="2400" dirty="0">
                <a:solidFill>
                  <a:srgbClr val="E6DCFF"/>
                </a:solidFill>
                <a:latin typeface="GT Sectra Fine Rg" panose="00000500000000000000" pitchFamily="50" charset="0"/>
              </a:defRPr>
            </a:lvl5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dirty="0"/>
              <a:t>Place subtitle here in GT Sectra Fine </a:t>
            </a:r>
            <a:r>
              <a:rPr lang="en-US" dirty="0" err="1"/>
              <a:t>Rg</a:t>
            </a:r>
            <a:r>
              <a:rPr lang="en-US" dirty="0"/>
              <a:t> 24pt</a:t>
            </a:r>
          </a:p>
        </p:txBody>
      </p:sp>
      <p:sp>
        <p:nvSpPr>
          <p:cNvPr id="3" name="TextBox 2">
            <a:extLst>
              <a:ext uri="{FF2B5EF4-FFF2-40B4-BE49-F238E27FC236}">
                <a16:creationId xmlns:a16="http://schemas.microsoft.com/office/drawing/2014/main" id="{201D1C16-1E67-46BA-A7F0-31738E52069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spTree>
    <p:extLst>
      <p:ext uri="{BB962C8B-B14F-4D97-AF65-F5344CB8AC3E}">
        <p14:creationId xmlns:p14="http://schemas.microsoft.com/office/powerpoint/2010/main" val="260609151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Long Headline-subtitle and 1 Codebloc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dirty="0"/>
              <a:t>Place headline here (36pt, min 30pt)</a:t>
            </a:r>
            <a:endParaRPr lang="en-US" dirty="0"/>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0999" y="1955037"/>
            <a:ext cx="11430000" cy="2947926"/>
          </a:xfrm>
        </p:spPr>
        <p:txBody>
          <a:bodyPr/>
          <a:lstStyle/>
          <a:p>
            <a:pPr lvl="0"/>
            <a:r>
              <a:rPr lang="en-US" dirty="0"/>
              <a:t>Place text here</a:t>
            </a:r>
          </a:p>
          <a:p>
            <a:pPr lvl="1"/>
            <a:r>
              <a:rPr lang="en-US" dirty="0"/>
              <a:t>Second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dirty="0"/>
              <a:t>Place subtitle here 20pt</a:t>
            </a:r>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4 Accenture. All rights reserved.</a:t>
            </a:r>
            <a:endParaRPr lang="en-GB" dirty="0"/>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fld id="{1F90F471-3972-4120-B8B3-0237DE626C35}" type="slidenum">
              <a:rPr lang="en-US" smtClean="0"/>
              <a:pPr/>
              <a:t>‹Nr.›</a:t>
            </a:fld>
            <a:endParaRPr lang="en-US" dirty="0"/>
          </a:p>
        </p:txBody>
      </p:sp>
      <p:sp>
        <p:nvSpPr>
          <p:cNvPr id="11" name="Content Placeholder 7">
            <a:extLst>
              <a:ext uri="{FF2B5EF4-FFF2-40B4-BE49-F238E27FC236}">
                <a16:creationId xmlns:a16="http://schemas.microsoft.com/office/drawing/2014/main" id="{8E9C4C32-3E52-6232-24FD-F6D8737A9207}"/>
              </a:ext>
            </a:extLst>
          </p:cNvPr>
          <p:cNvSpPr>
            <a:spLocks noGrp="1"/>
          </p:cNvSpPr>
          <p:nvPr>
            <p:ph sz="quarter" idx="15" hasCustomPrompt="1"/>
          </p:nvPr>
        </p:nvSpPr>
        <p:spPr>
          <a:xfrm>
            <a:off x="381000" y="4962569"/>
            <a:ext cx="11430000" cy="1321981"/>
          </a:xfrm>
          <a:solidFill>
            <a:schemeClr val="bg1">
              <a:lumMod val="95000"/>
            </a:schemeClr>
          </a:solidFill>
          <a:ln>
            <a:solidFill>
              <a:schemeClr val="tx2"/>
            </a:solidFill>
          </a:ln>
        </p:spPr>
        <p:txBody>
          <a:bodyPr lIns="72000" tIns="36000" rIns="36000" bIns="36000"/>
          <a:lstStyle>
            <a:lvl1pPr marL="0" indent="0">
              <a:buFontTx/>
              <a:buNone/>
              <a:defRPr>
                <a:latin typeface="Courier New" panose="02070309020205020404" pitchFamily="49" charset="0"/>
                <a:cs typeface="Courier New" panose="02070309020205020404" pitchFamily="49" charset="0"/>
              </a:defRPr>
            </a:lvl1pPr>
            <a:lvl2pPr marL="228600" indent="0">
              <a:buFontTx/>
              <a:buNone/>
              <a:defRPr>
                <a:latin typeface="Courier New" panose="02070309020205020404" pitchFamily="49" charset="0"/>
                <a:cs typeface="Courier New" panose="02070309020205020404" pitchFamily="49" charset="0"/>
              </a:defRPr>
            </a:lvl2pPr>
          </a:lstStyle>
          <a:p>
            <a:pPr lvl="0"/>
            <a:r>
              <a:rPr lang="en-US" dirty="0"/>
              <a:t>Place code here</a:t>
            </a:r>
          </a:p>
        </p:txBody>
      </p:sp>
    </p:spTree>
    <p:extLst>
      <p:ext uri="{BB962C8B-B14F-4D97-AF65-F5344CB8AC3E}">
        <p14:creationId xmlns:p14="http://schemas.microsoft.com/office/powerpoint/2010/main" val="727875400"/>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1_Light - Blank">
    <p:spTree>
      <p:nvGrpSpPr>
        <p:cNvPr id="1" name=""/>
        <p:cNvGrpSpPr/>
        <p:nvPr/>
      </p:nvGrpSpPr>
      <p:grpSpPr>
        <a:xfrm>
          <a:off x="0" y="0"/>
          <a:ext cx="0" cy="0"/>
          <a:chOff x="0" y="0"/>
          <a:chExt cx="0" cy="0"/>
        </a:xfrm>
      </p:grpSpPr>
      <p:pic>
        <p:nvPicPr>
          <p:cNvPr id="6" name="OTag">
            <a:extLst>
              <a:ext uri="{FF2B5EF4-FFF2-40B4-BE49-F238E27FC236}">
                <a16:creationId xmlns:a16="http://schemas.microsoft.com/office/drawing/2014/main" id="{0F682282-A332-4D5C-89F4-38480EC33F4D}"/>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83112" y="6355080"/>
            <a:ext cx="502920" cy="502920"/>
          </a:xfrm>
          <a:prstGeom prst="rect">
            <a:avLst/>
          </a:prstGeom>
        </p:spPr>
      </p:pic>
      <p:pic>
        <p:nvPicPr>
          <p:cNvPr id="10" name="OTag">
            <a:extLst>
              <a:ext uri="{FF2B5EF4-FFF2-40B4-BE49-F238E27FC236}">
                <a16:creationId xmlns:a16="http://schemas.microsoft.com/office/drawing/2014/main" id="{00F1077A-D301-437A-8CE7-A0EA6CDECB51}"/>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83112" y="6355080"/>
            <a:ext cx="502920" cy="502920"/>
          </a:xfrm>
          <a:prstGeom prst="rect">
            <a:avLst/>
          </a:prstGeom>
        </p:spPr>
      </p:pic>
      <p:sp>
        <p:nvSpPr>
          <p:cNvPr id="3" name="Date Placeholder 2">
            <a:extLst>
              <a:ext uri="{FF2B5EF4-FFF2-40B4-BE49-F238E27FC236}">
                <a16:creationId xmlns:a16="http://schemas.microsoft.com/office/drawing/2014/main" id="{B6E29D2F-E9BE-442D-8048-30D82B0FA2D2}"/>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4249E66D-873C-4E3D-B665-952DA3AD6CCF}"/>
              </a:ext>
            </a:extLst>
          </p:cNvPr>
          <p:cNvSpPr>
            <a:spLocks noGrp="1"/>
          </p:cNvSpPr>
          <p:nvPr>
            <p:ph type="ftr" sz="quarter" idx="11"/>
          </p:nvPr>
        </p:nvSpPr>
        <p:spPr/>
        <p:txBody>
          <a:bodyPr/>
          <a:lstStyle/>
          <a:p>
            <a:r>
              <a:rPr lang="en-US"/>
              <a:t>Copyright © 2024 Accenture. All rights reserved.</a:t>
            </a:r>
            <a:endParaRPr lang="en-US" dirty="0"/>
          </a:p>
        </p:txBody>
      </p:sp>
      <p:sp>
        <p:nvSpPr>
          <p:cNvPr id="5" name="Slide Number Placeholder 4">
            <a:extLst>
              <a:ext uri="{FF2B5EF4-FFF2-40B4-BE49-F238E27FC236}">
                <a16:creationId xmlns:a16="http://schemas.microsoft.com/office/drawing/2014/main" id="{B52D4C26-D77F-4F76-BA95-32055FEC61F8}"/>
              </a:ext>
            </a:extLst>
          </p:cNvPr>
          <p:cNvSpPr>
            <a:spLocks noGrp="1"/>
          </p:cNvSpPr>
          <p:nvPr>
            <p:ph type="sldNum" sz="quarter" idx="12"/>
          </p:nvPr>
        </p:nvSpPr>
        <p:spPr/>
        <p:txBody>
          <a:bodyPr/>
          <a:lstStyle/>
          <a:p>
            <a:fld id="{345D60D9-5372-5F40-9443-0F9AE5BDC3C8}" type="slidenum">
              <a:rPr lang="en-US" smtClean="0"/>
              <a:pPr/>
              <a:t>‹Nr.›</a:t>
            </a:fld>
            <a:endParaRPr lang="en-US" dirty="0"/>
          </a:p>
        </p:txBody>
      </p:sp>
    </p:spTree>
    <p:extLst>
      <p:ext uri="{BB962C8B-B14F-4D97-AF65-F5344CB8AC3E}">
        <p14:creationId xmlns:p14="http://schemas.microsoft.com/office/powerpoint/2010/main" val="3648110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Black2">
    <p:bg>
      <p:bgPr>
        <a:solidFill>
          <a:schemeClr val="accent3"/>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764EB37-3299-4AEF-9398-9D9C84AB73F2}"/>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dirty="0"/>
              <a:t>Place presentation title here 48pt</a:t>
            </a:r>
          </a:p>
        </p:txBody>
      </p:sp>
      <p:sp>
        <p:nvSpPr>
          <p:cNvPr id="15" name="Date Placeholder 10">
            <a:extLst>
              <a:ext uri="{FF2B5EF4-FFF2-40B4-BE49-F238E27FC236}">
                <a16:creationId xmlns:a16="http://schemas.microsoft.com/office/drawing/2014/main" id="{C1D8BA10-E028-4E4B-A19C-12B864B01021}"/>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17" name="Text Placeholder 16">
            <a:extLst>
              <a:ext uri="{FF2B5EF4-FFF2-40B4-BE49-F238E27FC236}">
                <a16:creationId xmlns:a16="http://schemas.microsoft.com/office/drawing/2014/main" id="{A09D55F2-CAE5-4C0F-8D54-A28CECDB9398}"/>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9" name="Text Placeholder 15">
            <a:extLst>
              <a:ext uri="{FF2B5EF4-FFF2-40B4-BE49-F238E27FC236}">
                <a16:creationId xmlns:a16="http://schemas.microsoft.com/office/drawing/2014/main" id="{3AA97401-81EE-4280-A94C-955E96B00594}"/>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GT Sectra Fine Rg" panose="00000500000000000000" pitchFamily="50" charset="0"/>
              </a:defRPr>
            </a:lvl2pPr>
            <a:lvl3pPr marL="0" algn="ctr">
              <a:lnSpc>
                <a:spcPct val="90000"/>
              </a:lnSpc>
              <a:spcAft>
                <a:spcPts val="600"/>
              </a:spcAft>
              <a:defRPr lang="en-US" sz="2400" dirty="0" smtClean="0">
                <a:solidFill>
                  <a:srgbClr val="E6DCFF"/>
                </a:solidFill>
                <a:latin typeface="GT Sectra Fine Rg" panose="00000500000000000000" pitchFamily="50" charset="0"/>
              </a:defRPr>
            </a:lvl3pPr>
            <a:lvl4pPr marL="0" algn="ctr">
              <a:lnSpc>
                <a:spcPct val="90000"/>
              </a:lnSpc>
              <a:spcAft>
                <a:spcPts val="600"/>
              </a:spcAft>
              <a:defRPr lang="en-US" sz="2400" dirty="0" smtClean="0">
                <a:solidFill>
                  <a:srgbClr val="E6DCFF"/>
                </a:solidFill>
                <a:latin typeface="GT Sectra Fine Rg" panose="00000500000000000000" pitchFamily="50" charset="0"/>
              </a:defRPr>
            </a:lvl4pPr>
            <a:lvl5pPr marL="0" algn="ctr">
              <a:lnSpc>
                <a:spcPct val="90000"/>
              </a:lnSpc>
              <a:spcAft>
                <a:spcPts val="600"/>
              </a:spcAft>
              <a:defRPr lang="en-US" sz="2400" dirty="0">
                <a:solidFill>
                  <a:srgbClr val="E6DCFF"/>
                </a:solidFill>
                <a:latin typeface="GT Sectra Fine Rg" panose="00000500000000000000" pitchFamily="50" charset="0"/>
              </a:defRPr>
            </a:lvl5pPr>
          </a:lstStyle>
          <a:p>
            <a:pPr marL="228600" lvl="0" indent="-228600" defTabSz="914400">
              <a:spcAft>
                <a:spcPts val="0"/>
              </a:spcAft>
            </a:pPr>
            <a:r>
              <a:rPr lang="en-US" dirty="0"/>
              <a:t>Place subtitle here in GT Sectra Fine </a:t>
            </a:r>
            <a:r>
              <a:rPr lang="en-US" dirty="0" err="1"/>
              <a:t>Rg</a:t>
            </a:r>
            <a:r>
              <a:rPr lang="en-US" dirty="0"/>
              <a:t> 24pt</a:t>
            </a:r>
          </a:p>
        </p:txBody>
      </p:sp>
      <p:sp>
        <p:nvSpPr>
          <p:cNvPr id="4" name="TextBox 3">
            <a:extLst>
              <a:ext uri="{FF2B5EF4-FFF2-40B4-BE49-F238E27FC236}">
                <a16:creationId xmlns:a16="http://schemas.microsoft.com/office/drawing/2014/main" id="{8DDC0C86-80A9-481C-A2D5-6F509B89192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sp>
        <p:nvSpPr>
          <p:cNvPr id="8" name="GTS_WH" descr="Accenture Greater Than symbol in white">
            <a:extLst>
              <a:ext uri="{FF2B5EF4-FFF2-40B4-BE49-F238E27FC236}">
                <a16:creationId xmlns:a16="http://schemas.microsoft.com/office/drawing/2014/main" id="{C703F910-26EC-4B07-B522-B28DEB82C3EA}"/>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25734830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05" userDrawn="1">
          <p15:clr>
            <a:srgbClr val="C35EA4"/>
          </p15:clr>
        </p15:guide>
        <p15:guide id="2" pos="3840" userDrawn="1">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Black3">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E55EA4F-E473-41EF-9E00-3D69D5F1AE67}"/>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dirty="0"/>
              <a:t>Place presentation title here 48pt</a:t>
            </a:r>
          </a:p>
        </p:txBody>
      </p:sp>
      <p:sp>
        <p:nvSpPr>
          <p:cNvPr id="6" name="Date Placeholder 10">
            <a:extLst>
              <a:ext uri="{FF2B5EF4-FFF2-40B4-BE49-F238E27FC236}">
                <a16:creationId xmlns:a16="http://schemas.microsoft.com/office/drawing/2014/main" id="{0AF5D71E-5FA3-4080-B28F-B3110AB34D48}"/>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7" name="Text Placeholder 16">
            <a:extLst>
              <a:ext uri="{FF2B5EF4-FFF2-40B4-BE49-F238E27FC236}">
                <a16:creationId xmlns:a16="http://schemas.microsoft.com/office/drawing/2014/main" id="{51481AAC-1471-4278-A104-D559B82B527A}"/>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6" name="Text Placeholder 15">
            <a:extLst>
              <a:ext uri="{FF2B5EF4-FFF2-40B4-BE49-F238E27FC236}">
                <a16:creationId xmlns:a16="http://schemas.microsoft.com/office/drawing/2014/main" id="{0BEB3B30-172A-47BC-8F00-43F601E1F872}"/>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GT Sectra Fine Rg" panose="00000500000000000000" pitchFamily="50" charset="0"/>
              </a:defRPr>
            </a:lvl2pPr>
            <a:lvl3pPr marL="0" algn="ctr">
              <a:lnSpc>
                <a:spcPct val="90000"/>
              </a:lnSpc>
              <a:spcAft>
                <a:spcPts val="600"/>
              </a:spcAft>
              <a:defRPr lang="en-US" sz="2400" dirty="0" smtClean="0">
                <a:solidFill>
                  <a:srgbClr val="E6DCFF"/>
                </a:solidFill>
                <a:latin typeface="GT Sectra Fine Rg" panose="00000500000000000000" pitchFamily="50" charset="0"/>
              </a:defRPr>
            </a:lvl3pPr>
            <a:lvl4pPr marL="0" algn="ctr">
              <a:lnSpc>
                <a:spcPct val="90000"/>
              </a:lnSpc>
              <a:spcAft>
                <a:spcPts val="600"/>
              </a:spcAft>
              <a:defRPr lang="en-US" sz="2400" dirty="0" smtClean="0">
                <a:solidFill>
                  <a:srgbClr val="E6DCFF"/>
                </a:solidFill>
                <a:latin typeface="GT Sectra Fine Rg" panose="00000500000000000000" pitchFamily="50" charset="0"/>
              </a:defRPr>
            </a:lvl4pPr>
            <a:lvl5pPr marL="0" algn="ctr">
              <a:lnSpc>
                <a:spcPct val="90000"/>
              </a:lnSpc>
              <a:spcAft>
                <a:spcPts val="600"/>
              </a:spcAft>
              <a:defRPr lang="en-US" sz="2400" dirty="0">
                <a:solidFill>
                  <a:srgbClr val="E6DCFF"/>
                </a:solidFill>
                <a:latin typeface="GT Sectra Fine Rg" panose="00000500000000000000" pitchFamily="50" charset="0"/>
              </a:defRPr>
            </a:lvl5pPr>
          </a:lstStyle>
          <a:p>
            <a:pPr marL="228600" lvl="0" indent="-228600" defTabSz="914400">
              <a:spcAft>
                <a:spcPts val="0"/>
              </a:spcAft>
            </a:pPr>
            <a:r>
              <a:rPr lang="en-US" dirty="0"/>
              <a:t>Place subtitle here in GT Sectra Fine </a:t>
            </a:r>
            <a:r>
              <a:rPr lang="en-US" dirty="0" err="1"/>
              <a:t>Rg</a:t>
            </a:r>
            <a:r>
              <a:rPr lang="en-US" dirty="0"/>
              <a:t> 24pt</a:t>
            </a:r>
          </a:p>
        </p:txBody>
      </p:sp>
      <p:sp>
        <p:nvSpPr>
          <p:cNvPr id="2" name="TextBox 1">
            <a:extLst>
              <a:ext uri="{FF2B5EF4-FFF2-40B4-BE49-F238E27FC236}">
                <a16:creationId xmlns:a16="http://schemas.microsoft.com/office/drawing/2014/main" id="{E0481612-058D-4A52-B93E-53E75F305C8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C6212C50-BB96-4C0C-BC89-2B3C8082149D}"/>
              </a:ext>
            </a:extLst>
          </p:cNvPr>
          <p:cNvGrpSpPr>
            <a:grpSpLocks noChangeAspect="1"/>
          </p:cNvGrpSpPr>
          <p:nvPr userDrawn="1"/>
        </p:nvGrpSpPr>
        <p:grpSpPr bwMode="black">
          <a:xfrm>
            <a:off x="5154167" y="5374201"/>
            <a:ext cx="1883664" cy="496247"/>
            <a:chOff x="1561" y="187"/>
            <a:chExt cx="4536" cy="1195"/>
          </a:xfrm>
        </p:grpSpPr>
        <p:sp>
          <p:nvSpPr>
            <p:cNvPr id="10" name="Freeform 5">
              <a:extLst>
                <a:ext uri="{FF2B5EF4-FFF2-40B4-BE49-F238E27FC236}">
                  <a16:creationId xmlns:a16="http://schemas.microsoft.com/office/drawing/2014/main" id="{5A65B91D-87CB-4DC8-B4B1-CE82A8E5C6F8}"/>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E102C68A-98DA-4EBB-AAFF-D0C6E56ADE1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4305390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6" userDrawn="1">
          <p15:clr>
            <a:srgbClr val="C35EA4"/>
          </p15:clr>
        </p15:guide>
        <p15:guide id="2" pos="3840" userDrawn="1">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Black4">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dirty="0"/>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rgbClr val="E6DCFF"/>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dirty="0"/>
              <a:t>Place subtitle here in GT Sectra Fine </a:t>
            </a:r>
            <a:r>
              <a:rPr lang="en-US" dirty="0" err="1"/>
              <a:t>Rg</a:t>
            </a:r>
            <a:r>
              <a:rPr lang="en-US" dirty="0"/>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4" name="TextBox 3">
            <a:extLst>
              <a:ext uri="{FF2B5EF4-FFF2-40B4-BE49-F238E27FC236}">
                <a16:creationId xmlns:a16="http://schemas.microsoft.com/office/drawing/2014/main" id="{EEDFBD97-7A23-4453-9DFC-F825350AF9B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1A7501AC-E717-4CB3-89D9-DEE7B06E1876}"/>
              </a:ext>
            </a:extLst>
          </p:cNvPr>
          <p:cNvGrpSpPr>
            <a:grpSpLocks noChangeAspect="1"/>
          </p:cNvGrpSpPr>
          <p:nvPr userDrawn="1"/>
        </p:nvGrpSpPr>
        <p:grpSpPr bwMode="black">
          <a:xfrm>
            <a:off x="9153213" y="5815652"/>
            <a:ext cx="1883664" cy="496247"/>
            <a:chOff x="1561" y="187"/>
            <a:chExt cx="4536" cy="1195"/>
          </a:xfrm>
        </p:grpSpPr>
        <p:sp>
          <p:nvSpPr>
            <p:cNvPr id="10" name="Freeform 5">
              <a:extLst>
                <a:ext uri="{FF2B5EF4-FFF2-40B4-BE49-F238E27FC236}">
                  <a16:creationId xmlns:a16="http://schemas.microsoft.com/office/drawing/2014/main" id="{E84F1646-52FE-4716-AED1-FE252A8E05E4}"/>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5FBA828-A6EE-4CDC-A2F1-52C5DC0E3C3F}"/>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7856295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Black5 Image">
    <p:bg>
      <p:bgPr>
        <a:solidFill>
          <a:schemeClr val="accent3"/>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dirty="0"/>
              <a:t>Place subtitle here in GT Sectra Fine </a:t>
            </a:r>
            <a:r>
              <a:rPr lang="en-US" dirty="0" err="1"/>
              <a:t>Rg</a:t>
            </a:r>
            <a:r>
              <a:rPr lang="en-US" dirty="0"/>
              <a:t>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sp>
        <p:nvSpPr>
          <p:cNvPr id="9" name="GTS_WH" descr="Accenture Greater Than symbol in white">
            <a:extLst>
              <a:ext uri="{FF2B5EF4-FFF2-40B4-BE49-F238E27FC236}">
                <a16:creationId xmlns:a16="http://schemas.microsoft.com/office/drawing/2014/main" id="{08C622A3-6AC3-418E-A8AE-75B117754CFC}"/>
              </a:ext>
            </a:extLst>
          </p:cNvPr>
          <p:cNvSpPr>
            <a:spLocks noChangeAspect="1"/>
          </p:cNvSpPr>
          <p:nvPr userDrawn="1"/>
        </p:nvSpPr>
        <p:spPr bwMode="white">
          <a:xfrm>
            <a:off x="381001" y="560781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7726582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dirty="0"/>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dirty="0"/>
              <a:t>First level (bullet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dirty="0"/>
          </a:p>
        </p:txBody>
      </p:sp>
      <p:sp>
        <p:nvSpPr>
          <p:cNvPr id="10" name="Footer Placeholder 3">
            <a:extLst>
              <a:ext uri="{FF2B5EF4-FFF2-40B4-BE49-F238E27FC236}">
                <a16:creationId xmlns:a16="http://schemas.microsoft.com/office/drawing/2014/main" id="{9624E0B2-760E-457A-8367-213CE89D65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4 Accenture. All rights reserved.</a:t>
            </a:r>
            <a:endParaRPr lang="en-GB" dirty="0"/>
          </a:p>
        </p:txBody>
      </p:sp>
      <p:sp>
        <p:nvSpPr>
          <p:cNvPr id="9" name="GTS_Purple" descr="Accenture Greater Than symbol in purple">
            <a:extLst>
              <a:ext uri="{FF2B5EF4-FFF2-40B4-BE49-F238E27FC236}">
                <a16:creationId xmlns:a16="http://schemas.microsoft.com/office/drawing/2014/main" id="{AE0355C2-058C-4310-9508-BCC0F498FBBE}"/>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Nr.›</a:t>
            </a:fld>
            <a:endParaRPr lang="en-US" dirty="0"/>
          </a:p>
        </p:txBody>
      </p:sp>
    </p:spTree>
    <p:extLst>
      <p:ext uri="{BB962C8B-B14F-4D97-AF65-F5344CB8AC3E}">
        <p14:creationId xmlns:p14="http://schemas.microsoft.com/office/powerpoint/2010/main" val="1195103446"/>
      </p:ext>
    </p:extLst>
  </p:cSld>
  <p:clrMap bg1="lt1" tx1="dk1" bg2="lt2" tx2="dk2" accent1="accent1" accent2="accent2" accent3="accent3" accent4="accent4" accent5="accent5" accent6="accent6" hlink="hlink" folHlink="folHlink"/>
  <p:sldLayoutIdLst>
    <p:sldLayoutId id="2147483666" r:id="rId1"/>
    <p:sldLayoutId id="2147483729" r:id="rId2"/>
    <p:sldLayoutId id="2147483682" r:id="rId3"/>
    <p:sldLayoutId id="2147483734" r:id="rId4"/>
    <p:sldLayoutId id="2147483728" r:id="rId5"/>
    <p:sldLayoutId id="2147483733" r:id="rId6"/>
    <p:sldLayoutId id="2147483730" r:id="rId7"/>
    <p:sldLayoutId id="2147483681" r:id="rId8"/>
    <p:sldLayoutId id="2147483732" r:id="rId9"/>
    <p:sldLayoutId id="2147483731" r:id="rId10"/>
    <p:sldLayoutId id="2147483750" r:id="rId11"/>
    <p:sldLayoutId id="2147483649" r:id="rId12"/>
    <p:sldLayoutId id="2147483759" r:id="rId13"/>
    <p:sldLayoutId id="2147483760" r:id="rId14"/>
    <p:sldLayoutId id="2147483746" r:id="rId15"/>
    <p:sldLayoutId id="2147483751" r:id="rId16"/>
    <p:sldLayoutId id="2147483752" r:id="rId17"/>
    <p:sldLayoutId id="2147483748" r:id="rId18"/>
    <p:sldLayoutId id="2147483651" r:id="rId19"/>
    <p:sldLayoutId id="2147483721" r:id="rId20"/>
    <p:sldLayoutId id="2147483739" r:id="rId21"/>
    <p:sldLayoutId id="2147483737" r:id="rId22"/>
    <p:sldLayoutId id="2147483742" r:id="rId23"/>
    <p:sldLayoutId id="2147483724" r:id="rId24"/>
    <p:sldLayoutId id="2147483723" r:id="rId25"/>
    <p:sldLayoutId id="2147483725" r:id="rId26"/>
    <p:sldLayoutId id="2147483755" r:id="rId27"/>
    <p:sldLayoutId id="2147483757" r:id="rId28"/>
    <p:sldLayoutId id="2147483673" r:id="rId29"/>
    <p:sldLayoutId id="2147483653" r:id="rId30"/>
    <p:sldLayoutId id="2147483722" r:id="rId31"/>
    <p:sldLayoutId id="2147483693" r:id="rId32"/>
    <p:sldLayoutId id="2147483701" r:id="rId33"/>
    <p:sldLayoutId id="2147483668" r:id="rId34"/>
    <p:sldLayoutId id="2147483707" r:id="rId35"/>
    <p:sldLayoutId id="2147483714" r:id="rId36"/>
    <p:sldLayoutId id="2147483657" r:id="rId37"/>
    <p:sldLayoutId id="2147483679" r:id="rId38"/>
    <p:sldLayoutId id="2147483661" r:id="rId39"/>
    <p:sldLayoutId id="2147483754" r:id="rId40"/>
    <p:sldLayoutId id="2147483678" r:id="rId41"/>
    <p:sldLayoutId id="2147483663" r:id="rId42"/>
    <p:sldLayoutId id="2147483667" r:id="rId43"/>
    <p:sldLayoutId id="2147483726" r:id="rId44"/>
    <p:sldLayoutId id="2147483688" r:id="rId45"/>
    <p:sldLayoutId id="2147483655" r:id="rId46"/>
    <p:sldLayoutId id="2147483745" r:id="rId47"/>
    <p:sldLayoutId id="2147483741" r:id="rId48"/>
    <p:sldLayoutId id="2147483761" r:id="rId49"/>
    <p:sldLayoutId id="2147483762" r:id="rId50"/>
    <p:sldLayoutId id="2147483763" r:id="rId51"/>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userDrawn="1">
          <p15:clr>
            <a:srgbClr val="C35EA4"/>
          </p15:clr>
        </p15:guide>
        <p15:guide id="2" orient="horz" pos="3976" userDrawn="1">
          <p15:clr>
            <a:srgbClr val="C35EA4"/>
          </p15:clr>
        </p15:guide>
        <p15:guide id="3" pos="240" userDrawn="1">
          <p15:clr>
            <a:srgbClr val="C35EA4"/>
          </p15:clr>
        </p15:guide>
        <p15:guide id="4" pos="7440" userDrawn="1">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Layout" Target="../slideLayouts/slideLayout23.xml"/><Relationship Id="rId5" Type="http://schemas.openxmlformats.org/officeDocument/2006/relationships/image" Target="../media/image46.svg"/><Relationship Id="rId4" Type="http://schemas.openxmlformats.org/officeDocument/2006/relationships/image" Target="../media/image45.png"/></Relationships>
</file>

<file path=ppt/slides/_rels/slide1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50.xml"/></Relationships>
</file>

<file path=ppt/slides/_rels/slide1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28.xml"/><Relationship Id="rId6" Type="http://schemas.openxmlformats.org/officeDocument/2006/relationships/image" Target="../media/image18.png"/><Relationship Id="rId5" Type="http://schemas.openxmlformats.org/officeDocument/2006/relationships/image" Target="../media/image17.jpeg"/><Relationship Id="rId4" Type="http://schemas.openxmlformats.org/officeDocument/2006/relationships/image" Target="../media/image16.png"/></Relationships>
</file>

<file path=ppt/slides/_rels/slide2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5.png"/><Relationship Id="rId7" Type="http://schemas.openxmlformats.org/officeDocument/2006/relationships/image" Target="../media/image23.png"/><Relationship Id="rId2" Type="http://schemas.openxmlformats.org/officeDocument/2006/relationships/image" Target="../media/image21.jpeg"/><Relationship Id="rId1" Type="http://schemas.openxmlformats.org/officeDocument/2006/relationships/slideLayout" Target="../slideLayouts/slideLayout28.xml"/><Relationship Id="rId6" Type="http://schemas.openxmlformats.org/officeDocument/2006/relationships/image" Target="../media/image22.png"/><Relationship Id="rId5" Type="http://schemas.openxmlformats.org/officeDocument/2006/relationships/image" Target="../media/image17.jpeg"/><Relationship Id="rId10" Type="http://schemas.openxmlformats.org/officeDocument/2006/relationships/image" Target="../media/image26.png"/><Relationship Id="rId4" Type="http://schemas.openxmlformats.org/officeDocument/2006/relationships/image" Target="../media/image16.png"/><Relationship Id="rId9" Type="http://schemas.openxmlformats.org/officeDocument/2006/relationships/image" Target="../media/image25.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2" Type="http://schemas.openxmlformats.org/officeDocument/2006/relationships/hyperlink" Target="https://www.oracle.com/security/cloud-security/cloud-guard/get-started/" TargetMode="External"/><Relationship Id="rId1" Type="http://schemas.openxmlformats.org/officeDocument/2006/relationships/slideLayout" Target="../slideLayouts/slideLayout2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hyperlink" Target="http://acenomination.oracle.com/" TargetMode="External"/><Relationship Id="rId7" Type="http://schemas.openxmlformats.org/officeDocument/2006/relationships/image" Target="../media/image30.png"/><Relationship Id="rId2" Type="http://schemas.openxmlformats.org/officeDocument/2006/relationships/image" Target="../media/image27.jpeg"/><Relationship Id="rId1" Type="http://schemas.openxmlformats.org/officeDocument/2006/relationships/slideLayout" Target="../slideLayouts/slideLayout51.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hyperlink" Target="bit.ly/OracleACEProgram" TargetMode="External"/><Relationship Id="rId9" Type="http://schemas.openxmlformats.org/officeDocument/2006/relationships/image" Target="../media/image32.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37.jpeg"/><Relationship Id="rId2" Type="http://schemas.openxmlformats.org/officeDocument/2006/relationships/slideLayout" Target="../slideLayouts/slideLayout42.xml"/><Relationship Id="rId1" Type="http://schemas.openxmlformats.org/officeDocument/2006/relationships/tags" Target="../tags/tag1.xml"/><Relationship Id="rId6" Type="http://schemas.openxmlformats.org/officeDocument/2006/relationships/image" Target="../media/image36.jpeg"/><Relationship Id="rId5" Type="http://schemas.openxmlformats.org/officeDocument/2006/relationships/image" Target="../media/image35.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Layout" Target="../slideLayouts/slideLayout23.xml"/><Relationship Id="rId5" Type="http://schemas.openxmlformats.org/officeDocument/2006/relationships/image" Target="../media/image42.png"/><Relationship Id="rId4" Type="http://schemas.openxmlformats.org/officeDocument/2006/relationships/image" Target="../media/image4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DFB5035-7C72-43BF-A8DB-A7280ED54461}"/>
              </a:ext>
            </a:extLst>
          </p:cNvPr>
          <p:cNvSpPr>
            <a:spLocks noGrp="1"/>
          </p:cNvSpPr>
          <p:nvPr>
            <p:ph type="ctrTitle"/>
          </p:nvPr>
        </p:nvSpPr>
        <p:spPr bwMode="white">
          <a:xfrm>
            <a:off x="381000" y="1429154"/>
            <a:ext cx="7571197" cy="2255710"/>
          </a:xfrm>
        </p:spPr>
        <p:txBody>
          <a:bodyPr/>
          <a:lstStyle/>
          <a:p>
            <a:r>
              <a:rPr lang="en-US" dirty="0"/>
              <a:t>Oracle Cloud Infrastructure Security</a:t>
            </a:r>
          </a:p>
        </p:txBody>
      </p:sp>
      <p:sp>
        <p:nvSpPr>
          <p:cNvPr id="6" name="Subtitle 5">
            <a:extLst>
              <a:ext uri="{FF2B5EF4-FFF2-40B4-BE49-F238E27FC236}">
                <a16:creationId xmlns:a16="http://schemas.microsoft.com/office/drawing/2014/main" id="{61244AFF-6411-4B84-BA88-9244C012597F}"/>
              </a:ext>
            </a:extLst>
          </p:cNvPr>
          <p:cNvSpPr>
            <a:spLocks noGrp="1"/>
          </p:cNvSpPr>
          <p:nvPr>
            <p:ph type="body" sz="quarter" idx="13"/>
          </p:nvPr>
        </p:nvSpPr>
        <p:spPr bwMode="white"/>
        <p:txBody>
          <a:bodyPr/>
          <a:lstStyle/>
          <a:p>
            <a:r>
              <a:rPr lang="en-US" dirty="0"/>
              <a:t>Der Praxis Workshop</a:t>
            </a:r>
          </a:p>
        </p:txBody>
      </p:sp>
      <p:sp>
        <p:nvSpPr>
          <p:cNvPr id="5" name="Text Placeholder 4">
            <a:extLst>
              <a:ext uri="{FF2B5EF4-FFF2-40B4-BE49-F238E27FC236}">
                <a16:creationId xmlns:a16="http://schemas.microsoft.com/office/drawing/2014/main" id="{3519C304-423F-4288-926C-47BD259C6706}"/>
              </a:ext>
            </a:extLst>
          </p:cNvPr>
          <p:cNvSpPr>
            <a:spLocks noGrp="1"/>
          </p:cNvSpPr>
          <p:nvPr>
            <p:ph type="body" sz="quarter" idx="12"/>
          </p:nvPr>
        </p:nvSpPr>
        <p:spPr bwMode="white"/>
        <p:txBody>
          <a:bodyPr/>
          <a:lstStyle/>
          <a:p>
            <a:r>
              <a:rPr lang="de-CH" dirty="0"/>
              <a:t>Martin Berger</a:t>
            </a:r>
          </a:p>
          <a:p>
            <a:r>
              <a:rPr lang="de-CH" dirty="0"/>
              <a:t>Stefan Oehrli</a:t>
            </a:r>
            <a:endParaRPr lang="en-US" dirty="0"/>
          </a:p>
        </p:txBody>
      </p:sp>
    </p:spTree>
    <p:extLst>
      <p:ext uri="{BB962C8B-B14F-4D97-AF65-F5344CB8AC3E}">
        <p14:creationId xmlns:p14="http://schemas.microsoft.com/office/powerpoint/2010/main" val="2171935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Rechteck: abgerundete Ecken 150">
            <a:extLst>
              <a:ext uri="{FF2B5EF4-FFF2-40B4-BE49-F238E27FC236}">
                <a16:creationId xmlns:a16="http://schemas.microsoft.com/office/drawing/2014/main" id="{AAA75DA5-205D-8B67-CC06-ED2FC29D3F6E}"/>
              </a:ext>
            </a:extLst>
          </p:cNvPr>
          <p:cNvSpPr/>
          <p:nvPr/>
        </p:nvSpPr>
        <p:spPr>
          <a:xfrm>
            <a:off x="896823" y="4291408"/>
            <a:ext cx="9991400" cy="89739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de-CH" dirty="0" err="1"/>
          </a:p>
        </p:txBody>
      </p:sp>
      <p:sp>
        <p:nvSpPr>
          <p:cNvPr id="150" name="Rechteck: abgerundete Ecken 149">
            <a:extLst>
              <a:ext uri="{FF2B5EF4-FFF2-40B4-BE49-F238E27FC236}">
                <a16:creationId xmlns:a16="http://schemas.microsoft.com/office/drawing/2014/main" id="{450657BD-6E58-F923-314E-54F28EA41D52}"/>
              </a:ext>
            </a:extLst>
          </p:cNvPr>
          <p:cNvSpPr/>
          <p:nvPr/>
        </p:nvSpPr>
        <p:spPr>
          <a:xfrm>
            <a:off x="896823" y="3246770"/>
            <a:ext cx="9991400" cy="89739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de-CH" dirty="0" err="1"/>
          </a:p>
        </p:txBody>
      </p:sp>
      <p:sp>
        <p:nvSpPr>
          <p:cNvPr id="149" name="Rechteck: abgerundete Ecken 148">
            <a:extLst>
              <a:ext uri="{FF2B5EF4-FFF2-40B4-BE49-F238E27FC236}">
                <a16:creationId xmlns:a16="http://schemas.microsoft.com/office/drawing/2014/main" id="{A044DCEB-96B6-210D-981C-F4899AD4555C}"/>
              </a:ext>
            </a:extLst>
          </p:cNvPr>
          <p:cNvSpPr/>
          <p:nvPr/>
        </p:nvSpPr>
        <p:spPr>
          <a:xfrm>
            <a:off x="923544" y="2230020"/>
            <a:ext cx="9991400" cy="89739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de-CH" dirty="0" err="1"/>
          </a:p>
        </p:txBody>
      </p:sp>
      <p:sp>
        <p:nvSpPr>
          <p:cNvPr id="2" name="Titel 1">
            <a:extLst>
              <a:ext uri="{FF2B5EF4-FFF2-40B4-BE49-F238E27FC236}">
                <a16:creationId xmlns:a16="http://schemas.microsoft.com/office/drawing/2014/main" id="{213892F5-3C17-FE9A-5689-39C543E59B30}"/>
              </a:ext>
            </a:extLst>
          </p:cNvPr>
          <p:cNvSpPr>
            <a:spLocks noGrp="1"/>
          </p:cNvSpPr>
          <p:nvPr>
            <p:ph type="title"/>
          </p:nvPr>
        </p:nvSpPr>
        <p:spPr/>
        <p:txBody>
          <a:bodyPr/>
          <a:lstStyle/>
          <a:p>
            <a:r>
              <a:rPr lang="de-CH" dirty="0" err="1"/>
              <a:t>How</a:t>
            </a:r>
            <a:r>
              <a:rPr lang="de-CH" dirty="0"/>
              <a:t> Cloud </a:t>
            </a:r>
            <a:r>
              <a:rPr lang="de-CH" dirty="0" err="1"/>
              <a:t>Guard</a:t>
            </a:r>
            <a:r>
              <a:rPr lang="de-CH" dirty="0"/>
              <a:t> </a:t>
            </a:r>
            <a:r>
              <a:rPr lang="de-CH" dirty="0" err="1"/>
              <a:t>works</a:t>
            </a:r>
            <a:endParaRPr lang="de-CH" dirty="0"/>
          </a:p>
        </p:txBody>
      </p:sp>
      <p:sp>
        <p:nvSpPr>
          <p:cNvPr id="4" name="Fußzeilenplatzhalter 3">
            <a:extLst>
              <a:ext uri="{FF2B5EF4-FFF2-40B4-BE49-F238E27FC236}">
                <a16:creationId xmlns:a16="http://schemas.microsoft.com/office/drawing/2014/main" id="{87899C05-2C55-1E2A-3A6C-10A57A754724}"/>
              </a:ext>
            </a:extLst>
          </p:cNvPr>
          <p:cNvSpPr>
            <a:spLocks noGrp="1"/>
          </p:cNvSpPr>
          <p:nvPr>
            <p:ph type="ftr" sz="quarter" idx="3"/>
          </p:nvPr>
        </p:nvSpPr>
        <p:spPr/>
        <p:txBody>
          <a:bodyPr/>
          <a:lstStyle/>
          <a:p>
            <a:pPr algn="r" defTabSz="228600">
              <a:spcAft>
                <a:spcPts val="1200"/>
              </a:spcAft>
              <a:defRPr/>
            </a:pPr>
            <a:r>
              <a:rPr lang="en-GB" dirty="0"/>
              <a:t>Copyright © 2024 Accenture. All rights reserved.</a:t>
            </a:r>
          </a:p>
        </p:txBody>
      </p:sp>
      <p:sp>
        <p:nvSpPr>
          <p:cNvPr id="5" name="Foliennummernplatzhalter 4">
            <a:extLst>
              <a:ext uri="{FF2B5EF4-FFF2-40B4-BE49-F238E27FC236}">
                <a16:creationId xmlns:a16="http://schemas.microsoft.com/office/drawing/2014/main" id="{5A070E27-4156-5808-89A1-6AAF14586D0E}"/>
              </a:ext>
            </a:extLst>
          </p:cNvPr>
          <p:cNvSpPr>
            <a:spLocks noGrp="1"/>
          </p:cNvSpPr>
          <p:nvPr>
            <p:ph type="sldNum" sz="quarter" idx="11"/>
          </p:nvPr>
        </p:nvSpPr>
        <p:spPr/>
        <p:txBody>
          <a:bodyPr/>
          <a:lstStyle/>
          <a:p>
            <a:fld id="{1F90F471-3972-4120-B8B3-0237DE626C35}" type="slidenum">
              <a:rPr lang="en-US" smtClean="0"/>
              <a:pPr/>
              <a:t>10</a:t>
            </a:fld>
            <a:endParaRPr lang="en-US" dirty="0"/>
          </a:p>
        </p:txBody>
      </p:sp>
      <p:sp>
        <p:nvSpPr>
          <p:cNvPr id="6" name="TextBox 5">
            <a:extLst>
              <a:ext uri="{FF2B5EF4-FFF2-40B4-BE49-F238E27FC236}">
                <a16:creationId xmlns:a16="http://schemas.microsoft.com/office/drawing/2014/main" id="{571EBFB4-B739-266F-0E9D-414B10F9DE73}"/>
              </a:ext>
            </a:extLst>
          </p:cNvPr>
          <p:cNvSpPr txBox="1"/>
          <p:nvPr/>
        </p:nvSpPr>
        <p:spPr>
          <a:xfrm>
            <a:off x="923544" y="1688125"/>
            <a:ext cx="2368296" cy="292608"/>
          </a:xfrm>
          <a:prstGeom prst="rect">
            <a:avLst/>
          </a:prstGeom>
          <a:solidFill>
            <a:schemeClr val="accent2"/>
          </a:solidFill>
        </p:spPr>
        <p:txBody>
          <a:bodyPr wrap="none" lIns="0" tIns="0" rIns="0" bIns="0" rtlCol="0">
            <a:noAutofit/>
          </a:bodyPr>
          <a:lstStyle/>
          <a:p>
            <a:pPr algn="ctr" defTabSz="228600">
              <a:spcAft>
                <a:spcPts val="1200"/>
              </a:spcAft>
            </a:pPr>
            <a:r>
              <a:rPr lang="de-CH" b="1" noProof="0" dirty="0">
                <a:solidFill>
                  <a:schemeClr val="bg1"/>
                </a:solidFill>
              </a:rPr>
              <a:t>Target</a:t>
            </a:r>
          </a:p>
        </p:txBody>
      </p:sp>
      <p:sp>
        <p:nvSpPr>
          <p:cNvPr id="7" name="TextBox 6">
            <a:extLst>
              <a:ext uri="{FF2B5EF4-FFF2-40B4-BE49-F238E27FC236}">
                <a16:creationId xmlns:a16="http://schemas.microsoft.com/office/drawing/2014/main" id="{FC02B07C-7496-1E1F-295E-FEECC8BEE634}"/>
              </a:ext>
            </a:extLst>
          </p:cNvPr>
          <p:cNvSpPr txBox="1"/>
          <p:nvPr/>
        </p:nvSpPr>
        <p:spPr>
          <a:xfrm>
            <a:off x="3480816" y="1688125"/>
            <a:ext cx="2368296" cy="292608"/>
          </a:xfrm>
          <a:prstGeom prst="rect">
            <a:avLst/>
          </a:prstGeom>
          <a:solidFill>
            <a:schemeClr val="accent2"/>
          </a:solidFill>
        </p:spPr>
        <p:txBody>
          <a:bodyPr wrap="none" lIns="0" tIns="0" rIns="0" bIns="0" rtlCol="0">
            <a:noAutofit/>
          </a:bodyPr>
          <a:lstStyle/>
          <a:p>
            <a:pPr algn="ctr" defTabSz="228600">
              <a:spcAft>
                <a:spcPts val="1200"/>
              </a:spcAft>
            </a:pPr>
            <a:r>
              <a:rPr lang="de-CH" b="1" noProof="0" dirty="0" err="1">
                <a:solidFill>
                  <a:schemeClr val="bg1"/>
                </a:solidFill>
              </a:rPr>
              <a:t>Detectors</a:t>
            </a:r>
            <a:endParaRPr lang="de-CH" b="1" noProof="0" dirty="0">
              <a:solidFill>
                <a:schemeClr val="bg1"/>
              </a:solidFill>
            </a:endParaRPr>
          </a:p>
        </p:txBody>
      </p:sp>
      <p:sp>
        <p:nvSpPr>
          <p:cNvPr id="8" name="TextBox 7">
            <a:extLst>
              <a:ext uri="{FF2B5EF4-FFF2-40B4-BE49-F238E27FC236}">
                <a16:creationId xmlns:a16="http://schemas.microsoft.com/office/drawing/2014/main" id="{F1DB6FBF-7C16-6329-8F09-AED647DEFE6A}"/>
              </a:ext>
            </a:extLst>
          </p:cNvPr>
          <p:cNvSpPr txBox="1"/>
          <p:nvPr/>
        </p:nvSpPr>
        <p:spPr>
          <a:xfrm>
            <a:off x="6038088" y="1688125"/>
            <a:ext cx="2368296" cy="292608"/>
          </a:xfrm>
          <a:prstGeom prst="rect">
            <a:avLst/>
          </a:prstGeom>
          <a:solidFill>
            <a:schemeClr val="accent2"/>
          </a:solidFill>
        </p:spPr>
        <p:txBody>
          <a:bodyPr wrap="none" lIns="0" tIns="0" rIns="0" bIns="0" rtlCol="0">
            <a:noAutofit/>
          </a:bodyPr>
          <a:lstStyle/>
          <a:p>
            <a:pPr algn="ctr" defTabSz="228600">
              <a:spcAft>
                <a:spcPts val="1200"/>
              </a:spcAft>
            </a:pPr>
            <a:r>
              <a:rPr lang="de-CH" b="1" noProof="0" dirty="0">
                <a:solidFill>
                  <a:schemeClr val="bg1"/>
                </a:solidFill>
              </a:rPr>
              <a:t>Problems</a:t>
            </a:r>
          </a:p>
        </p:txBody>
      </p:sp>
      <p:sp>
        <p:nvSpPr>
          <p:cNvPr id="9" name="TextBox 8">
            <a:extLst>
              <a:ext uri="{FF2B5EF4-FFF2-40B4-BE49-F238E27FC236}">
                <a16:creationId xmlns:a16="http://schemas.microsoft.com/office/drawing/2014/main" id="{D9467E6D-F295-CA08-00B6-DD26714449C7}"/>
              </a:ext>
            </a:extLst>
          </p:cNvPr>
          <p:cNvSpPr txBox="1"/>
          <p:nvPr/>
        </p:nvSpPr>
        <p:spPr>
          <a:xfrm>
            <a:off x="8595360" y="1688125"/>
            <a:ext cx="2368296" cy="292608"/>
          </a:xfrm>
          <a:prstGeom prst="rect">
            <a:avLst/>
          </a:prstGeom>
          <a:solidFill>
            <a:schemeClr val="accent2"/>
          </a:solidFill>
        </p:spPr>
        <p:txBody>
          <a:bodyPr wrap="none" lIns="0" tIns="0" rIns="0" bIns="0" rtlCol="0">
            <a:noAutofit/>
          </a:bodyPr>
          <a:lstStyle/>
          <a:p>
            <a:pPr algn="ctr" defTabSz="228600">
              <a:spcAft>
                <a:spcPts val="1200"/>
              </a:spcAft>
            </a:pPr>
            <a:r>
              <a:rPr lang="de-CH" b="1" noProof="0" dirty="0">
                <a:solidFill>
                  <a:schemeClr val="bg1"/>
                </a:solidFill>
              </a:rPr>
              <a:t>Responder</a:t>
            </a:r>
          </a:p>
        </p:txBody>
      </p:sp>
      <p:grpSp>
        <p:nvGrpSpPr>
          <p:cNvPr id="10" name="Graphic 2">
            <a:extLst>
              <a:ext uri="{FF2B5EF4-FFF2-40B4-BE49-F238E27FC236}">
                <a16:creationId xmlns:a16="http://schemas.microsoft.com/office/drawing/2014/main" id="{0925C476-0C58-9FFD-7A8F-EEF9ECA937FF}"/>
              </a:ext>
            </a:extLst>
          </p:cNvPr>
          <p:cNvGrpSpPr/>
          <p:nvPr/>
        </p:nvGrpSpPr>
        <p:grpSpPr>
          <a:xfrm>
            <a:off x="3621214" y="2429501"/>
            <a:ext cx="513348" cy="509067"/>
            <a:chOff x="2005263" y="2368071"/>
            <a:chExt cx="513348" cy="509067"/>
          </a:xfrm>
        </p:grpSpPr>
        <p:grpSp>
          <p:nvGrpSpPr>
            <p:cNvPr id="11" name="Graphic 2">
              <a:extLst>
                <a:ext uri="{FF2B5EF4-FFF2-40B4-BE49-F238E27FC236}">
                  <a16:creationId xmlns:a16="http://schemas.microsoft.com/office/drawing/2014/main" id="{8C6959DC-4352-E6C6-58B2-9F2DD30C81C2}"/>
                </a:ext>
              </a:extLst>
            </p:cNvPr>
            <p:cNvGrpSpPr/>
            <p:nvPr/>
          </p:nvGrpSpPr>
          <p:grpSpPr>
            <a:xfrm>
              <a:off x="2005263" y="2368071"/>
              <a:ext cx="513348" cy="509067"/>
              <a:chOff x="2005263" y="2368071"/>
              <a:chExt cx="513348" cy="509067"/>
            </a:xfrm>
            <a:solidFill>
              <a:srgbClr val="FFFFFF"/>
            </a:solidFill>
          </p:grpSpPr>
          <p:sp>
            <p:nvSpPr>
              <p:cNvPr id="34" name="Freeform: Shape 35">
                <a:extLst>
                  <a:ext uri="{FF2B5EF4-FFF2-40B4-BE49-F238E27FC236}">
                    <a16:creationId xmlns:a16="http://schemas.microsoft.com/office/drawing/2014/main" id="{4206350E-C80D-A4AE-A690-E1DB6105569F}"/>
                  </a:ext>
                </a:extLst>
              </p:cNvPr>
              <p:cNvSpPr/>
              <p:nvPr/>
            </p:nvSpPr>
            <p:spPr>
              <a:xfrm>
                <a:off x="2011230" y="2374040"/>
                <a:ext cx="500239" cy="492375"/>
              </a:xfrm>
              <a:custGeom>
                <a:avLst/>
                <a:gdLst>
                  <a:gd name="connsiteX0" fmla="*/ 151354 w 500239"/>
                  <a:gd name="connsiteY0" fmla="*/ 487608 h 492375"/>
                  <a:gd name="connsiteX1" fmla="*/ 134670 w 500239"/>
                  <a:gd name="connsiteY1" fmla="*/ 482840 h 492375"/>
                  <a:gd name="connsiteX2" fmla="*/ 115600 w 500239"/>
                  <a:gd name="connsiteY2" fmla="*/ 463763 h 492375"/>
                  <a:gd name="connsiteX3" fmla="*/ 25026 w 500239"/>
                  <a:gd name="connsiteY3" fmla="*/ 463763 h 492375"/>
                  <a:gd name="connsiteX4" fmla="*/ 0 w 500239"/>
                  <a:gd name="connsiteY4" fmla="*/ 438731 h 492375"/>
                  <a:gd name="connsiteX5" fmla="*/ 0 w 500239"/>
                  <a:gd name="connsiteY5" fmla="*/ 25037 h 492375"/>
                  <a:gd name="connsiteX6" fmla="*/ 25026 w 500239"/>
                  <a:gd name="connsiteY6" fmla="*/ 0 h 492375"/>
                  <a:gd name="connsiteX7" fmla="*/ 438566 w 500239"/>
                  <a:gd name="connsiteY7" fmla="*/ 0 h 492375"/>
                  <a:gd name="connsiteX8" fmla="*/ 463591 w 500239"/>
                  <a:gd name="connsiteY8" fmla="*/ 25037 h 492375"/>
                  <a:gd name="connsiteX9" fmla="*/ 463591 w 500239"/>
                  <a:gd name="connsiteY9" fmla="*/ 137103 h 492375"/>
                  <a:gd name="connsiteX10" fmla="*/ 463591 w 500239"/>
                  <a:gd name="connsiteY10" fmla="*/ 338583 h 492375"/>
                  <a:gd name="connsiteX11" fmla="*/ 463591 w 500239"/>
                  <a:gd name="connsiteY11" fmla="*/ 438731 h 492375"/>
                  <a:gd name="connsiteX12" fmla="*/ 438566 w 500239"/>
                  <a:gd name="connsiteY12" fmla="*/ 463763 h 492375"/>
                  <a:gd name="connsiteX13" fmla="*/ 183535 w 500239"/>
                  <a:gd name="connsiteY13" fmla="*/ 463763 h 492375"/>
                  <a:gd name="connsiteX14" fmla="*/ 154928 w 500239"/>
                  <a:gd name="connsiteY14" fmla="*/ 492376 h 492375"/>
                  <a:gd name="connsiteX15" fmla="*/ 151354 w 500239"/>
                  <a:gd name="connsiteY15" fmla="*/ 487608 h 492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9" h="492375">
                    <a:moveTo>
                      <a:pt x="151354" y="487608"/>
                    </a:moveTo>
                    <a:lnTo>
                      <a:pt x="134670" y="482840"/>
                    </a:lnTo>
                    <a:lnTo>
                      <a:pt x="115600" y="463763"/>
                    </a:lnTo>
                    <a:lnTo>
                      <a:pt x="25026" y="463763"/>
                    </a:lnTo>
                    <a:cubicBezTo>
                      <a:pt x="11923" y="463763"/>
                      <a:pt x="0" y="453034"/>
                      <a:pt x="0" y="438731"/>
                    </a:cubicBezTo>
                    <a:lnTo>
                      <a:pt x="0" y="25037"/>
                    </a:lnTo>
                    <a:cubicBezTo>
                      <a:pt x="0" y="11922"/>
                      <a:pt x="10729" y="0"/>
                      <a:pt x="25026" y="0"/>
                    </a:cubicBezTo>
                    <a:lnTo>
                      <a:pt x="438566" y="0"/>
                    </a:lnTo>
                    <a:cubicBezTo>
                      <a:pt x="452869" y="0"/>
                      <a:pt x="463591" y="10730"/>
                      <a:pt x="463591" y="25037"/>
                    </a:cubicBezTo>
                    <a:lnTo>
                      <a:pt x="463591" y="137103"/>
                    </a:lnTo>
                    <a:cubicBezTo>
                      <a:pt x="512455" y="194329"/>
                      <a:pt x="512455" y="280167"/>
                      <a:pt x="463591" y="338583"/>
                    </a:cubicBezTo>
                    <a:lnTo>
                      <a:pt x="463591" y="438731"/>
                    </a:lnTo>
                    <a:cubicBezTo>
                      <a:pt x="463591" y="453034"/>
                      <a:pt x="452869" y="463763"/>
                      <a:pt x="438566" y="463763"/>
                    </a:cubicBezTo>
                    <a:lnTo>
                      <a:pt x="183535" y="463763"/>
                    </a:lnTo>
                    <a:lnTo>
                      <a:pt x="154928" y="492376"/>
                    </a:lnTo>
                    <a:lnTo>
                      <a:pt x="151354" y="487608"/>
                    </a:lnTo>
                    <a:close/>
                  </a:path>
                </a:pathLst>
              </a:custGeom>
              <a:solidFill>
                <a:srgbClr val="FFFFFF"/>
              </a:solidFill>
              <a:ln w="6417" cap="flat">
                <a:noFill/>
                <a:prstDash val="solid"/>
                <a:miter/>
              </a:ln>
            </p:spPr>
            <p:txBody>
              <a:bodyPr rtlCol="0" anchor="ctr"/>
              <a:lstStyle/>
              <a:p>
                <a:endParaRPr lang="en-US" dirty="0"/>
              </a:p>
            </p:txBody>
          </p:sp>
          <p:sp>
            <p:nvSpPr>
              <p:cNvPr id="35" name="Freeform: Shape 36">
                <a:extLst>
                  <a:ext uri="{FF2B5EF4-FFF2-40B4-BE49-F238E27FC236}">
                    <a16:creationId xmlns:a16="http://schemas.microsoft.com/office/drawing/2014/main" id="{DDD666C7-5F99-0B99-CF4A-0496D1FECBFB}"/>
                  </a:ext>
                </a:extLst>
              </p:cNvPr>
              <p:cNvSpPr/>
              <p:nvPr/>
            </p:nvSpPr>
            <p:spPr>
              <a:xfrm>
                <a:off x="2005263" y="2368071"/>
                <a:ext cx="513348" cy="509067"/>
              </a:xfrm>
              <a:custGeom>
                <a:avLst/>
                <a:gdLst>
                  <a:gd name="connsiteX0" fmla="*/ 444527 w 513348"/>
                  <a:gd name="connsiteY0" fmla="*/ 11922 h 509067"/>
                  <a:gd name="connsiteX1" fmla="*/ 463591 w 513348"/>
                  <a:gd name="connsiteY1" fmla="*/ 30997 h 509067"/>
                  <a:gd name="connsiteX2" fmla="*/ 463591 w 513348"/>
                  <a:gd name="connsiteY2" fmla="*/ 145449 h 509067"/>
                  <a:gd name="connsiteX3" fmla="*/ 463591 w 513348"/>
                  <a:gd name="connsiteY3" fmla="*/ 342159 h 509067"/>
                  <a:gd name="connsiteX4" fmla="*/ 463591 w 513348"/>
                  <a:gd name="connsiteY4" fmla="*/ 444694 h 509067"/>
                  <a:gd name="connsiteX5" fmla="*/ 444527 w 513348"/>
                  <a:gd name="connsiteY5" fmla="*/ 463764 h 509067"/>
                  <a:gd name="connsiteX6" fmla="*/ 185915 w 513348"/>
                  <a:gd name="connsiteY6" fmla="*/ 463764 h 509067"/>
                  <a:gd name="connsiteX7" fmla="*/ 160889 w 513348"/>
                  <a:gd name="connsiteY7" fmla="*/ 488803 h 509067"/>
                  <a:gd name="connsiteX8" fmla="*/ 144199 w 513348"/>
                  <a:gd name="connsiteY8" fmla="*/ 482842 h 509067"/>
                  <a:gd name="connsiteX9" fmla="*/ 123941 w 513348"/>
                  <a:gd name="connsiteY9" fmla="*/ 462571 h 509067"/>
                  <a:gd name="connsiteX10" fmla="*/ 30987 w 513348"/>
                  <a:gd name="connsiteY10" fmla="*/ 462571 h 509067"/>
                  <a:gd name="connsiteX11" fmla="*/ 11916 w 513348"/>
                  <a:gd name="connsiteY11" fmla="*/ 443500 h 509067"/>
                  <a:gd name="connsiteX12" fmla="*/ 11916 w 513348"/>
                  <a:gd name="connsiteY12" fmla="*/ 30997 h 509067"/>
                  <a:gd name="connsiteX13" fmla="*/ 30987 w 513348"/>
                  <a:gd name="connsiteY13" fmla="*/ 11922 h 509067"/>
                  <a:gd name="connsiteX14" fmla="*/ 444527 w 513348"/>
                  <a:gd name="connsiteY14" fmla="*/ 11922 h 509067"/>
                  <a:gd name="connsiteX15" fmla="*/ 444527 w 513348"/>
                  <a:gd name="connsiteY15" fmla="*/ 0 h 509067"/>
                  <a:gd name="connsiteX16" fmla="*/ 30987 w 513348"/>
                  <a:gd name="connsiteY16" fmla="*/ 0 h 509067"/>
                  <a:gd name="connsiteX17" fmla="*/ 0 w 513348"/>
                  <a:gd name="connsiteY17" fmla="*/ 30997 h 509067"/>
                  <a:gd name="connsiteX18" fmla="*/ 0 w 513348"/>
                  <a:gd name="connsiteY18" fmla="*/ 444694 h 509067"/>
                  <a:gd name="connsiteX19" fmla="*/ 30987 w 513348"/>
                  <a:gd name="connsiteY19" fmla="*/ 475687 h 509067"/>
                  <a:gd name="connsiteX20" fmla="*/ 119174 w 513348"/>
                  <a:gd name="connsiteY20" fmla="*/ 475687 h 509067"/>
                  <a:gd name="connsiteX21" fmla="*/ 135857 w 513348"/>
                  <a:gd name="connsiteY21" fmla="*/ 492377 h 509067"/>
                  <a:gd name="connsiteX22" fmla="*/ 138244 w 513348"/>
                  <a:gd name="connsiteY22" fmla="*/ 494764 h 509067"/>
                  <a:gd name="connsiteX23" fmla="*/ 140625 w 513348"/>
                  <a:gd name="connsiteY23" fmla="*/ 495958 h 509067"/>
                  <a:gd name="connsiteX24" fmla="*/ 153735 w 513348"/>
                  <a:gd name="connsiteY24" fmla="*/ 500725 h 509067"/>
                  <a:gd name="connsiteX25" fmla="*/ 159696 w 513348"/>
                  <a:gd name="connsiteY25" fmla="*/ 509067 h 509067"/>
                  <a:gd name="connsiteX26" fmla="*/ 170419 w 513348"/>
                  <a:gd name="connsiteY26" fmla="*/ 499532 h 509067"/>
                  <a:gd name="connsiteX27" fmla="*/ 193064 w 513348"/>
                  <a:gd name="connsiteY27" fmla="*/ 478074 h 509067"/>
                  <a:gd name="connsiteX28" fmla="*/ 445714 w 513348"/>
                  <a:gd name="connsiteY28" fmla="*/ 478074 h 509067"/>
                  <a:gd name="connsiteX29" fmla="*/ 476701 w 513348"/>
                  <a:gd name="connsiteY29" fmla="*/ 447074 h 509067"/>
                  <a:gd name="connsiteX30" fmla="*/ 476701 w 513348"/>
                  <a:gd name="connsiteY30" fmla="*/ 345739 h 509067"/>
                  <a:gd name="connsiteX31" fmla="*/ 476701 w 513348"/>
                  <a:gd name="connsiteY31" fmla="*/ 140680 h 509067"/>
                  <a:gd name="connsiteX32" fmla="*/ 476701 w 513348"/>
                  <a:gd name="connsiteY32" fmla="*/ 30997 h 509067"/>
                  <a:gd name="connsiteX33" fmla="*/ 444527 w 513348"/>
                  <a:gd name="connsiteY33" fmla="*/ 0 h 509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13348" h="509067">
                    <a:moveTo>
                      <a:pt x="444527" y="11922"/>
                    </a:moveTo>
                    <a:cubicBezTo>
                      <a:pt x="455249" y="11922"/>
                      <a:pt x="463591" y="20268"/>
                      <a:pt x="463591" y="30997"/>
                    </a:cubicBezTo>
                    <a:lnTo>
                      <a:pt x="463591" y="145449"/>
                    </a:lnTo>
                    <a:cubicBezTo>
                      <a:pt x="512455" y="201482"/>
                      <a:pt x="512455" y="286128"/>
                      <a:pt x="463591" y="342159"/>
                    </a:cubicBezTo>
                    <a:lnTo>
                      <a:pt x="463591" y="444694"/>
                    </a:lnTo>
                    <a:cubicBezTo>
                      <a:pt x="463591" y="455423"/>
                      <a:pt x="455249" y="463764"/>
                      <a:pt x="444527" y="463764"/>
                    </a:cubicBezTo>
                    <a:lnTo>
                      <a:pt x="185915" y="463764"/>
                    </a:lnTo>
                    <a:lnTo>
                      <a:pt x="160889" y="488803"/>
                    </a:lnTo>
                    <a:lnTo>
                      <a:pt x="144199" y="482842"/>
                    </a:lnTo>
                    <a:lnTo>
                      <a:pt x="123941" y="462571"/>
                    </a:lnTo>
                    <a:lnTo>
                      <a:pt x="30987" y="462571"/>
                    </a:lnTo>
                    <a:cubicBezTo>
                      <a:pt x="20258" y="462571"/>
                      <a:pt x="11916" y="454229"/>
                      <a:pt x="11916" y="443500"/>
                    </a:cubicBezTo>
                    <a:lnTo>
                      <a:pt x="11916" y="30997"/>
                    </a:lnTo>
                    <a:cubicBezTo>
                      <a:pt x="11916" y="20268"/>
                      <a:pt x="20258" y="11922"/>
                      <a:pt x="30987" y="11922"/>
                    </a:cubicBezTo>
                    <a:lnTo>
                      <a:pt x="444527" y="11922"/>
                    </a:lnTo>
                    <a:close/>
                    <a:moveTo>
                      <a:pt x="444527" y="0"/>
                    </a:moveTo>
                    <a:lnTo>
                      <a:pt x="30987" y="0"/>
                    </a:lnTo>
                    <a:cubicBezTo>
                      <a:pt x="14303" y="0"/>
                      <a:pt x="0" y="14306"/>
                      <a:pt x="0" y="30997"/>
                    </a:cubicBezTo>
                    <a:lnTo>
                      <a:pt x="0" y="444694"/>
                    </a:lnTo>
                    <a:cubicBezTo>
                      <a:pt x="0" y="461384"/>
                      <a:pt x="14303" y="475687"/>
                      <a:pt x="30987" y="475687"/>
                    </a:cubicBezTo>
                    <a:lnTo>
                      <a:pt x="119174" y="475687"/>
                    </a:lnTo>
                    <a:lnTo>
                      <a:pt x="135857" y="492377"/>
                    </a:lnTo>
                    <a:lnTo>
                      <a:pt x="138244" y="494764"/>
                    </a:lnTo>
                    <a:lnTo>
                      <a:pt x="140625" y="495958"/>
                    </a:lnTo>
                    <a:lnTo>
                      <a:pt x="153735" y="500725"/>
                    </a:lnTo>
                    <a:lnTo>
                      <a:pt x="159696" y="509067"/>
                    </a:lnTo>
                    <a:lnTo>
                      <a:pt x="170419" y="499532"/>
                    </a:lnTo>
                    <a:lnTo>
                      <a:pt x="193064" y="478074"/>
                    </a:lnTo>
                    <a:lnTo>
                      <a:pt x="445714" y="478074"/>
                    </a:lnTo>
                    <a:cubicBezTo>
                      <a:pt x="462398" y="478074"/>
                      <a:pt x="476701" y="463764"/>
                      <a:pt x="476701" y="447074"/>
                    </a:cubicBezTo>
                    <a:lnTo>
                      <a:pt x="476701" y="345739"/>
                    </a:lnTo>
                    <a:cubicBezTo>
                      <a:pt x="525565" y="286128"/>
                      <a:pt x="525565" y="199098"/>
                      <a:pt x="476701" y="140680"/>
                    </a:cubicBezTo>
                    <a:lnTo>
                      <a:pt x="476701" y="30997"/>
                    </a:lnTo>
                    <a:cubicBezTo>
                      <a:pt x="475507" y="14306"/>
                      <a:pt x="461211" y="0"/>
                      <a:pt x="444527" y="0"/>
                    </a:cubicBezTo>
                    <a:close/>
                  </a:path>
                </a:pathLst>
              </a:custGeom>
              <a:solidFill>
                <a:srgbClr val="FFFFFF"/>
              </a:solidFill>
              <a:ln w="6417" cap="flat">
                <a:noFill/>
                <a:prstDash val="solid"/>
                <a:miter/>
              </a:ln>
            </p:spPr>
            <p:txBody>
              <a:bodyPr rtlCol="0" anchor="ctr"/>
              <a:lstStyle/>
              <a:p>
                <a:endParaRPr lang="en-US"/>
              </a:p>
            </p:txBody>
          </p:sp>
        </p:grpSp>
        <p:grpSp>
          <p:nvGrpSpPr>
            <p:cNvPr id="12" name="Graphic 2">
              <a:extLst>
                <a:ext uri="{FF2B5EF4-FFF2-40B4-BE49-F238E27FC236}">
                  <a16:creationId xmlns:a16="http://schemas.microsoft.com/office/drawing/2014/main" id="{E2085967-009D-1CF4-5785-AD2E806C3760}"/>
                </a:ext>
              </a:extLst>
            </p:cNvPr>
            <p:cNvGrpSpPr/>
            <p:nvPr/>
          </p:nvGrpSpPr>
          <p:grpSpPr>
            <a:xfrm>
              <a:off x="2017179" y="2381069"/>
              <a:ext cx="488321" cy="475804"/>
              <a:chOff x="2017179" y="2381069"/>
              <a:chExt cx="488321" cy="475804"/>
            </a:xfrm>
            <a:solidFill>
              <a:srgbClr val="2D5967"/>
            </a:solidFill>
          </p:grpSpPr>
          <p:sp>
            <p:nvSpPr>
              <p:cNvPr id="13" name="Freeform: Shape 14">
                <a:extLst>
                  <a:ext uri="{FF2B5EF4-FFF2-40B4-BE49-F238E27FC236}">
                    <a16:creationId xmlns:a16="http://schemas.microsoft.com/office/drawing/2014/main" id="{3D629FFB-1F87-5EA5-2AA7-BCA99AD875C9}"/>
                  </a:ext>
                </a:extLst>
              </p:cNvPr>
              <p:cNvSpPr/>
              <p:nvPr/>
            </p:nvSpPr>
            <p:spPr>
              <a:xfrm>
                <a:off x="2210223" y="2728126"/>
                <a:ext cx="258611" cy="103721"/>
              </a:xfrm>
              <a:custGeom>
                <a:avLst/>
                <a:gdLst>
                  <a:gd name="connsiteX0" fmla="*/ 241928 w 258611"/>
                  <a:gd name="connsiteY0" fmla="*/ 84651 h 103721"/>
                  <a:gd name="connsiteX1" fmla="*/ 239541 w 258611"/>
                  <a:gd name="connsiteY1" fmla="*/ 87032 h 103721"/>
                  <a:gd name="connsiteX2" fmla="*/ 16684 w 258611"/>
                  <a:gd name="connsiteY2" fmla="*/ 87032 h 103721"/>
                  <a:gd name="connsiteX3" fmla="*/ 13110 w 258611"/>
                  <a:gd name="connsiteY3" fmla="*/ 90612 h 103721"/>
                  <a:gd name="connsiteX4" fmla="*/ 0 w 258611"/>
                  <a:gd name="connsiteY4" fmla="*/ 103722 h 103721"/>
                  <a:gd name="connsiteX5" fmla="*/ 239541 w 258611"/>
                  <a:gd name="connsiteY5" fmla="*/ 103722 h 103721"/>
                  <a:gd name="connsiteX6" fmla="*/ 258612 w 258611"/>
                  <a:gd name="connsiteY6" fmla="*/ 84651 h 103721"/>
                  <a:gd name="connsiteX7" fmla="*/ 258612 w 258611"/>
                  <a:gd name="connsiteY7" fmla="*/ 0 h 103721"/>
                  <a:gd name="connsiteX8" fmla="*/ 241928 w 258611"/>
                  <a:gd name="connsiteY8" fmla="*/ 14310 h 103721"/>
                  <a:gd name="connsiteX9" fmla="*/ 241928 w 258611"/>
                  <a:gd name="connsiteY9" fmla="*/ 84651 h 103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8611" h="103721">
                    <a:moveTo>
                      <a:pt x="241928" y="84651"/>
                    </a:moveTo>
                    <a:cubicBezTo>
                      <a:pt x="241928" y="85838"/>
                      <a:pt x="240734" y="87032"/>
                      <a:pt x="239541" y="87032"/>
                    </a:cubicBezTo>
                    <a:lnTo>
                      <a:pt x="16684" y="87032"/>
                    </a:lnTo>
                    <a:cubicBezTo>
                      <a:pt x="15497" y="88225"/>
                      <a:pt x="14303" y="89419"/>
                      <a:pt x="13110" y="90612"/>
                    </a:cubicBezTo>
                    <a:lnTo>
                      <a:pt x="0" y="103722"/>
                    </a:lnTo>
                    <a:lnTo>
                      <a:pt x="239541" y="103722"/>
                    </a:lnTo>
                    <a:cubicBezTo>
                      <a:pt x="250270" y="103722"/>
                      <a:pt x="258612" y="95380"/>
                      <a:pt x="258612" y="84651"/>
                    </a:cubicBezTo>
                    <a:lnTo>
                      <a:pt x="258612" y="0"/>
                    </a:lnTo>
                    <a:cubicBezTo>
                      <a:pt x="253844" y="4774"/>
                      <a:pt x="247883" y="9542"/>
                      <a:pt x="241928" y="14310"/>
                    </a:cubicBezTo>
                    <a:lnTo>
                      <a:pt x="241928" y="84651"/>
                    </a:lnTo>
                    <a:close/>
                  </a:path>
                </a:pathLst>
              </a:custGeom>
              <a:solidFill>
                <a:srgbClr val="2D5967"/>
              </a:solidFill>
              <a:ln w="6417" cap="flat">
                <a:noFill/>
                <a:prstDash val="solid"/>
                <a:miter/>
              </a:ln>
            </p:spPr>
            <p:txBody>
              <a:bodyPr rtlCol="0" anchor="ctr"/>
              <a:lstStyle/>
              <a:p>
                <a:endParaRPr lang="en-US"/>
              </a:p>
            </p:txBody>
          </p:sp>
          <p:sp>
            <p:nvSpPr>
              <p:cNvPr id="14" name="Freeform: Shape 15">
                <a:extLst>
                  <a:ext uri="{FF2B5EF4-FFF2-40B4-BE49-F238E27FC236}">
                    <a16:creationId xmlns:a16="http://schemas.microsoft.com/office/drawing/2014/main" id="{55D1907B-5C52-B714-36FC-BC9A8ABCE148}"/>
                  </a:ext>
                </a:extLst>
              </p:cNvPr>
              <p:cNvSpPr/>
              <p:nvPr/>
            </p:nvSpPr>
            <p:spPr>
              <a:xfrm>
                <a:off x="2017179" y="2381069"/>
                <a:ext cx="451668" cy="450765"/>
              </a:xfrm>
              <a:custGeom>
                <a:avLst/>
                <a:gdLst>
                  <a:gd name="connsiteX0" fmla="*/ 88187 w 451668"/>
                  <a:gd name="connsiteY0" fmla="*/ 443611 h 450765"/>
                  <a:gd name="connsiteX1" fmla="*/ 86993 w 451668"/>
                  <a:gd name="connsiteY1" fmla="*/ 441230 h 450765"/>
                  <a:gd name="connsiteX2" fmla="*/ 84613 w 451668"/>
                  <a:gd name="connsiteY2" fmla="*/ 434076 h 450765"/>
                  <a:gd name="connsiteX3" fmla="*/ 19064 w 451668"/>
                  <a:gd name="connsiteY3" fmla="*/ 434076 h 450765"/>
                  <a:gd name="connsiteX4" fmla="*/ 16684 w 451668"/>
                  <a:gd name="connsiteY4" fmla="*/ 431689 h 450765"/>
                  <a:gd name="connsiteX5" fmla="*/ 16684 w 451668"/>
                  <a:gd name="connsiteY5" fmla="*/ 17997 h 450765"/>
                  <a:gd name="connsiteX6" fmla="*/ 19064 w 451668"/>
                  <a:gd name="connsiteY6" fmla="*/ 15612 h 450765"/>
                  <a:gd name="connsiteX7" fmla="*/ 432604 w 451668"/>
                  <a:gd name="connsiteY7" fmla="*/ 15612 h 450765"/>
                  <a:gd name="connsiteX8" fmla="*/ 434985 w 451668"/>
                  <a:gd name="connsiteY8" fmla="*/ 17997 h 450765"/>
                  <a:gd name="connsiteX9" fmla="*/ 434985 w 451668"/>
                  <a:gd name="connsiteY9" fmla="*/ 100258 h 450765"/>
                  <a:gd name="connsiteX10" fmla="*/ 451669 w 451668"/>
                  <a:gd name="connsiteY10" fmla="*/ 114564 h 450765"/>
                  <a:gd name="connsiteX11" fmla="*/ 451669 w 451668"/>
                  <a:gd name="connsiteY11" fmla="*/ 19189 h 450765"/>
                  <a:gd name="connsiteX12" fmla="*/ 432604 w 451668"/>
                  <a:gd name="connsiteY12" fmla="*/ 114 h 450765"/>
                  <a:gd name="connsiteX13" fmla="*/ 19064 w 451668"/>
                  <a:gd name="connsiteY13" fmla="*/ 114 h 450765"/>
                  <a:gd name="connsiteX14" fmla="*/ 0 w 451668"/>
                  <a:gd name="connsiteY14" fmla="*/ 17997 h 450765"/>
                  <a:gd name="connsiteX15" fmla="*/ 0 w 451668"/>
                  <a:gd name="connsiteY15" fmla="*/ 431689 h 450765"/>
                  <a:gd name="connsiteX16" fmla="*/ 19064 w 451668"/>
                  <a:gd name="connsiteY16" fmla="*/ 450766 h 450765"/>
                  <a:gd name="connsiteX17" fmla="*/ 95335 w 451668"/>
                  <a:gd name="connsiteY17" fmla="*/ 450766 h 450765"/>
                  <a:gd name="connsiteX18" fmla="*/ 90567 w 451668"/>
                  <a:gd name="connsiteY18" fmla="*/ 445998 h 450765"/>
                  <a:gd name="connsiteX19" fmla="*/ 88187 w 451668"/>
                  <a:gd name="connsiteY19" fmla="*/ 443611 h 450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1668" h="450765">
                    <a:moveTo>
                      <a:pt x="88187" y="443611"/>
                    </a:moveTo>
                    <a:lnTo>
                      <a:pt x="86993" y="441230"/>
                    </a:lnTo>
                    <a:lnTo>
                      <a:pt x="84613" y="434076"/>
                    </a:lnTo>
                    <a:lnTo>
                      <a:pt x="19064" y="434076"/>
                    </a:lnTo>
                    <a:cubicBezTo>
                      <a:pt x="17871" y="434076"/>
                      <a:pt x="16684" y="432882"/>
                      <a:pt x="16684" y="431689"/>
                    </a:cubicBezTo>
                    <a:lnTo>
                      <a:pt x="16684" y="17997"/>
                    </a:lnTo>
                    <a:cubicBezTo>
                      <a:pt x="16684" y="16804"/>
                      <a:pt x="17871" y="15612"/>
                      <a:pt x="19064" y="15612"/>
                    </a:cubicBezTo>
                    <a:lnTo>
                      <a:pt x="432604" y="15612"/>
                    </a:lnTo>
                    <a:cubicBezTo>
                      <a:pt x="433798" y="15612"/>
                      <a:pt x="434985" y="16804"/>
                      <a:pt x="434985" y="17997"/>
                    </a:cubicBezTo>
                    <a:lnTo>
                      <a:pt x="434985" y="100258"/>
                    </a:lnTo>
                    <a:cubicBezTo>
                      <a:pt x="440946" y="105027"/>
                      <a:pt x="446907" y="109796"/>
                      <a:pt x="451669" y="114564"/>
                    </a:cubicBezTo>
                    <a:lnTo>
                      <a:pt x="451669" y="19189"/>
                    </a:lnTo>
                    <a:cubicBezTo>
                      <a:pt x="451669" y="8459"/>
                      <a:pt x="443327" y="114"/>
                      <a:pt x="432604" y="114"/>
                    </a:cubicBezTo>
                    <a:lnTo>
                      <a:pt x="19064" y="114"/>
                    </a:lnTo>
                    <a:cubicBezTo>
                      <a:pt x="8342" y="-1079"/>
                      <a:pt x="0" y="7266"/>
                      <a:pt x="0" y="17997"/>
                    </a:cubicBezTo>
                    <a:lnTo>
                      <a:pt x="0" y="431689"/>
                    </a:lnTo>
                    <a:cubicBezTo>
                      <a:pt x="0" y="442418"/>
                      <a:pt x="8342" y="450766"/>
                      <a:pt x="19064" y="450766"/>
                    </a:cubicBezTo>
                    <a:lnTo>
                      <a:pt x="95335" y="450766"/>
                    </a:lnTo>
                    <a:lnTo>
                      <a:pt x="90567" y="445998"/>
                    </a:lnTo>
                    <a:lnTo>
                      <a:pt x="88187" y="443611"/>
                    </a:lnTo>
                    <a:close/>
                  </a:path>
                </a:pathLst>
              </a:custGeom>
              <a:solidFill>
                <a:srgbClr val="2D5967"/>
              </a:solidFill>
              <a:ln w="6417" cap="flat">
                <a:noFill/>
                <a:prstDash val="solid"/>
                <a:miter/>
              </a:ln>
            </p:spPr>
            <p:txBody>
              <a:bodyPr rtlCol="0" anchor="ctr"/>
              <a:lstStyle/>
              <a:p>
                <a:endParaRPr lang="en-US"/>
              </a:p>
            </p:txBody>
          </p:sp>
          <p:sp>
            <p:nvSpPr>
              <p:cNvPr id="15" name="Freeform: Shape 16">
                <a:extLst>
                  <a:ext uri="{FF2B5EF4-FFF2-40B4-BE49-F238E27FC236}">
                    <a16:creationId xmlns:a16="http://schemas.microsoft.com/office/drawing/2014/main" id="{0B8BFDCF-4F23-4EA4-48DA-52D1E3543B31}"/>
                  </a:ext>
                </a:extLst>
              </p:cNvPr>
              <p:cNvSpPr/>
              <p:nvPr/>
            </p:nvSpPr>
            <p:spPr>
              <a:xfrm>
                <a:off x="2054121" y="2422921"/>
                <a:ext cx="23832" cy="52457"/>
              </a:xfrm>
              <a:custGeom>
                <a:avLst/>
                <a:gdLst>
                  <a:gd name="connsiteX0" fmla="*/ 11916 w 23832"/>
                  <a:gd name="connsiteY0" fmla="*/ 52457 h 52457"/>
                  <a:gd name="connsiteX1" fmla="*/ 23832 w 23832"/>
                  <a:gd name="connsiteY1" fmla="*/ 52457 h 52457"/>
                  <a:gd name="connsiteX2" fmla="*/ 23832 w 23832"/>
                  <a:gd name="connsiteY2" fmla="*/ 0 h 52457"/>
                  <a:gd name="connsiteX3" fmla="*/ 15490 w 23832"/>
                  <a:gd name="connsiteY3" fmla="*/ 0 h 52457"/>
                  <a:gd name="connsiteX4" fmla="*/ 0 w 23832"/>
                  <a:gd name="connsiteY4" fmla="*/ 10730 h 52457"/>
                  <a:gd name="connsiteX5" fmla="*/ 0 w 23832"/>
                  <a:gd name="connsiteY5" fmla="*/ 17883 h 52457"/>
                  <a:gd name="connsiteX6" fmla="*/ 11916 w 23832"/>
                  <a:gd name="connsiteY6" fmla="*/ 13114 h 52457"/>
                  <a:gd name="connsiteX7" fmla="*/ 11916 w 23832"/>
                  <a:gd name="connsiteY7" fmla="*/ 52457 h 52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832" h="52457">
                    <a:moveTo>
                      <a:pt x="11916" y="52457"/>
                    </a:moveTo>
                    <a:lnTo>
                      <a:pt x="23832" y="52457"/>
                    </a:lnTo>
                    <a:lnTo>
                      <a:pt x="23832" y="0"/>
                    </a:lnTo>
                    <a:lnTo>
                      <a:pt x="15490" y="0"/>
                    </a:lnTo>
                    <a:lnTo>
                      <a:pt x="0" y="10730"/>
                    </a:lnTo>
                    <a:lnTo>
                      <a:pt x="0" y="17883"/>
                    </a:lnTo>
                    <a:lnTo>
                      <a:pt x="11916" y="13114"/>
                    </a:lnTo>
                    <a:lnTo>
                      <a:pt x="11916" y="52457"/>
                    </a:lnTo>
                    <a:close/>
                  </a:path>
                </a:pathLst>
              </a:custGeom>
              <a:solidFill>
                <a:srgbClr val="2D5967"/>
              </a:solidFill>
              <a:ln w="6417" cap="flat">
                <a:noFill/>
                <a:prstDash val="solid"/>
                <a:miter/>
              </a:ln>
            </p:spPr>
            <p:txBody>
              <a:bodyPr rtlCol="0" anchor="ctr"/>
              <a:lstStyle/>
              <a:p>
                <a:endParaRPr lang="en-US"/>
              </a:p>
            </p:txBody>
          </p:sp>
          <p:sp>
            <p:nvSpPr>
              <p:cNvPr id="16" name="Freeform: Shape 17">
                <a:extLst>
                  <a:ext uri="{FF2B5EF4-FFF2-40B4-BE49-F238E27FC236}">
                    <a16:creationId xmlns:a16="http://schemas.microsoft.com/office/drawing/2014/main" id="{4B81DED7-BA13-1261-E9EC-048ECB7312F2}"/>
                  </a:ext>
                </a:extLst>
              </p:cNvPr>
              <p:cNvSpPr/>
              <p:nvPr/>
            </p:nvSpPr>
            <p:spPr>
              <a:xfrm>
                <a:off x="2098211" y="2464645"/>
                <a:ext cx="11916" cy="10725"/>
              </a:xfrm>
              <a:custGeom>
                <a:avLst/>
                <a:gdLst>
                  <a:gd name="connsiteX0" fmla="*/ 11916 w 11916"/>
                  <a:gd name="connsiteY0" fmla="*/ 0 h 10725"/>
                  <a:gd name="connsiteX1" fmla="*/ 0 w 11916"/>
                  <a:gd name="connsiteY1" fmla="*/ 0 h 10725"/>
                  <a:gd name="connsiteX2" fmla="*/ 0 w 11916"/>
                  <a:gd name="connsiteY2" fmla="*/ 10726 h 10725"/>
                  <a:gd name="connsiteX3" fmla="*/ 11916 w 11916"/>
                  <a:gd name="connsiteY3" fmla="*/ 10726 h 10725"/>
                  <a:gd name="connsiteX4" fmla="*/ 11916 w 11916"/>
                  <a:gd name="connsiteY4" fmla="*/ 0 h 10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16" h="10725">
                    <a:moveTo>
                      <a:pt x="11916" y="0"/>
                    </a:moveTo>
                    <a:lnTo>
                      <a:pt x="0" y="0"/>
                    </a:lnTo>
                    <a:lnTo>
                      <a:pt x="0" y="10726"/>
                    </a:lnTo>
                    <a:lnTo>
                      <a:pt x="11916" y="10726"/>
                    </a:lnTo>
                    <a:lnTo>
                      <a:pt x="11916" y="0"/>
                    </a:lnTo>
                    <a:close/>
                  </a:path>
                </a:pathLst>
              </a:custGeom>
              <a:solidFill>
                <a:srgbClr val="2D5967"/>
              </a:solidFill>
              <a:ln w="6417" cap="flat">
                <a:noFill/>
                <a:prstDash val="solid"/>
                <a:miter/>
              </a:ln>
            </p:spPr>
            <p:txBody>
              <a:bodyPr rtlCol="0" anchor="ctr"/>
              <a:lstStyle/>
              <a:p>
                <a:endParaRPr lang="en-US"/>
              </a:p>
            </p:txBody>
          </p:sp>
          <p:sp>
            <p:nvSpPr>
              <p:cNvPr id="17" name="Freeform: Shape 18">
                <a:extLst>
                  <a:ext uri="{FF2B5EF4-FFF2-40B4-BE49-F238E27FC236}">
                    <a16:creationId xmlns:a16="http://schemas.microsoft.com/office/drawing/2014/main" id="{2C1CE819-6618-C245-1464-487AECA991F5}"/>
                  </a:ext>
                </a:extLst>
              </p:cNvPr>
              <p:cNvSpPr/>
              <p:nvPr/>
            </p:nvSpPr>
            <p:spPr>
              <a:xfrm>
                <a:off x="2098211" y="2436031"/>
                <a:ext cx="11916" cy="10725"/>
              </a:xfrm>
              <a:custGeom>
                <a:avLst/>
                <a:gdLst>
                  <a:gd name="connsiteX0" fmla="*/ 11916 w 11916"/>
                  <a:gd name="connsiteY0" fmla="*/ 0 h 10725"/>
                  <a:gd name="connsiteX1" fmla="*/ 0 w 11916"/>
                  <a:gd name="connsiteY1" fmla="*/ 0 h 10725"/>
                  <a:gd name="connsiteX2" fmla="*/ 0 w 11916"/>
                  <a:gd name="connsiteY2" fmla="*/ 10726 h 10725"/>
                  <a:gd name="connsiteX3" fmla="*/ 11916 w 11916"/>
                  <a:gd name="connsiteY3" fmla="*/ 10726 h 10725"/>
                  <a:gd name="connsiteX4" fmla="*/ 11916 w 11916"/>
                  <a:gd name="connsiteY4" fmla="*/ 0 h 10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16" h="10725">
                    <a:moveTo>
                      <a:pt x="11916" y="0"/>
                    </a:moveTo>
                    <a:lnTo>
                      <a:pt x="0" y="0"/>
                    </a:lnTo>
                    <a:lnTo>
                      <a:pt x="0" y="10726"/>
                    </a:lnTo>
                    <a:lnTo>
                      <a:pt x="11916" y="10726"/>
                    </a:lnTo>
                    <a:lnTo>
                      <a:pt x="11916" y="0"/>
                    </a:lnTo>
                    <a:close/>
                  </a:path>
                </a:pathLst>
              </a:custGeom>
              <a:solidFill>
                <a:srgbClr val="2D5967"/>
              </a:solidFill>
              <a:ln w="6417" cap="flat">
                <a:noFill/>
                <a:prstDash val="solid"/>
                <a:miter/>
              </a:ln>
            </p:spPr>
            <p:txBody>
              <a:bodyPr rtlCol="0" anchor="ctr"/>
              <a:lstStyle/>
              <a:p>
                <a:endParaRPr lang="en-US"/>
              </a:p>
            </p:txBody>
          </p:sp>
          <p:sp>
            <p:nvSpPr>
              <p:cNvPr id="18" name="Freeform: Shape 19">
                <a:extLst>
                  <a:ext uri="{FF2B5EF4-FFF2-40B4-BE49-F238E27FC236}">
                    <a16:creationId xmlns:a16="http://schemas.microsoft.com/office/drawing/2014/main" id="{7A4F77CF-CE1B-D540-4A77-34A49AE6A6BB}"/>
                  </a:ext>
                </a:extLst>
              </p:cNvPr>
              <p:cNvSpPr/>
              <p:nvPr/>
            </p:nvSpPr>
            <p:spPr>
              <a:xfrm>
                <a:off x="2130378" y="2421725"/>
                <a:ext cx="48857" cy="53648"/>
              </a:xfrm>
              <a:custGeom>
                <a:avLst/>
                <a:gdLst>
                  <a:gd name="connsiteX0" fmla="*/ 11916 w 48857"/>
                  <a:gd name="connsiteY0" fmla="*/ 53649 h 53648"/>
                  <a:gd name="connsiteX1" fmla="*/ 23832 w 48857"/>
                  <a:gd name="connsiteY1" fmla="*/ 33382 h 53648"/>
                  <a:gd name="connsiteX2" fmla="*/ 35748 w 48857"/>
                  <a:gd name="connsiteY2" fmla="*/ 53649 h 53648"/>
                  <a:gd name="connsiteX3" fmla="*/ 48858 w 48857"/>
                  <a:gd name="connsiteY3" fmla="*/ 53649 h 53648"/>
                  <a:gd name="connsiteX4" fmla="*/ 32174 w 48857"/>
                  <a:gd name="connsiteY4" fmla="*/ 26228 h 53648"/>
                  <a:gd name="connsiteX5" fmla="*/ 47671 w 48857"/>
                  <a:gd name="connsiteY5" fmla="*/ 0 h 53648"/>
                  <a:gd name="connsiteX6" fmla="*/ 34561 w 48857"/>
                  <a:gd name="connsiteY6" fmla="*/ 0 h 53648"/>
                  <a:gd name="connsiteX7" fmla="*/ 23832 w 48857"/>
                  <a:gd name="connsiteY7" fmla="*/ 19075 h 53648"/>
                  <a:gd name="connsiteX8" fmla="*/ 13110 w 48857"/>
                  <a:gd name="connsiteY8" fmla="*/ 0 h 53648"/>
                  <a:gd name="connsiteX9" fmla="*/ 0 w 48857"/>
                  <a:gd name="connsiteY9" fmla="*/ 0 h 53648"/>
                  <a:gd name="connsiteX10" fmla="*/ 15490 w 48857"/>
                  <a:gd name="connsiteY10" fmla="*/ 26228 h 53648"/>
                  <a:gd name="connsiteX11" fmla="*/ 0 w 48857"/>
                  <a:gd name="connsiteY11" fmla="*/ 53649 h 53648"/>
                  <a:gd name="connsiteX12" fmla="*/ 11916 w 48857"/>
                  <a:gd name="connsiteY12" fmla="*/ 53649 h 5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857" h="53648">
                    <a:moveTo>
                      <a:pt x="11916" y="53649"/>
                    </a:moveTo>
                    <a:lnTo>
                      <a:pt x="23832" y="33382"/>
                    </a:lnTo>
                    <a:lnTo>
                      <a:pt x="35748" y="53649"/>
                    </a:lnTo>
                    <a:lnTo>
                      <a:pt x="48858" y="53649"/>
                    </a:lnTo>
                    <a:lnTo>
                      <a:pt x="32174" y="26228"/>
                    </a:lnTo>
                    <a:lnTo>
                      <a:pt x="47671" y="0"/>
                    </a:lnTo>
                    <a:lnTo>
                      <a:pt x="34561" y="0"/>
                    </a:lnTo>
                    <a:lnTo>
                      <a:pt x="23832" y="19075"/>
                    </a:lnTo>
                    <a:lnTo>
                      <a:pt x="13110" y="0"/>
                    </a:lnTo>
                    <a:lnTo>
                      <a:pt x="0" y="0"/>
                    </a:lnTo>
                    <a:lnTo>
                      <a:pt x="15490" y="26228"/>
                    </a:lnTo>
                    <a:lnTo>
                      <a:pt x="0" y="53649"/>
                    </a:lnTo>
                    <a:lnTo>
                      <a:pt x="11916" y="53649"/>
                    </a:lnTo>
                    <a:close/>
                  </a:path>
                </a:pathLst>
              </a:custGeom>
              <a:solidFill>
                <a:srgbClr val="2D5967"/>
              </a:solidFill>
              <a:ln w="6417" cap="flat">
                <a:noFill/>
                <a:prstDash val="solid"/>
                <a:miter/>
              </a:ln>
            </p:spPr>
            <p:txBody>
              <a:bodyPr rtlCol="0" anchor="ctr"/>
              <a:lstStyle/>
              <a:p>
                <a:endParaRPr lang="en-US"/>
              </a:p>
            </p:txBody>
          </p:sp>
          <p:sp>
            <p:nvSpPr>
              <p:cNvPr id="19" name="Freeform: Shape 20">
                <a:extLst>
                  <a:ext uri="{FF2B5EF4-FFF2-40B4-BE49-F238E27FC236}">
                    <a16:creationId xmlns:a16="http://schemas.microsoft.com/office/drawing/2014/main" id="{85686CBF-E1D9-615A-C51C-DA240A75C6E9}"/>
                  </a:ext>
                </a:extLst>
              </p:cNvPr>
              <p:cNvSpPr/>
              <p:nvPr/>
            </p:nvSpPr>
            <p:spPr>
              <a:xfrm>
                <a:off x="2192352" y="2420512"/>
                <a:ext cx="47670" cy="54840"/>
              </a:xfrm>
              <a:custGeom>
                <a:avLst/>
                <a:gdLst>
                  <a:gd name="connsiteX0" fmla="*/ 25026 w 47670"/>
                  <a:gd name="connsiteY0" fmla="*/ 0 h 54840"/>
                  <a:gd name="connsiteX1" fmla="*/ 7148 w 47670"/>
                  <a:gd name="connsiteY1" fmla="*/ 7154 h 54840"/>
                  <a:gd name="connsiteX2" fmla="*/ 0 w 47670"/>
                  <a:gd name="connsiteY2" fmla="*/ 27420 h 54840"/>
                  <a:gd name="connsiteX3" fmla="*/ 5961 w 47670"/>
                  <a:gd name="connsiteY3" fmla="*/ 47688 h 54840"/>
                  <a:gd name="connsiteX4" fmla="*/ 23832 w 47670"/>
                  <a:gd name="connsiteY4" fmla="*/ 54841 h 54840"/>
                  <a:gd name="connsiteX5" fmla="*/ 41709 w 47670"/>
                  <a:gd name="connsiteY5" fmla="*/ 47688 h 54840"/>
                  <a:gd name="connsiteX6" fmla="*/ 47671 w 47670"/>
                  <a:gd name="connsiteY6" fmla="*/ 27420 h 54840"/>
                  <a:gd name="connsiteX7" fmla="*/ 41709 w 47670"/>
                  <a:gd name="connsiteY7" fmla="*/ 7154 h 54840"/>
                  <a:gd name="connsiteX8" fmla="*/ 25026 w 47670"/>
                  <a:gd name="connsiteY8" fmla="*/ 0 h 54840"/>
                  <a:gd name="connsiteX9" fmla="*/ 35755 w 47670"/>
                  <a:gd name="connsiteY9" fmla="*/ 41727 h 54840"/>
                  <a:gd name="connsiteX10" fmla="*/ 26219 w 47670"/>
                  <a:gd name="connsiteY10" fmla="*/ 46496 h 54840"/>
                  <a:gd name="connsiteX11" fmla="*/ 15490 w 47670"/>
                  <a:gd name="connsiteY11" fmla="*/ 41727 h 54840"/>
                  <a:gd name="connsiteX12" fmla="*/ 11916 w 47670"/>
                  <a:gd name="connsiteY12" fmla="*/ 28613 h 54840"/>
                  <a:gd name="connsiteX13" fmla="*/ 15490 w 47670"/>
                  <a:gd name="connsiteY13" fmla="*/ 15499 h 54840"/>
                  <a:gd name="connsiteX14" fmla="*/ 25026 w 47670"/>
                  <a:gd name="connsiteY14" fmla="*/ 10730 h 54840"/>
                  <a:gd name="connsiteX15" fmla="*/ 34561 w 47670"/>
                  <a:gd name="connsiteY15" fmla="*/ 15499 h 54840"/>
                  <a:gd name="connsiteX16" fmla="*/ 38135 w 47670"/>
                  <a:gd name="connsiteY16" fmla="*/ 28613 h 54840"/>
                  <a:gd name="connsiteX17" fmla="*/ 35755 w 47670"/>
                  <a:gd name="connsiteY17" fmla="*/ 41727 h 54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670" h="54840">
                    <a:moveTo>
                      <a:pt x="25026" y="0"/>
                    </a:moveTo>
                    <a:cubicBezTo>
                      <a:pt x="16684" y="0"/>
                      <a:pt x="10722" y="2385"/>
                      <a:pt x="7148" y="7154"/>
                    </a:cubicBezTo>
                    <a:cubicBezTo>
                      <a:pt x="2381" y="11922"/>
                      <a:pt x="0" y="19075"/>
                      <a:pt x="0" y="27420"/>
                    </a:cubicBezTo>
                    <a:cubicBezTo>
                      <a:pt x="0" y="35766"/>
                      <a:pt x="2381" y="42919"/>
                      <a:pt x="5961" y="47688"/>
                    </a:cubicBezTo>
                    <a:cubicBezTo>
                      <a:pt x="10722" y="52457"/>
                      <a:pt x="16684" y="54841"/>
                      <a:pt x="23832" y="54841"/>
                    </a:cubicBezTo>
                    <a:cubicBezTo>
                      <a:pt x="32174" y="54841"/>
                      <a:pt x="38135" y="52457"/>
                      <a:pt x="41709" y="47688"/>
                    </a:cubicBezTo>
                    <a:cubicBezTo>
                      <a:pt x="46477" y="42919"/>
                      <a:pt x="47671" y="35766"/>
                      <a:pt x="47671" y="27420"/>
                    </a:cubicBezTo>
                    <a:cubicBezTo>
                      <a:pt x="47671" y="19075"/>
                      <a:pt x="45284" y="11922"/>
                      <a:pt x="41709" y="7154"/>
                    </a:cubicBezTo>
                    <a:cubicBezTo>
                      <a:pt x="39329" y="2385"/>
                      <a:pt x="33367" y="0"/>
                      <a:pt x="25026" y="0"/>
                    </a:cubicBezTo>
                    <a:close/>
                    <a:moveTo>
                      <a:pt x="35755" y="41727"/>
                    </a:moveTo>
                    <a:cubicBezTo>
                      <a:pt x="33367" y="45304"/>
                      <a:pt x="29793" y="46496"/>
                      <a:pt x="26219" y="46496"/>
                    </a:cubicBezTo>
                    <a:cubicBezTo>
                      <a:pt x="22645" y="46496"/>
                      <a:pt x="17877" y="44111"/>
                      <a:pt x="15490" y="41727"/>
                    </a:cubicBezTo>
                    <a:cubicBezTo>
                      <a:pt x="13110" y="39342"/>
                      <a:pt x="11916" y="34574"/>
                      <a:pt x="11916" y="28613"/>
                    </a:cubicBezTo>
                    <a:cubicBezTo>
                      <a:pt x="11916" y="22652"/>
                      <a:pt x="13110" y="17883"/>
                      <a:pt x="15490" y="15499"/>
                    </a:cubicBezTo>
                    <a:cubicBezTo>
                      <a:pt x="17877" y="11922"/>
                      <a:pt x="21451" y="10730"/>
                      <a:pt x="25026" y="10730"/>
                    </a:cubicBezTo>
                    <a:cubicBezTo>
                      <a:pt x="28600" y="10730"/>
                      <a:pt x="32174" y="11922"/>
                      <a:pt x="34561" y="15499"/>
                    </a:cubicBezTo>
                    <a:cubicBezTo>
                      <a:pt x="36942" y="19075"/>
                      <a:pt x="38135" y="22652"/>
                      <a:pt x="38135" y="28613"/>
                    </a:cubicBezTo>
                    <a:cubicBezTo>
                      <a:pt x="38135" y="33382"/>
                      <a:pt x="36942" y="38151"/>
                      <a:pt x="35755" y="41727"/>
                    </a:cubicBezTo>
                    <a:close/>
                  </a:path>
                </a:pathLst>
              </a:custGeom>
              <a:solidFill>
                <a:srgbClr val="2D5967"/>
              </a:solidFill>
              <a:ln w="6417" cap="flat">
                <a:noFill/>
                <a:prstDash val="solid"/>
                <a:miter/>
              </a:ln>
            </p:spPr>
            <p:txBody>
              <a:bodyPr rtlCol="0" anchor="ctr"/>
              <a:lstStyle/>
              <a:p>
                <a:endParaRPr lang="en-US"/>
              </a:p>
            </p:txBody>
          </p:sp>
          <p:sp>
            <p:nvSpPr>
              <p:cNvPr id="20" name="Freeform: Shape 21">
                <a:extLst>
                  <a:ext uri="{FF2B5EF4-FFF2-40B4-BE49-F238E27FC236}">
                    <a16:creationId xmlns:a16="http://schemas.microsoft.com/office/drawing/2014/main" id="{E9116148-3D1F-CA13-3DFE-C881DB0FFA7F}"/>
                  </a:ext>
                </a:extLst>
              </p:cNvPr>
              <p:cNvSpPr/>
              <p:nvPr/>
            </p:nvSpPr>
            <p:spPr>
              <a:xfrm>
                <a:off x="2256720" y="2421725"/>
                <a:ext cx="47670" cy="53648"/>
              </a:xfrm>
              <a:custGeom>
                <a:avLst/>
                <a:gdLst>
                  <a:gd name="connsiteX0" fmla="*/ 47671 w 47670"/>
                  <a:gd name="connsiteY0" fmla="*/ 0 h 53648"/>
                  <a:gd name="connsiteX1" fmla="*/ 34561 w 47670"/>
                  <a:gd name="connsiteY1" fmla="*/ 0 h 53648"/>
                  <a:gd name="connsiteX2" fmla="*/ 23839 w 47670"/>
                  <a:gd name="connsiteY2" fmla="*/ 17883 h 53648"/>
                  <a:gd name="connsiteX3" fmla="*/ 13110 w 47670"/>
                  <a:gd name="connsiteY3" fmla="*/ 0 h 53648"/>
                  <a:gd name="connsiteX4" fmla="*/ 0 w 47670"/>
                  <a:gd name="connsiteY4" fmla="*/ 0 h 53648"/>
                  <a:gd name="connsiteX5" fmla="*/ 15497 w 47670"/>
                  <a:gd name="connsiteY5" fmla="*/ 26228 h 53648"/>
                  <a:gd name="connsiteX6" fmla="*/ 0 w 47670"/>
                  <a:gd name="connsiteY6" fmla="*/ 53649 h 53648"/>
                  <a:gd name="connsiteX7" fmla="*/ 11923 w 47670"/>
                  <a:gd name="connsiteY7" fmla="*/ 53649 h 53648"/>
                  <a:gd name="connsiteX8" fmla="*/ 13110 w 47670"/>
                  <a:gd name="connsiteY8" fmla="*/ 52456 h 53648"/>
                  <a:gd name="connsiteX9" fmla="*/ 23839 w 47670"/>
                  <a:gd name="connsiteY9" fmla="*/ 33382 h 53648"/>
                  <a:gd name="connsiteX10" fmla="*/ 29793 w 47670"/>
                  <a:gd name="connsiteY10" fmla="*/ 42919 h 53648"/>
                  <a:gd name="connsiteX11" fmla="*/ 40522 w 47670"/>
                  <a:gd name="connsiteY11" fmla="*/ 38150 h 53648"/>
                  <a:gd name="connsiteX12" fmla="*/ 33374 w 47670"/>
                  <a:gd name="connsiteY12" fmla="*/ 25036 h 53648"/>
                  <a:gd name="connsiteX13" fmla="*/ 47671 w 47670"/>
                  <a:gd name="connsiteY13" fmla="*/ 0 h 5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670" h="53648">
                    <a:moveTo>
                      <a:pt x="47671" y="0"/>
                    </a:moveTo>
                    <a:lnTo>
                      <a:pt x="34561" y="0"/>
                    </a:lnTo>
                    <a:lnTo>
                      <a:pt x="23839" y="17883"/>
                    </a:lnTo>
                    <a:lnTo>
                      <a:pt x="13110" y="0"/>
                    </a:lnTo>
                    <a:lnTo>
                      <a:pt x="0" y="0"/>
                    </a:lnTo>
                    <a:lnTo>
                      <a:pt x="15497" y="26228"/>
                    </a:lnTo>
                    <a:lnTo>
                      <a:pt x="0" y="53649"/>
                    </a:lnTo>
                    <a:lnTo>
                      <a:pt x="11923" y="53649"/>
                    </a:lnTo>
                    <a:cubicBezTo>
                      <a:pt x="11923" y="53649"/>
                      <a:pt x="13110" y="53649"/>
                      <a:pt x="13110" y="52456"/>
                    </a:cubicBezTo>
                    <a:lnTo>
                      <a:pt x="23839" y="33382"/>
                    </a:lnTo>
                    <a:lnTo>
                      <a:pt x="29793" y="42919"/>
                    </a:lnTo>
                    <a:cubicBezTo>
                      <a:pt x="33374" y="41727"/>
                      <a:pt x="36948" y="39342"/>
                      <a:pt x="40522" y="38150"/>
                    </a:cubicBezTo>
                    <a:lnTo>
                      <a:pt x="33374" y="25036"/>
                    </a:lnTo>
                    <a:lnTo>
                      <a:pt x="47671" y="0"/>
                    </a:lnTo>
                    <a:close/>
                  </a:path>
                </a:pathLst>
              </a:custGeom>
              <a:solidFill>
                <a:srgbClr val="2D5967"/>
              </a:solidFill>
              <a:ln w="6417" cap="flat">
                <a:noFill/>
                <a:prstDash val="solid"/>
                <a:miter/>
              </a:ln>
            </p:spPr>
            <p:txBody>
              <a:bodyPr rtlCol="0" anchor="ctr"/>
              <a:lstStyle/>
              <a:p>
                <a:endParaRPr lang="en-US"/>
              </a:p>
            </p:txBody>
          </p:sp>
          <p:sp>
            <p:nvSpPr>
              <p:cNvPr id="21" name="Freeform: Shape 22">
                <a:extLst>
                  <a:ext uri="{FF2B5EF4-FFF2-40B4-BE49-F238E27FC236}">
                    <a16:creationId xmlns:a16="http://schemas.microsoft.com/office/drawing/2014/main" id="{6502FEC9-AA57-15EB-61EF-169FC89BC809}"/>
                  </a:ext>
                </a:extLst>
              </p:cNvPr>
              <p:cNvSpPr/>
              <p:nvPr/>
            </p:nvSpPr>
            <p:spPr>
              <a:xfrm>
                <a:off x="2321061" y="2420512"/>
                <a:ext cx="48864" cy="32177"/>
              </a:xfrm>
              <a:custGeom>
                <a:avLst/>
                <a:gdLst>
                  <a:gd name="connsiteX0" fmla="*/ 41716 w 48864"/>
                  <a:gd name="connsiteY0" fmla="*/ 7150 h 32177"/>
                  <a:gd name="connsiteX1" fmla="*/ 23839 w 48864"/>
                  <a:gd name="connsiteY1" fmla="*/ 0 h 32177"/>
                  <a:gd name="connsiteX2" fmla="*/ 5961 w 48864"/>
                  <a:gd name="connsiteY2" fmla="*/ 7150 h 32177"/>
                  <a:gd name="connsiteX3" fmla="*/ 0 w 48864"/>
                  <a:gd name="connsiteY3" fmla="*/ 27410 h 32177"/>
                  <a:gd name="connsiteX4" fmla="*/ 0 w 48864"/>
                  <a:gd name="connsiteY4" fmla="*/ 32177 h 32177"/>
                  <a:gd name="connsiteX5" fmla="*/ 10729 w 48864"/>
                  <a:gd name="connsiteY5" fmla="*/ 30986 h 32177"/>
                  <a:gd name="connsiteX6" fmla="*/ 10729 w 48864"/>
                  <a:gd name="connsiteY6" fmla="*/ 28602 h 32177"/>
                  <a:gd name="connsiteX7" fmla="*/ 14303 w 48864"/>
                  <a:gd name="connsiteY7" fmla="*/ 15493 h 32177"/>
                  <a:gd name="connsiteX8" fmla="*/ 23839 w 48864"/>
                  <a:gd name="connsiteY8" fmla="*/ 10726 h 32177"/>
                  <a:gd name="connsiteX9" fmla="*/ 33374 w 48864"/>
                  <a:gd name="connsiteY9" fmla="*/ 15493 h 32177"/>
                  <a:gd name="connsiteX10" fmla="*/ 36948 w 48864"/>
                  <a:gd name="connsiteY10" fmla="*/ 28602 h 32177"/>
                  <a:gd name="connsiteX11" fmla="*/ 36948 w 48864"/>
                  <a:gd name="connsiteY11" fmla="*/ 29794 h 32177"/>
                  <a:gd name="connsiteX12" fmla="*/ 48864 w 48864"/>
                  <a:gd name="connsiteY12" fmla="*/ 29794 h 32177"/>
                  <a:gd name="connsiteX13" fmla="*/ 48864 w 48864"/>
                  <a:gd name="connsiteY13" fmla="*/ 28602 h 32177"/>
                  <a:gd name="connsiteX14" fmla="*/ 41716 w 48864"/>
                  <a:gd name="connsiteY14" fmla="*/ 7150 h 32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864" h="32177">
                    <a:moveTo>
                      <a:pt x="41716" y="7150"/>
                    </a:moveTo>
                    <a:cubicBezTo>
                      <a:pt x="36948" y="2383"/>
                      <a:pt x="30987" y="0"/>
                      <a:pt x="23839" y="0"/>
                    </a:cubicBezTo>
                    <a:cubicBezTo>
                      <a:pt x="15497" y="0"/>
                      <a:pt x="9536" y="2383"/>
                      <a:pt x="5961" y="7150"/>
                    </a:cubicBezTo>
                    <a:cubicBezTo>
                      <a:pt x="1194" y="11917"/>
                      <a:pt x="0" y="19068"/>
                      <a:pt x="0" y="27410"/>
                    </a:cubicBezTo>
                    <a:cubicBezTo>
                      <a:pt x="0" y="29794"/>
                      <a:pt x="0" y="30986"/>
                      <a:pt x="0" y="32177"/>
                    </a:cubicBezTo>
                    <a:cubicBezTo>
                      <a:pt x="2387" y="32177"/>
                      <a:pt x="5961" y="30986"/>
                      <a:pt x="10729" y="30986"/>
                    </a:cubicBezTo>
                    <a:cubicBezTo>
                      <a:pt x="10729" y="29794"/>
                      <a:pt x="10729" y="28602"/>
                      <a:pt x="10729" y="28602"/>
                    </a:cubicBezTo>
                    <a:cubicBezTo>
                      <a:pt x="10729" y="22643"/>
                      <a:pt x="11923" y="17876"/>
                      <a:pt x="14303" y="15493"/>
                    </a:cubicBezTo>
                    <a:cubicBezTo>
                      <a:pt x="16684" y="11917"/>
                      <a:pt x="20265" y="10726"/>
                      <a:pt x="23839" y="10726"/>
                    </a:cubicBezTo>
                    <a:cubicBezTo>
                      <a:pt x="27413" y="10726"/>
                      <a:pt x="30987" y="11917"/>
                      <a:pt x="33374" y="15493"/>
                    </a:cubicBezTo>
                    <a:cubicBezTo>
                      <a:pt x="35755" y="19068"/>
                      <a:pt x="36948" y="22643"/>
                      <a:pt x="36948" y="28602"/>
                    </a:cubicBezTo>
                    <a:lnTo>
                      <a:pt x="36948" y="29794"/>
                    </a:lnTo>
                    <a:cubicBezTo>
                      <a:pt x="40522" y="29794"/>
                      <a:pt x="45290" y="29794"/>
                      <a:pt x="48864" y="29794"/>
                    </a:cubicBezTo>
                    <a:lnTo>
                      <a:pt x="48864" y="28602"/>
                    </a:lnTo>
                    <a:cubicBezTo>
                      <a:pt x="47671" y="19068"/>
                      <a:pt x="46477" y="11917"/>
                      <a:pt x="41716" y="7150"/>
                    </a:cubicBezTo>
                    <a:close/>
                  </a:path>
                </a:pathLst>
              </a:custGeom>
              <a:solidFill>
                <a:srgbClr val="2D5967"/>
              </a:solidFill>
              <a:ln w="6417" cap="flat">
                <a:noFill/>
                <a:prstDash val="solid"/>
                <a:miter/>
              </a:ln>
            </p:spPr>
            <p:txBody>
              <a:bodyPr rtlCol="0" anchor="ctr"/>
              <a:lstStyle/>
              <a:p>
                <a:endParaRPr lang="en-US"/>
              </a:p>
            </p:txBody>
          </p:sp>
          <p:sp>
            <p:nvSpPr>
              <p:cNvPr id="22" name="Freeform: Shape 23">
                <a:extLst>
                  <a:ext uri="{FF2B5EF4-FFF2-40B4-BE49-F238E27FC236}">
                    <a16:creationId xmlns:a16="http://schemas.microsoft.com/office/drawing/2014/main" id="{A0F33011-A295-3EFF-27ED-8560AF46FB23}"/>
                  </a:ext>
                </a:extLst>
              </p:cNvPr>
              <p:cNvSpPr/>
              <p:nvPr/>
            </p:nvSpPr>
            <p:spPr>
              <a:xfrm>
                <a:off x="2384235" y="2421725"/>
                <a:ext cx="47670" cy="44111"/>
              </a:xfrm>
              <a:custGeom>
                <a:avLst/>
                <a:gdLst>
                  <a:gd name="connsiteX0" fmla="*/ 47671 w 47670"/>
                  <a:gd name="connsiteY0" fmla="*/ 0 h 44111"/>
                  <a:gd name="connsiteX1" fmla="*/ 34561 w 47670"/>
                  <a:gd name="connsiteY1" fmla="*/ 0 h 44111"/>
                  <a:gd name="connsiteX2" fmla="*/ 23839 w 47670"/>
                  <a:gd name="connsiteY2" fmla="*/ 17883 h 44111"/>
                  <a:gd name="connsiteX3" fmla="*/ 13110 w 47670"/>
                  <a:gd name="connsiteY3" fmla="*/ 0 h 44111"/>
                  <a:gd name="connsiteX4" fmla="*/ 0 w 47670"/>
                  <a:gd name="connsiteY4" fmla="*/ 0 h 44111"/>
                  <a:gd name="connsiteX5" fmla="*/ 15497 w 47670"/>
                  <a:gd name="connsiteY5" fmla="*/ 26228 h 44111"/>
                  <a:gd name="connsiteX6" fmla="*/ 11916 w 47670"/>
                  <a:gd name="connsiteY6" fmla="*/ 33382 h 44111"/>
                  <a:gd name="connsiteX7" fmla="*/ 22645 w 47670"/>
                  <a:gd name="connsiteY7" fmla="*/ 35766 h 44111"/>
                  <a:gd name="connsiteX8" fmla="*/ 23839 w 47670"/>
                  <a:gd name="connsiteY8" fmla="*/ 33382 h 44111"/>
                  <a:gd name="connsiteX9" fmla="*/ 26219 w 47670"/>
                  <a:gd name="connsiteY9" fmla="*/ 36958 h 44111"/>
                  <a:gd name="connsiteX10" fmla="*/ 42903 w 47670"/>
                  <a:gd name="connsiteY10" fmla="*/ 44111 h 44111"/>
                  <a:gd name="connsiteX11" fmla="*/ 32181 w 47670"/>
                  <a:gd name="connsiteY11" fmla="*/ 26228 h 44111"/>
                  <a:gd name="connsiteX12" fmla="*/ 47671 w 47670"/>
                  <a:gd name="connsiteY12" fmla="*/ 0 h 44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670" h="44111">
                    <a:moveTo>
                      <a:pt x="47671" y="0"/>
                    </a:moveTo>
                    <a:lnTo>
                      <a:pt x="34561" y="0"/>
                    </a:lnTo>
                    <a:lnTo>
                      <a:pt x="23839" y="17883"/>
                    </a:lnTo>
                    <a:lnTo>
                      <a:pt x="13110" y="0"/>
                    </a:lnTo>
                    <a:lnTo>
                      <a:pt x="0" y="0"/>
                    </a:lnTo>
                    <a:lnTo>
                      <a:pt x="15497" y="26228"/>
                    </a:lnTo>
                    <a:lnTo>
                      <a:pt x="11916" y="33382"/>
                    </a:lnTo>
                    <a:cubicBezTo>
                      <a:pt x="15497" y="34573"/>
                      <a:pt x="19071" y="35766"/>
                      <a:pt x="22645" y="35766"/>
                    </a:cubicBezTo>
                    <a:lnTo>
                      <a:pt x="23839" y="33382"/>
                    </a:lnTo>
                    <a:lnTo>
                      <a:pt x="26219" y="36958"/>
                    </a:lnTo>
                    <a:cubicBezTo>
                      <a:pt x="32181" y="39342"/>
                      <a:pt x="38135" y="41727"/>
                      <a:pt x="42903" y="44111"/>
                    </a:cubicBezTo>
                    <a:lnTo>
                      <a:pt x="32181" y="26228"/>
                    </a:lnTo>
                    <a:lnTo>
                      <a:pt x="47671" y="0"/>
                    </a:lnTo>
                    <a:close/>
                  </a:path>
                </a:pathLst>
              </a:custGeom>
              <a:solidFill>
                <a:srgbClr val="2D5967"/>
              </a:solidFill>
              <a:ln w="6417" cap="flat">
                <a:noFill/>
                <a:prstDash val="solid"/>
                <a:miter/>
              </a:ln>
            </p:spPr>
            <p:txBody>
              <a:bodyPr rtlCol="0" anchor="ctr"/>
              <a:lstStyle/>
              <a:p>
                <a:endParaRPr lang="en-US"/>
              </a:p>
            </p:txBody>
          </p:sp>
          <p:sp>
            <p:nvSpPr>
              <p:cNvPr id="23" name="Freeform: Shape 24">
                <a:extLst>
                  <a:ext uri="{FF2B5EF4-FFF2-40B4-BE49-F238E27FC236}">
                    <a16:creationId xmlns:a16="http://schemas.microsoft.com/office/drawing/2014/main" id="{61CDA76B-5550-D7CB-A978-71DCDBDE03B9}"/>
                  </a:ext>
                </a:extLst>
              </p:cNvPr>
              <p:cNvSpPr/>
              <p:nvPr/>
            </p:nvSpPr>
            <p:spPr>
              <a:xfrm>
                <a:off x="2055301" y="2518292"/>
                <a:ext cx="33373" cy="52457"/>
              </a:xfrm>
              <a:custGeom>
                <a:avLst/>
                <a:gdLst>
                  <a:gd name="connsiteX0" fmla="*/ 20264 w 33373"/>
                  <a:gd name="connsiteY0" fmla="*/ 35766 h 52457"/>
                  <a:gd name="connsiteX1" fmla="*/ 27413 w 33373"/>
                  <a:gd name="connsiteY1" fmla="*/ 27421 h 52457"/>
                  <a:gd name="connsiteX2" fmla="*/ 30987 w 33373"/>
                  <a:gd name="connsiteY2" fmla="*/ 20268 h 52457"/>
                  <a:gd name="connsiteX3" fmla="*/ 33374 w 33373"/>
                  <a:gd name="connsiteY3" fmla="*/ 14306 h 52457"/>
                  <a:gd name="connsiteX4" fmla="*/ 28606 w 33373"/>
                  <a:gd name="connsiteY4" fmla="*/ 3577 h 52457"/>
                  <a:gd name="connsiteX5" fmla="*/ 15497 w 33373"/>
                  <a:gd name="connsiteY5" fmla="*/ 0 h 52457"/>
                  <a:gd name="connsiteX6" fmla="*/ 7155 w 33373"/>
                  <a:gd name="connsiteY6" fmla="*/ 1192 h 52457"/>
                  <a:gd name="connsiteX7" fmla="*/ 0 w 33373"/>
                  <a:gd name="connsiteY7" fmla="*/ 3577 h 52457"/>
                  <a:gd name="connsiteX8" fmla="*/ 0 w 33373"/>
                  <a:gd name="connsiteY8" fmla="*/ 13115 h 52457"/>
                  <a:gd name="connsiteX9" fmla="*/ 13110 w 33373"/>
                  <a:gd name="connsiteY9" fmla="*/ 9538 h 52457"/>
                  <a:gd name="connsiteX10" fmla="*/ 21451 w 33373"/>
                  <a:gd name="connsiteY10" fmla="*/ 16691 h 52457"/>
                  <a:gd name="connsiteX11" fmla="*/ 21451 w 33373"/>
                  <a:gd name="connsiteY11" fmla="*/ 19075 h 52457"/>
                  <a:gd name="connsiteX12" fmla="*/ 19071 w 33373"/>
                  <a:gd name="connsiteY12" fmla="*/ 23844 h 52457"/>
                  <a:gd name="connsiteX13" fmla="*/ 13110 w 33373"/>
                  <a:gd name="connsiteY13" fmla="*/ 30997 h 52457"/>
                  <a:gd name="connsiteX14" fmla="*/ 0 w 33373"/>
                  <a:gd name="connsiteY14" fmla="*/ 45304 h 52457"/>
                  <a:gd name="connsiteX15" fmla="*/ 0 w 33373"/>
                  <a:gd name="connsiteY15" fmla="*/ 52457 h 52457"/>
                  <a:gd name="connsiteX16" fmla="*/ 33374 w 33373"/>
                  <a:gd name="connsiteY16" fmla="*/ 52457 h 52457"/>
                  <a:gd name="connsiteX17" fmla="*/ 33374 w 33373"/>
                  <a:gd name="connsiteY17" fmla="*/ 42920 h 52457"/>
                  <a:gd name="connsiteX18" fmla="*/ 13110 w 33373"/>
                  <a:gd name="connsiteY18" fmla="*/ 42920 h 52457"/>
                  <a:gd name="connsiteX19" fmla="*/ 20264 w 33373"/>
                  <a:gd name="connsiteY19" fmla="*/ 35766 h 52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3373" h="52457">
                    <a:moveTo>
                      <a:pt x="20264" y="35766"/>
                    </a:moveTo>
                    <a:cubicBezTo>
                      <a:pt x="22645" y="32189"/>
                      <a:pt x="25032" y="29805"/>
                      <a:pt x="27413" y="27421"/>
                    </a:cubicBezTo>
                    <a:cubicBezTo>
                      <a:pt x="29793" y="25037"/>
                      <a:pt x="30987" y="22652"/>
                      <a:pt x="30987" y="20268"/>
                    </a:cubicBezTo>
                    <a:cubicBezTo>
                      <a:pt x="32180" y="17883"/>
                      <a:pt x="33374" y="16691"/>
                      <a:pt x="33374" y="14306"/>
                    </a:cubicBezTo>
                    <a:cubicBezTo>
                      <a:pt x="33374" y="9538"/>
                      <a:pt x="32180" y="5961"/>
                      <a:pt x="28606" y="3577"/>
                    </a:cubicBezTo>
                    <a:cubicBezTo>
                      <a:pt x="25032" y="1192"/>
                      <a:pt x="21451" y="0"/>
                      <a:pt x="15497" y="0"/>
                    </a:cubicBezTo>
                    <a:cubicBezTo>
                      <a:pt x="13110" y="0"/>
                      <a:pt x="10729" y="0"/>
                      <a:pt x="7155" y="1192"/>
                    </a:cubicBezTo>
                    <a:cubicBezTo>
                      <a:pt x="4768" y="2384"/>
                      <a:pt x="2387" y="2384"/>
                      <a:pt x="0" y="3577"/>
                    </a:cubicBezTo>
                    <a:lnTo>
                      <a:pt x="0" y="13115"/>
                    </a:lnTo>
                    <a:cubicBezTo>
                      <a:pt x="4768" y="10730"/>
                      <a:pt x="9535" y="9538"/>
                      <a:pt x="13110" y="9538"/>
                    </a:cubicBezTo>
                    <a:cubicBezTo>
                      <a:pt x="19071" y="9538"/>
                      <a:pt x="21451" y="11923"/>
                      <a:pt x="21451" y="16691"/>
                    </a:cubicBezTo>
                    <a:cubicBezTo>
                      <a:pt x="21451" y="16691"/>
                      <a:pt x="21451" y="17883"/>
                      <a:pt x="21451" y="19075"/>
                    </a:cubicBezTo>
                    <a:cubicBezTo>
                      <a:pt x="21451" y="20268"/>
                      <a:pt x="20264" y="21460"/>
                      <a:pt x="19071" y="23844"/>
                    </a:cubicBezTo>
                    <a:cubicBezTo>
                      <a:pt x="17877" y="25037"/>
                      <a:pt x="15497" y="27421"/>
                      <a:pt x="13110" y="30997"/>
                    </a:cubicBezTo>
                    <a:lnTo>
                      <a:pt x="0" y="45304"/>
                    </a:lnTo>
                    <a:lnTo>
                      <a:pt x="0" y="52457"/>
                    </a:lnTo>
                    <a:lnTo>
                      <a:pt x="33374" y="52457"/>
                    </a:lnTo>
                    <a:lnTo>
                      <a:pt x="33374" y="42920"/>
                    </a:lnTo>
                    <a:lnTo>
                      <a:pt x="13110" y="42920"/>
                    </a:lnTo>
                    <a:lnTo>
                      <a:pt x="20264" y="35766"/>
                    </a:lnTo>
                    <a:close/>
                  </a:path>
                </a:pathLst>
              </a:custGeom>
              <a:solidFill>
                <a:srgbClr val="2D5967"/>
              </a:solidFill>
              <a:ln w="6417" cap="flat">
                <a:noFill/>
                <a:prstDash val="solid"/>
                <a:miter/>
              </a:ln>
            </p:spPr>
            <p:txBody>
              <a:bodyPr rtlCol="0" anchor="ctr"/>
              <a:lstStyle/>
              <a:p>
                <a:endParaRPr lang="en-US"/>
              </a:p>
            </p:txBody>
          </p:sp>
          <p:sp>
            <p:nvSpPr>
              <p:cNvPr id="24" name="Freeform: Shape 25">
                <a:extLst>
                  <a:ext uri="{FF2B5EF4-FFF2-40B4-BE49-F238E27FC236}">
                    <a16:creationId xmlns:a16="http://schemas.microsoft.com/office/drawing/2014/main" id="{C1148506-FA78-DA35-C592-4A9BB25F2F5B}"/>
                  </a:ext>
                </a:extLst>
              </p:cNvPr>
              <p:cNvSpPr/>
              <p:nvPr/>
            </p:nvSpPr>
            <p:spPr>
              <a:xfrm>
                <a:off x="2098211" y="2560028"/>
                <a:ext cx="11916" cy="10725"/>
              </a:xfrm>
              <a:custGeom>
                <a:avLst/>
                <a:gdLst>
                  <a:gd name="connsiteX0" fmla="*/ 11916 w 11916"/>
                  <a:gd name="connsiteY0" fmla="*/ 0 h 10725"/>
                  <a:gd name="connsiteX1" fmla="*/ 0 w 11916"/>
                  <a:gd name="connsiteY1" fmla="*/ 0 h 10725"/>
                  <a:gd name="connsiteX2" fmla="*/ 0 w 11916"/>
                  <a:gd name="connsiteY2" fmla="*/ 10726 h 10725"/>
                  <a:gd name="connsiteX3" fmla="*/ 11916 w 11916"/>
                  <a:gd name="connsiteY3" fmla="*/ 10726 h 10725"/>
                  <a:gd name="connsiteX4" fmla="*/ 11916 w 11916"/>
                  <a:gd name="connsiteY4" fmla="*/ 0 h 10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16" h="10725">
                    <a:moveTo>
                      <a:pt x="11916" y="0"/>
                    </a:moveTo>
                    <a:lnTo>
                      <a:pt x="0" y="0"/>
                    </a:lnTo>
                    <a:lnTo>
                      <a:pt x="0" y="10726"/>
                    </a:lnTo>
                    <a:lnTo>
                      <a:pt x="11916" y="10726"/>
                    </a:lnTo>
                    <a:lnTo>
                      <a:pt x="11916" y="0"/>
                    </a:lnTo>
                    <a:close/>
                  </a:path>
                </a:pathLst>
              </a:custGeom>
              <a:solidFill>
                <a:srgbClr val="2D5967"/>
              </a:solidFill>
              <a:ln w="6417" cap="flat">
                <a:noFill/>
                <a:prstDash val="solid"/>
                <a:miter/>
              </a:ln>
            </p:spPr>
            <p:txBody>
              <a:bodyPr rtlCol="0" anchor="ctr"/>
              <a:lstStyle/>
              <a:p>
                <a:endParaRPr lang="en-US"/>
              </a:p>
            </p:txBody>
          </p:sp>
          <p:sp>
            <p:nvSpPr>
              <p:cNvPr id="25" name="Freeform: Shape 26">
                <a:extLst>
                  <a:ext uri="{FF2B5EF4-FFF2-40B4-BE49-F238E27FC236}">
                    <a16:creationId xmlns:a16="http://schemas.microsoft.com/office/drawing/2014/main" id="{291E1DC3-02CD-C8FB-965D-8611F72A5BB2}"/>
                  </a:ext>
                </a:extLst>
              </p:cNvPr>
              <p:cNvSpPr/>
              <p:nvPr/>
            </p:nvSpPr>
            <p:spPr>
              <a:xfrm>
                <a:off x="2098211" y="2532598"/>
                <a:ext cx="11916" cy="10725"/>
              </a:xfrm>
              <a:custGeom>
                <a:avLst/>
                <a:gdLst>
                  <a:gd name="connsiteX0" fmla="*/ 11916 w 11916"/>
                  <a:gd name="connsiteY0" fmla="*/ 0 h 10725"/>
                  <a:gd name="connsiteX1" fmla="*/ 0 w 11916"/>
                  <a:gd name="connsiteY1" fmla="*/ 0 h 10725"/>
                  <a:gd name="connsiteX2" fmla="*/ 0 w 11916"/>
                  <a:gd name="connsiteY2" fmla="*/ 10726 h 10725"/>
                  <a:gd name="connsiteX3" fmla="*/ 11916 w 11916"/>
                  <a:gd name="connsiteY3" fmla="*/ 10726 h 10725"/>
                  <a:gd name="connsiteX4" fmla="*/ 11916 w 11916"/>
                  <a:gd name="connsiteY4" fmla="*/ 0 h 10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16" h="10725">
                    <a:moveTo>
                      <a:pt x="11916" y="0"/>
                    </a:moveTo>
                    <a:lnTo>
                      <a:pt x="0" y="0"/>
                    </a:lnTo>
                    <a:lnTo>
                      <a:pt x="0" y="10726"/>
                    </a:lnTo>
                    <a:lnTo>
                      <a:pt x="11916" y="10726"/>
                    </a:lnTo>
                    <a:lnTo>
                      <a:pt x="11916" y="0"/>
                    </a:lnTo>
                    <a:close/>
                  </a:path>
                </a:pathLst>
              </a:custGeom>
              <a:solidFill>
                <a:srgbClr val="2D5967"/>
              </a:solidFill>
              <a:ln w="6417" cap="flat">
                <a:noFill/>
                <a:prstDash val="solid"/>
                <a:miter/>
              </a:ln>
            </p:spPr>
            <p:txBody>
              <a:bodyPr rtlCol="0" anchor="ctr"/>
              <a:lstStyle/>
              <a:p>
                <a:endParaRPr lang="en-US"/>
              </a:p>
            </p:txBody>
          </p:sp>
          <p:sp>
            <p:nvSpPr>
              <p:cNvPr id="26" name="Freeform: Shape 27">
                <a:extLst>
                  <a:ext uri="{FF2B5EF4-FFF2-40B4-BE49-F238E27FC236}">
                    <a16:creationId xmlns:a16="http://schemas.microsoft.com/office/drawing/2014/main" id="{5718A692-C893-BF0A-0D87-18B322C11B1F}"/>
                  </a:ext>
                </a:extLst>
              </p:cNvPr>
              <p:cNvSpPr/>
              <p:nvPr/>
            </p:nvSpPr>
            <p:spPr>
              <a:xfrm>
                <a:off x="2131572" y="2518292"/>
                <a:ext cx="48864" cy="52457"/>
              </a:xfrm>
              <a:custGeom>
                <a:avLst/>
                <a:gdLst>
                  <a:gd name="connsiteX0" fmla="*/ 47671 w 48864"/>
                  <a:gd name="connsiteY0" fmla="*/ 0 h 52457"/>
                  <a:gd name="connsiteX1" fmla="*/ 34561 w 48864"/>
                  <a:gd name="connsiteY1" fmla="*/ 0 h 52457"/>
                  <a:gd name="connsiteX2" fmla="*/ 23839 w 48864"/>
                  <a:gd name="connsiteY2" fmla="*/ 17883 h 52457"/>
                  <a:gd name="connsiteX3" fmla="*/ 13110 w 48864"/>
                  <a:gd name="connsiteY3" fmla="*/ 0 h 52457"/>
                  <a:gd name="connsiteX4" fmla="*/ 0 w 48864"/>
                  <a:gd name="connsiteY4" fmla="*/ 0 h 52457"/>
                  <a:gd name="connsiteX5" fmla="*/ 15497 w 48864"/>
                  <a:gd name="connsiteY5" fmla="*/ 25037 h 52457"/>
                  <a:gd name="connsiteX6" fmla="*/ 0 w 48864"/>
                  <a:gd name="connsiteY6" fmla="*/ 52457 h 52457"/>
                  <a:gd name="connsiteX7" fmla="*/ 11916 w 48864"/>
                  <a:gd name="connsiteY7" fmla="*/ 52457 h 52457"/>
                  <a:gd name="connsiteX8" fmla="*/ 23839 w 48864"/>
                  <a:gd name="connsiteY8" fmla="*/ 33382 h 52457"/>
                  <a:gd name="connsiteX9" fmla="*/ 35755 w 48864"/>
                  <a:gd name="connsiteY9" fmla="*/ 52457 h 52457"/>
                  <a:gd name="connsiteX10" fmla="*/ 48864 w 48864"/>
                  <a:gd name="connsiteY10" fmla="*/ 52457 h 52457"/>
                  <a:gd name="connsiteX11" fmla="*/ 32181 w 48864"/>
                  <a:gd name="connsiteY11" fmla="*/ 25037 h 52457"/>
                  <a:gd name="connsiteX12" fmla="*/ 47671 w 48864"/>
                  <a:gd name="connsiteY12" fmla="*/ 0 h 52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864" h="52457">
                    <a:moveTo>
                      <a:pt x="47671" y="0"/>
                    </a:moveTo>
                    <a:lnTo>
                      <a:pt x="34561" y="0"/>
                    </a:lnTo>
                    <a:lnTo>
                      <a:pt x="23839" y="17883"/>
                    </a:lnTo>
                    <a:lnTo>
                      <a:pt x="13110" y="0"/>
                    </a:lnTo>
                    <a:lnTo>
                      <a:pt x="0" y="0"/>
                    </a:lnTo>
                    <a:lnTo>
                      <a:pt x="15497" y="25037"/>
                    </a:lnTo>
                    <a:lnTo>
                      <a:pt x="0" y="52457"/>
                    </a:lnTo>
                    <a:lnTo>
                      <a:pt x="11916" y="52457"/>
                    </a:lnTo>
                    <a:lnTo>
                      <a:pt x="23839" y="33382"/>
                    </a:lnTo>
                    <a:lnTo>
                      <a:pt x="35755" y="52457"/>
                    </a:lnTo>
                    <a:lnTo>
                      <a:pt x="48864" y="52457"/>
                    </a:lnTo>
                    <a:lnTo>
                      <a:pt x="32181" y="25037"/>
                    </a:lnTo>
                    <a:lnTo>
                      <a:pt x="47671" y="0"/>
                    </a:lnTo>
                    <a:close/>
                  </a:path>
                </a:pathLst>
              </a:custGeom>
              <a:solidFill>
                <a:srgbClr val="2D5967"/>
              </a:solidFill>
              <a:ln w="6417" cap="flat">
                <a:noFill/>
                <a:prstDash val="solid"/>
                <a:miter/>
              </a:ln>
            </p:spPr>
            <p:txBody>
              <a:bodyPr rtlCol="0" anchor="ctr"/>
              <a:lstStyle/>
              <a:p>
                <a:endParaRPr lang="en-US"/>
              </a:p>
            </p:txBody>
          </p:sp>
          <p:sp>
            <p:nvSpPr>
              <p:cNvPr id="27" name="Freeform: Shape 28">
                <a:extLst>
                  <a:ext uri="{FF2B5EF4-FFF2-40B4-BE49-F238E27FC236}">
                    <a16:creationId xmlns:a16="http://schemas.microsoft.com/office/drawing/2014/main" id="{258D9C84-FF1D-A7FC-E307-BF9994CCD6B0}"/>
                  </a:ext>
                </a:extLst>
              </p:cNvPr>
              <p:cNvSpPr/>
              <p:nvPr/>
            </p:nvSpPr>
            <p:spPr>
              <a:xfrm>
                <a:off x="2193539" y="2515909"/>
                <a:ext cx="29793" cy="48880"/>
              </a:xfrm>
              <a:custGeom>
                <a:avLst/>
                <a:gdLst>
                  <a:gd name="connsiteX0" fmla="*/ 7155 w 29793"/>
                  <a:gd name="connsiteY0" fmla="*/ 8345 h 48880"/>
                  <a:gd name="connsiteX1" fmla="*/ 0 w 29793"/>
                  <a:gd name="connsiteY1" fmla="*/ 28613 h 48880"/>
                  <a:gd name="connsiteX2" fmla="*/ 5961 w 29793"/>
                  <a:gd name="connsiteY2" fmla="*/ 48880 h 48880"/>
                  <a:gd name="connsiteX3" fmla="*/ 10729 w 29793"/>
                  <a:gd name="connsiteY3" fmla="*/ 33382 h 48880"/>
                  <a:gd name="connsiteX4" fmla="*/ 10729 w 29793"/>
                  <a:gd name="connsiteY4" fmla="*/ 27420 h 48880"/>
                  <a:gd name="connsiteX5" fmla="*/ 14303 w 29793"/>
                  <a:gd name="connsiteY5" fmla="*/ 14306 h 48880"/>
                  <a:gd name="connsiteX6" fmla="*/ 23839 w 29793"/>
                  <a:gd name="connsiteY6" fmla="*/ 9537 h 48880"/>
                  <a:gd name="connsiteX7" fmla="*/ 29793 w 29793"/>
                  <a:gd name="connsiteY7" fmla="*/ 0 h 48880"/>
                  <a:gd name="connsiteX8" fmla="*/ 23839 w 29793"/>
                  <a:gd name="connsiteY8" fmla="*/ 0 h 48880"/>
                  <a:gd name="connsiteX9" fmla="*/ 7155 w 29793"/>
                  <a:gd name="connsiteY9" fmla="*/ 8345 h 48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93" h="48880">
                    <a:moveTo>
                      <a:pt x="7155" y="8345"/>
                    </a:moveTo>
                    <a:cubicBezTo>
                      <a:pt x="2387" y="13114"/>
                      <a:pt x="0" y="20268"/>
                      <a:pt x="0" y="28613"/>
                    </a:cubicBezTo>
                    <a:cubicBezTo>
                      <a:pt x="0" y="36958"/>
                      <a:pt x="2387" y="44111"/>
                      <a:pt x="5961" y="48880"/>
                    </a:cubicBezTo>
                    <a:cubicBezTo>
                      <a:pt x="7155" y="44111"/>
                      <a:pt x="9535" y="38151"/>
                      <a:pt x="10729" y="33382"/>
                    </a:cubicBezTo>
                    <a:cubicBezTo>
                      <a:pt x="10729" y="32189"/>
                      <a:pt x="10729" y="29805"/>
                      <a:pt x="10729" y="27420"/>
                    </a:cubicBezTo>
                    <a:cubicBezTo>
                      <a:pt x="10729" y="21460"/>
                      <a:pt x="11923" y="16691"/>
                      <a:pt x="14303" y="14306"/>
                    </a:cubicBezTo>
                    <a:cubicBezTo>
                      <a:pt x="16684" y="11922"/>
                      <a:pt x="19071" y="9537"/>
                      <a:pt x="23839" y="9537"/>
                    </a:cubicBezTo>
                    <a:cubicBezTo>
                      <a:pt x="26219" y="5961"/>
                      <a:pt x="27413" y="3577"/>
                      <a:pt x="29793" y="0"/>
                    </a:cubicBezTo>
                    <a:cubicBezTo>
                      <a:pt x="28606" y="0"/>
                      <a:pt x="26219" y="0"/>
                      <a:pt x="23839" y="0"/>
                    </a:cubicBezTo>
                    <a:cubicBezTo>
                      <a:pt x="17877" y="1192"/>
                      <a:pt x="11923" y="3577"/>
                      <a:pt x="7155" y="8345"/>
                    </a:cubicBezTo>
                    <a:close/>
                  </a:path>
                </a:pathLst>
              </a:custGeom>
              <a:solidFill>
                <a:srgbClr val="2D5967"/>
              </a:solidFill>
              <a:ln w="6417" cap="flat">
                <a:noFill/>
                <a:prstDash val="solid"/>
                <a:miter/>
              </a:ln>
            </p:spPr>
            <p:txBody>
              <a:bodyPr rtlCol="0" anchor="ctr"/>
              <a:lstStyle/>
              <a:p>
                <a:endParaRPr lang="en-US"/>
              </a:p>
            </p:txBody>
          </p:sp>
          <p:sp>
            <p:nvSpPr>
              <p:cNvPr id="28" name="Freeform: Shape 29">
                <a:extLst>
                  <a:ext uri="{FF2B5EF4-FFF2-40B4-BE49-F238E27FC236}">
                    <a16:creationId xmlns:a16="http://schemas.microsoft.com/office/drawing/2014/main" id="{157163A1-04E6-A0B4-4AB4-3F01314271BE}"/>
                  </a:ext>
                </a:extLst>
              </p:cNvPr>
              <p:cNvSpPr/>
              <p:nvPr/>
            </p:nvSpPr>
            <p:spPr>
              <a:xfrm>
                <a:off x="2125611" y="2703081"/>
                <a:ext cx="140631" cy="138295"/>
              </a:xfrm>
              <a:custGeom>
                <a:avLst/>
                <a:gdLst>
                  <a:gd name="connsiteX0" fmla="*/ 127522 w 140631"/>
                  <a:gd name="connsiteY0" fmla="*/ 33380 h 138295"/>
                  <a:gd name="connsiteX1" fmla="*/ 104877 w 140631"/>
                  <a:gd name="connsiteY1" fmla="*/ 61993 h 138295"/>
                  <a:gd name="connsiteX2" fmla="*/ 77464 w 140631"/>
                  <a:gd name="connsiteY2" fmla="*/ 94186 h 138295"/>
                  <a:gd name="connsiteX3" fmla="*/ 57206 w 140631"/>
                  <a:gd name="connsiteY3" fmla="*/ 114451 h 138295"/>
                  <a:gd name="connsiteX4" fmla="*/ 23839 w 140631"/>
                  <a:gd name="connsiteY4" fmla="*/ 82264 h 138295"/>
                  <a:gd name="connsiteX5" fmla="*/ 44097 w 140631"/>
                  <a:gd name="connsiteY5" fmla="*/ 61993 h 138295"/>
                  <a:gd name="connsiteX6" fmla="*/ 76277 w 140631"/>
                  <a:gd name="connsiteY6" fmla="*/ 34574 h 138295"/>
                  <a:gd name="connsiteX7" fmla="*/ 106070 w 140631"/>
                  <a:gd name="connsiteY7" fmla="*/ 13116 h 138295"/>
                  <a:gd name="connsiteX8" fmla="*/ 95341 w 140631"/>
                  <a:gd name="connsiteY8" fmla="*/ 0 h 138295"/>
                  <a:gd name="connsiteX9" fmla="*/ 65548 w 140631"/>
                  <a:gd name="connsiteY9" fmla="*/ 21458 h 138295"/>
                  <a:gd name="connsiteX10" fmla="*/ 32180 w 140631"/>
                  <a:gd name="connsiteY10" fmla="*/ 50071 h 138295"/>
                  <a:gd name="connsiteX11" fmla="*/ 0 w 140631"/>
                  <a:gd name="connsiteY11" fmla="*/ 82264 h 138295"/>
                  <a:gd name="connsiteX12" fmla="*/ 56013 w 140631"/>
                  <a:gd name="connsiteY12" fmla="*/ 138296 h 138295"/>
                  <a:gd name="connsiteX13" fmla="*/ 88193 w 140631"/>
                  <a:gd name="connsiteY13" fmla="*/ 106109 h 138295"/>
                  <a:gd name="connsiteX14" fmla="*/ 116793 w 140631"/>
                  <a:gd name="connsiteY14" fmla="*/ 72722 h 138295"/>
                  <a:gd name="connsiteX15" fmla="*/ 140631 w 140631"/>
                  <a:gd name="connsiteY15" fmla="*/ 44109 h 138295"/>
                  <a:gd name="connsiteX16" fmla="*/ 127522 w 140631"/>
                  <a:gd name="connsiteY16" fmla="*/ 33380 h 13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0631" h="138295">
                    <a:moveTo>
                      <a:pt x="127522" y="33380"/>
                    </a:moveTo>
                    <a:lnTo>
                      <a:pt x="104877" y="61993"/>
                    </a:lnTo>
                    <a:cubicBezTo>
                      <a:pt x="96535" y="72722"/>
                      <a:pt x="86999" y="83457"/>
                      <a:pt x="77464" y="94186"/>
                    </a:cubicBezTo>
                    <a:lnTo>
                      <a:pt x="57206" y="114451"/>
                    </a:lnTo>
                    <a:lnTo>
                      <a:pt x="23839" y="82264"/>
                    </a:lnTo>
                    <a:lnTo>
                      <a:pt x="44097" y="61993"/>
                    </a:lnTo>
                    <a:cubicBezTo>
                      <a:pt x="53632" y="52458"/>
                      <a:pt x="64354" y="42922"/>
                      <a:pt x="76277" y="34574"/>
                    </a:cubicBezTo>
                    <a:lnTo>
                      <a:pt x="106070" y="13116"/>
                    </a:lnTo>
                    <a:cubicBezTo>
                      <a:pt x="102496" y="8348"/>
                      <a:pt x="98916" y="4768"/>
                      <a:pt x="95341" y="0"/>
                    </a:cubicBezTo>
                    <a:lnTo>
                      <a:pt x="65548" y="21458"/>
                    </a:lnTo>
                    <a:cubicBezTo>
                      <a:pt x="53632" y="29806"/>
                      <a:pt x="42903" y="40535"/>
                      <a:pt x="32180" y="50071"/>
                    </a:cubicBezTo>
                    <a:lnTo>
                      <a:pt x="0" y="82264"/>
                    </a:lnTo>
                    <a:lnTo>
                      <a:pt x="56013" y="138296"/>
                    </a:lnTo>
                    <a:lnTo>
                      <a:pt x="88193" y="106109"/>
                    </a:lnTo>
                    <a:cubicBezTo>
                      <a:pt x="98916" y="95374"/>
                      <a:pt x="108451" y="84645"/>
                      <a:pt x="116793" y="72722"/>
                    </a:cubicBezTo>
                    <a:lnTo>
                      <a:pt x="140631" y="44109"/>
                    </a:lnTo>
                    <a:cubicBezTo>
                      <a:pt x="137057" y="40535"/>
                      <a:pt x="132290" y="36961"/>
                      <a:pt x="127522" y="33380"/>
                    </a:cubicBezTo>
                    <a:close/>
                  </a:path>
                </a:pathLst>
              </a:custGeom>
              <a:solidFill>
                <a:srgbClr val="2D5967"/>
              </a:solidFill>
              <a:ln w="6417" cap="flat">
                <a:noFill/>
                <a:prstDash val="solid"/>
                <a:miter/>
              </a:ln>
            </p:spPr>
            <p:txBody>
              <a:bodyPr rtlCol="0" anchor="ctr"/>
              <a:lstStyle/>
              <a:p>
                <a:endParaRPr lang="en-US"/>
              </a:p>
            </p:txBody>
          </p:sp>
          <p:sp>
            <p:nvSpPr>
              <p:cNvPr id="29" name="Freeform: Shape 30">
                <a:extLst>
                  <a:ext uri="{FF2B5EF4-FFF2-40B4-BE49-F238E27FC236}">
                    <a16:creationId xmlns:a16="http://schemas.microsoft.com/office/drawing/2014/main" id="{E1574F09-B700-B162-5854-CC67261BE57A}"/>
                  </a:ext>
                </a:extLst>
              </p:cNvPr>
              <p:cNvSpPr/>
              <p:nvPr/>
            </p:nvSpPr>
            <p:spPr>
              <a:xfrm>
                <a:off x="2110127" y="2796068"/>
                <a:ext cx="61973" cy="60805"/>
              </a:xfrm>
              <a:custGeom>
                <a:avLst/>
                <a:gdLst>
                  <a:gd name="connsiteX0" fmla="*/ 5961 w 61973"/>
                  <a:gd name="connsiteY0" fmla="*/ 0 h 60805"/>
                  <a:gd name="connsiteX1" fmla="*/ 0 w 61973"/>
                  <a:gd name="connsiteY1" fmla="*/ 4768 h 60805"/>
                  <a:gd name="connsiteX2" fmla="*/ 5961 w 61973"/>
                  <a:gd name="connsiteY2" fmla="*/ 22651 h 60805"/>
                  <a:gd name="connsiteX3" fmla="*/ 39329 w 61973"/>
                  <a:gd name="connsiteY3" fmla="*/ 54845 h 60805"/>
                  <a:gd name="connsiteX4" fmla="*/ 56013 w 61973"/>
                  <a:gd name="connsiteY4" fmla="*/ 60806 h 60805"/>
                  <a:gd name="connsiteX5" fmla="*/ 61974 w 61973"/>
                  <a:gd name="connsiteY5" fmla="*/ 54845 h 60805"/>
                  <a:gd name="connsiteX6" fmla="*/ 5961 w 61973"/>
                  <a:gd name="connsiteY6" fmla="*/ 0 h 60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973" h="60805">
                    <a:moveTo>
                      <a:pt x="5961" y="0"/>
                    </a:moveTo>
                    <a:lnTo>
                      <a:pt x="0" y="4768"/>
                    </a:lnTo>
                    <a:lnTo>
                      <a:pt x="5961" y="22651"/>
                    </a:lnTo>
                    <a:lnTo>
                      <a:pt x="39329" y="54845"/>
                    </a:lnTo>
                    <a:lnTo>
                      <a:pt x="56013" y="60806"/>
                    </a:lnTo>
                    <a:lnTo>
                      <a:pt x="61974" y="54845"/>
                    </a:lnTo>
                    <a:lnTo>
                      <a:pt x="5961" y="0"/>
                    </a:lnTo>
                    <a:close/>
                  </a:path>
                </a:pathLst>
              </a:custGeom>
              <a:solidFill>
                <a:srgbClr val="2D5967"/>
              </a:solidFill>
              <a:ln w="6417" cap="flat">
                <a:noFill/>
                <a:prstDash val="solid"/>
                <a:miter/>
              </a:ln>
            </p:spPr>
            <p:txBody>
              <a:bodyPr rtlCol="0" anchor="ctr"/>
              <a:lstStyle/>
              <a:p>
                <a:endParaRPr lang="en-US"/>
              </a:p>
            </p:txBody>
          </p:sp>
          <p:sp>
            <p:nvSpPr>
              <p:cNvPr id="30" name="Freeform: Shape 31">
                <a:extLst>
                  <a:ext uri="{FF2B5EF4-FFF2-40B4-BE49-F238E27FC236}">
                    <a16:creationId xmlns:a16="http://schemas.microsoft.com/office/drawing/2014/main" id="{976CFCCA-842B-56AC-F89F-4A3705DEC5CF}"/>
                  </a:ext>
                </a:extLst>
              </p:cNvPr>
              <p:cNvSpPr/>
              <p:nvPr/>
            </p:nvSpPr>
            <p:spPr>
              <a:xfrm>
                <a:off x="2206965" y="2461371"/>
                <a:ext cx="298535" cy="298942"/>
              </a:xfrm>
              <a:custGeom>
                <a:avLst/>
                <a:gdLst>
                  <a:gd name="connsiteX0" fmla="*/ 148670 w 298535"/>
                  <a:gd name="connsiteY0" fmla="*/ 298942 h 298942"/>
                  <a:gd name="connsiteX1" fmla="*/ 254741 w 298535"/>
                  <a:gd name="connsiteY1" fmla="*/ 254833 h 298942"/>
                  <a:gd name="connsiteX2" fmla="*/ 254741 w 298535"/>
                  <a:gd name="connsiteY2" fmla="*/ 43813 h 298942"/>
                  <a:gd name="connsiteX3" fmla="*/ 43800 w 298535"/>
                  <a:gd name="connsiteY3" fmla="*/ 43813 h 298942"/>
                  <a:gd name="connsiteX4" fmla="*/ 43800 w 298535"/>
                  <a:gd name="connsiteY4" fmla="*/ 254833 h 298942"/>
                  <a:gd name="connsiteX5" fmla="*/ 148670 w 298535"/>
                  <a:gd name="connsiteY5" fmla="*/ 298942 h 298942"/>
                  <a:gd name="connsiteX6" fmla="*/ 55716 w 298535"/>
                  <a:gd name="connsiteY6" fmla="*/ 55735 h 298942"/>
                  <a:gd name="connsiteX7" fmla="*/ 149864 w 298535"/>
                  <a:gd name="connsiteY7" fmla="*/ 16393 h 298942"/>
                  <a:gd name="connsiteX8" fmla="*/ 244012 w 298535"/>
                  <a:gd name="connsiteY8" fmla="*/ 55735 h 298942"/>
                  <a:gd name="connsiteX9" fmla="*/ 244012 w 298535"/>
                  <a:gd name="connsiteY9" fmla="*/ 242911 h 298942"/>
                  <a:gd name="connsiteX10" fmla="*/ 55716 w 298535"/>
                  <a:gd name="connsiteY10" fmla="*/ 242911 h 298942"/>
                  <a:gd name="connsiteX11" fmla="*/ 55716 w 298535"/>
                  <a:gd name="connsiteY11" fmla="*/ 55735 h 29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35" h="298942">
                    <a:moveTo>
                      <a:pt x="148670" y="298942"/>
                    </a:moveTo>
                    <a:cubicBezTo>
                      <a:pt x="186806" y="298942"/>
                      <a:pt x="224947" y="284639"/>
                      <a:pt x="254741" y="254833"/>
                    </a:cubicBezTo>
                    <a:cubicBezTo>
                      <a:pt x="313134" y="196415"/>
                      <a:pt x="313134" y="102231"/>
                      <a:pt x="254741" y="43813"/>
                    </a:cubicBezTo>
                    <a:cubicBezTo>
                      <a:pt x="196341" y="-14604"/>
                      <a:pt x="102193" y="-14604"/>
                      <a:pt x="43800" y="43813"/>
                    </a:cubicBezTo>
                    <a:cubicBezTo>
                      <a:pt x="-14600" y="102231"/>
                      <a:pt x="-14600" y="196415"/>
                      <a:pt x="43800" y="254833"/>
                    </a:cubicBezTo>
                    <a:cubicBezTo>
                      <a:pt x="72400" y="284639"/>
                      <a:pt x="110535" y="298942"/>
                      <a:pt x="148670" y="298942"/>
                    </a:cubicBezTo>
                    <a:close/>
                    <a:moveTo>
                      <a:pt x="55716" y="55735"/>
                    </a:moveTo>
                    <a:cubicBezTo>
                      <a:pt x="81935" y="29507"/>
                      <a:pt x="115303" y="16393"/>
                      <a:pt x="149864" y="16393"/>
                    </a:cubicBezTo>
                    <a:cubicBezTo>
                      <a:pt x="184425" y="16393"/>
                      <a:pt x="217792" y="29507"/>
                      <a:pt x="244012" y="55735"/>
                    </a:cubicBezTo>
                    <a:cubicBezTo>
                      <a:pt x="295257" y="107000"/>
                      <a:pt x="295257" y="191646"/>
                      <a:pt x="244012" y="242911"/>
                    </a:cubicBezTo>
                    <a:cubicBezTo>
                      <a:pt x="192767" y="294175"/>
                      <a:pt x="108154" y="294175"/>
                      <a:pt x="55716" y="242911"/>
                    </a:cubicBezTo>
                    <a:cubicBezTo>
                      <a:pt x="3277" y="191646"/>
                      <a:pt x="3277" y="108192"/>
                      <a:pt x="55716" y="55735"/>
                    </a:cubicBezTo>
                    <a:close/>
                  </a:path>
                </a:pathLst>
              </a:custGeom>
              <a:solidFill>
                <a:srgbClr val="2D5967"/>
              </a:solidFill>
              <a:ln w="6417" cap="flat">
                <a:noFill/>
                <a:prstDash val="solid"/>
                <a:miter/>
              </a:ln>
            </p:spPr>
            <p:txBody>
              <a:bodyPr rtlCol="0" anchor="ctr"/>
              <a:lstStyle/>
              <a:p>
                <a:endParaRPr lang="en-US"/>
              </a:p>
            </p:txBody>
          </p:sp>
          <p:sp>
            <p:nvSpPr>
              <p:cNvPr id="31" name="Freeform: Shape 32">
                <a:extLst>
                  <a:ext uri="{FF2B5EF4-FFF2-40B4-BE49-F238E27FC236}">
                    <a16:creationId xmlns:a16="http://schemas.microsoft.com/office/drawing/2014/main" id="{2B731BB1-FB48-E68D-B1AE-1631E79A1C3B}"/>
                  </a:ext>
                </a:extLst>
              </p:cNvPr>
              <p:cNvSpPr/>
              <p:nvPr/>
            </p:nvSpPr>
            <p:spPr>
              <a:xfrm>
                <a:off x="2267429" y="2562409"/>
                <a:ext cx="88193" cy="96568"/>
              </a:xfrm>
              <a:custGeom>
                <a:avLst/>
                <a:gdLst>
                  <a:gd name="connsiteX0" fmla="*/ 45290 w 88193"/>
                  <a:gd name="connsiteY0" fmla="*/ 96568 h 96568"/>
                  <a:gd name="connsiteX1" fmla="*/ 77464 w 88193"/>
                  <a:gd name="connsiteY1" fmla="*/ 84646 h 96568"/>
                  <a:gd name="connsiteX2" fmla="*/ 88193 w 88193"/>
                  <a:gd name="connsiteY2" fmla="*/ 48880 h 96568"/>
                  <a:gd name="connsiteX3" fmla="*/ 76271 w 88193"/>
                  <a:gd name="connsiteY3" fmla="*/ 13114 h 96568"/>
                  <a:gd name="connsiteX4" fmla="*/ 44097 w 88193"/>
                  <a:gd name="connsiteY4" fmla="*/ 0 h 96568"/>
                  <a:gd name="connsiteX5" fmla="*/ 11916 w 88193"/>
                  <a:gd name="connsiteY5" fmla="*/ 13114 h 96568"/>
                  <a:gd name="connsiteX6" fmla="*/ 0 w 88193"/>
                  <a:gd name="connsiteY6" fmla="*/ 48880 h 96568"/>
                  <a:gd name="connsiteX7" fmla="*/ 11916 w 88193"/>
                  <a:gd name="connsiteY7" fmla="*/ 84646 h 96568"/>
                  <a:gd name="connsiteX8" fmla="*/ 45290 w 88193"/>
                  <a:gd name="connsiteY8" fmla="*/ 96568 h 96568"/>
                  <a:gd name="connsiteX9" fmla="*/ 28600 w 88193"/>
                  <a:gd name="connsiteY9" fmla="*/ 25036 h 96568"/>
                  <a:gd name="connsiteX10" fmla="*/ 46477 w 88193"/>
                  <a:gd name="connsiteY10" fmla="*/ 16691 h 96568"/>
                  <a:gd name="connsiteX11" fmla="*/ 64355 w 88193"/>
                  <a:gd name="connsiteY11" fmla="*/ 25036 h 96568"/>
                  <a:gd name="connsiteX12" fmla="*/ 70316 w 88193"/>
                  <a:gd name="connsiteY12" fmla="*/ 47688 h 96568"/>
                  <a:gd name="connsiteX13" fmla="*/ 64355 w 88193"/>
                  <a:gd name="connsiteY13" fmla="*/ 71532 h 96568"/>
                  <a:gd name="connsiteX14" fmla="*/ 45290 w 88193"/>
                  <a:gd name="connsiteY14" fmla="*/ 79878 h 96568"/>
                  <a:gd name="connsiteX15" fmla="*/ 27413 w 88193"/>
                  <a:gd name="connsiteY15" fmla="*/ 71532 h 96568"/>
                  <a:gd name="connsiteX16" fmla="*/ 21452 w 88193"/>
                  <a:gd name="connsiteY16" fmla="*/ 47688 h 96568"/>
                  <a:gd name="connsiteX17" fmla="*/ 28600 w 88193"/>
                  <a:gd name="connsiteY17" fmla="*/ 25036 h 96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8193" h="96568">
                    <a:moveTo>
                      <a:pt x="45290" y="96568"/>
                    </a:moveTo>
                    <a:cubicBezTo>
                      <a:pt x="59587" y="96568"/>
                      <a:pt x="70316" y="91799"/>
                      <a:pt x="77464" y="84646"/>
                    </a:cubicBezTo>
                    <a:cubicBezTo>
                      <a:pt x="84613" y="76301"/>
                      <a:pt x="88193" y="64379"/>
                      <a:pt x="88193" y="48880"/>
                    </a:cubicBezTo>
                    <a:cubicBezTo>
                      <a:pt x="88193" y="33382"/>
                      <a:pt x="84613" y="21459"/>
                      <a:pt x="76271" y="13114"/>
                    </a:cubicBezTo>
                    <a:cubicBezTo>
                      <a:pt x="69122" y="4769"/>
                      <a:pt x="58400" y="0"/>
                      <a:pt x="44097" y="0"/>
                    </a:cubicBezTo>
                    <a:cubicBezTo>
                      <a:pt x="29793" y="0"/>
                      <a:pt x="20258" y="4769"/>
                      <a:pt x="11916" y="13114"/>
                    </a:cubicBezTo>
                    <a:cubicBezTo>
                      <a:pt x="4768" y="21459"/>
                      <a:pt x="0" y="33382"/>
                      <a:pt x="0" y="48880"/>
                    </a:cubicBezTo>
                    <a:cubicBezTo>
                      <a:pt x="0" y="64379"/>
                      <a:pt x="3574" y="76301"/>
                      <a:pt x="11916" y="84646"/>
                    </a:cubicBezTo>
                    <a:cubicBezTo>
                      <a:pt x="21452" y="91799"/>
                      <a:pt x="30987" y="96568"/>
                      <a:pt x="45290" y="96568"/>
                    </a:cubicBezTo>
                    <a:close/>
                    <a:moveTo>
                      <a:pt x="28600" y="25036"/>
                    </a:moveTo>
                    <a:cubicBezTo>
                      <a:pt x="32181" y="19075"/>
                      <a:pt x="38135" y="16691"/>
                      <a:pt x="46477" y="16691"/>
                    </a:cubicBezTo>
                    <a:cubicBezTo>
                      <a:pt x="53632" y="16691"/>
                      <a:pt x="59587" y="19075"/>
                      <a:pt x="64355" y="25036"/>
                    </a:cubicBezTo>
                    <a:cubicBezTo>
                      <a:pt x="67929" y="30997"/>
                      <a:pt x="70316" y="38150"/>
                      <a:pt x="70316" y="47688"/>
                    </a:cubicBezTo>
                    <a:cubicBezTo>
                      <a:pt x="70316" y="57225"/>
                      <a:pt x="67929" y="65571"/>
                      <a:pt x="64355" y="71532"/>
                    </a:cubicBezTo>
                    <a:cubicBezTo>
                      <a:pt x="60780" y="77493"/>
                      <a:pt x="53632" y="79878"/>
                      <a:pt x="45290" y="79878"/>
                    </a:cubicBezTo>
                    <a:cubicBezTo>
                      <a:pt x="38135" y="79878"/>
                      <a:pt x="32181" y="77493"/>
                      <a:pt x="27413" y="71532"/>
                    </a:cubicBezTo>
                    <a:cubicBezTo>
                      <a:pt x="23839" y="65571"/>
                      <a:pt x="21452" y="58418"/>
                      <a:pt x="21452" y="47688"/>
                    </a:cubicBezTo>
                    <a:cubicBezTo>
                      <a:pt x="22645" y="38150"/>
                      <a:pt x="23839" y="29805"/>
                      <a:pt x="28600" y="25036"/>
                    </a:cubicBezTo>
                    <a:close/>
                  </a:path>
                </a:pathLst>
              </a:custGeom>
              <a:solidFill>
                <a:srgbClr val="2D5967"/>
              </a:solidFill>
              <a:ln w="6417" cap="flat">
                <a:noFill/>
                <a:prstDash val="solid"/>
                <a:miter/>
              </a:ln>
            </p:spPr>
            <p:txBody>
              <a:bodyPr rtlCol="0" anchor="ctr"/>
              <a:lstStyle/>
              <a:p>
                <a:endParaRPr lang="en-US"/>
              </a:p>
            </p:txBody>
          </p:sp>
          <p:sp>
            <p:nvSpPr>
              <p:cNvPr id="32" name="Freeform: Shape 33">
                <a:extLst>
                  <a:ext uri="{FF2B5EF4-FFF2-40B4-BE49-F238E27FC236}">
                    <a16:creationId xmlns:a16="http://schemas.microsoft.com/office/drawing/2014/main" id="{0AD9B505-8C7C-6E6E-E5DA-6D7CC03E1AA6}"/>
                  </a:ext>
                </a:extLst>
              </p:cNvPr>
              <p:cNvSpPr/>
              <p:nvPr/>
            </p:nvSpPr>
            <p:spPr>
              <a:xfrm>
                <a:off x="2367551" y="2562409"/>
                <a:ext cx="72702" cy="92991"/>
              </a:xfrm>
              <a:custGeom>
                <a:avLst/>
                <a:gdLst>
                  <a:gd name="connsiteX0" fmla="*/ 42903 w 72702"/>
                  <a:gd name="connsiteY0" fmla="*/ 33382 h 92991"/>
                  <a:gd name="connsiteX1" fmla="*/ 23839 w 72702"/>
                  <a:gd name="connsiteY1" fmla="*/ 1192 h 92991"/>
                  <a:gd name="connsiteX2" fmla="*/ 1193 w 72702"/>
                  <a:gd name="connsiteY2" fmla="*/ 1192 h 92991"/>
                  <a:gd name="connsiteX3" fmla="*/ 28606 w 72702"/>
                  <a:gd name="connsiteY3" fmla="*/ 45304 h 92991"/>
                  <a:gd name="connsiteX4" fmla="*/ 0 w 72702"/>
                  <a:gd name="connsiteY4" fmla="*/ 92992 h 92991"/>
                  <a:gd name="connsiteX5" fmla="*/ 21451 w 72702"/>
                  <a:gd name="connsiteY5" fmla="*/ 92992 h 92991"/>
                  <a:gd name="connsiteX6" fmla="*/ 41716 w 72702"/>
                  <a:gd name="connsiteY6" fmla="*/ 58418 h 92991"/>
                  <a:gd name="connsiteX7" fmla="*/ 61974 w 72702"/>
                  <a:gd name="connsiteY7" fmla="*/ 92992 h 92991"/>
                  <a:gd name="connsiteX8" fmla="*/ 64354 w 72702"/>
                  <a:gd name="connsiteY8" fmla="*/ 92992 h 92991"/>
                  <a:gd name="connsiteX9" fmla="*/ 72703 w 72702"/>
                  <a:gd name="connsiteY9" fmla="*/ 73916 h 92991"/>
                  <a:gd name="connsiteX10" fmla="*/ 54825 w 72702"/>
                  <a:gd name="connsiteY10" fmla="*/ 45304 h 92991"/>
                  <a:gd name="connsiteX11" fmla="*/ 71509 w 72702"/>
                  <a:gd name="connsiteY11" fmla="*/ 17883 h 92991"/>
                  <a:gd name="connsiteX12" fmla="*/ 63167 w 72702"/>
                  <a:gd name="connsiteY12" fmla="*/ 0 h 92991"/>
                  <a:gd name="connsiteX13" fmla="*/ 60780 w 72702"/>
                  <a:gd name="connsiteY13" fmla="*/ 0 h 92991"/>
                  <a:gd name="connsiteX14" fmla="*/ 42903 w 72702"/>
                  <a:gd name="connsiteY14" fmla="*/ 33382 h 9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702" h="92991">
                    <a:moveTo>
                      <a:pt x="42903" y="33382"/>
                    </a:moveTo>
                    <a:lnTo>
                      <a:pt x="23839" y="1192"/>
                    </a:lnTo>
                    <a:lnTo>
                      <a:pt x="1193" y="1192"/>
                    </a:lnTo>
                    <a:lnTo>
                      <a:pt x="28606" y="45304"/>
                    </a:lnTo>
                    <a:lnTo>
                      <a:pt x="0" y="92992"/>
                    </a:lnTo>
                    <a:lnTo>
                      <a:pt x="21451" y="92992"/>
                    </a:lnTo>
                    <a:lnTo>
                      <a:pt x="41716" y="58418"/>
                    </a:lnTo>
                    <a:lnTo>
                      <a:pt x="61974" y="92992"/>
                    </a:lnTo>
                    <a:lnTo>
                      <a:pt x="64354" y="92992"/>
                    </a:lnTo>
                    <a:cubicBezTo>
                      <a:pt x="67935" y="87030"/>
                      <a:pt x="70316" y="81070"/>
                      <a:pt x="72703" y="73916"/>
                    </a:cubicBezTo>
                    <a:lnTo>
                      <a:pt x="54825" y="45304"/>
                    </a:lnTo>
                    <a:lnTo>
                      <a:pt x="71509" y="17883"/>
                    </a:lnTo>
                    <a:cubicBezTo>
                      <a:pt x="69122" y="11922"/>
                      <a:pt x="66741" y="5961"/>
                      <a:pt x="63167" y="0"/>
                    </a:cubicBezTo>
                    <a:lnTo>
                      <a:pt x="60780" y="0"/>
                    </a:lnTo>
                    <a:lnTo>
                      <a:pt x="42903" y="33382"/>
                    </a:lnTo>
                    <a:close/>
                  </a:path>
                </a:pathLst>
              </a:custGeom>
              <a:solidFill>
                <a:srgbClr val="2D5967"/>
              </a:solidFill>
              <a:ln w="6417" cap="flat">
                <a:noFill/>
                <a:prstDash val="solid"/>
                <a:miter/>
              </a:ln>
            </p:spPr>
            <p:txBody>
              <a:bodyPr rtlCol="0" anchor="ctr"/>
              <a:lstStyle/>
              <a:p>
                <a:endParaRPr lang="en-US"/>
              </a:p>
            </p:txBody>
          </p:sp>
          <p:sp>
            <p:nvSpPr>
              <p:cNvPr id="33" name="Freeform: Shape 34">
                <a:extLst>
                  <a:ext uri="{FF2B5EF4-FFF2-40B4-BE49-F238E27FC236}">
                    <a16:creationId xmlns:a16="http://schemas.microsoft.com/office/drawing/2014/main" id="{580B601B-066C-4FD3-5F7D-A501FEAB5253}"/>
                  </a:ext>
                </a:extLst>
              </p:cNvPr>
              <p:cNvSpPr/>
              <p:nvPr/>
            </p:nvSpPr>
            <p:spPr>
              <a:xfrm>
                <a:off x="2237642" y="2492952"/>
                <a:ext cx="236263" cy="236354"/>
              </a:xfrm>
              <a:custGeom>
                <a:avLst/>
                <a:gdLst>
                  <a:gd name="connsiteX0" fmla="*/ 117987 w 236263"/>
                  <a:gd name="connsiteY0" fmla="*/ 236355 h 236354"/>
                  <a:gd name="connsiteX1" fmla="*/ 201406 w 236263"/>
                  <a:gd name="connsiteY1" fmla="*/ 201781 h 236354"/>
                  <a:gd name="connsiteX2" fmla="*/ 201406 w 236263"/>
                  <a:gd name="connsiteY2" fmla="*/ 34872 h 236354"/>
                  <a:gd name="connsiteX3" fmla="*/ 34561 w 236263"/>
                  <a:gd name="connsiteY3" fmla="*/ 34872 h 236354"/>
                  <a:gd name="connsiteX4" fmla="*/ 0 w 236263"/>
                  <a:gd name="connsiteY4" fmla="*/ 118326 h 236354"/>
                  <a:gd name="connsiteX5" fmla="*/ 34561 w 236263"/>
                  <a:gd name="connsiteY5" fmla="*/ 201781 h 236354"/>
                  <a:gd name="connsiteX6" fmla="*/ 117987 w 236263"/>
                  <a:gd name="connsiteY6" fmla="*/ 236355 h 236354"/>
                  <a:gd name="connsiteX7" fmla="*/ 46477 w 236263"/>
                  <a:gd name="connsiteY7" fmla="*/ 46794 h 236354"/>
                  <a:gd name="connsiteX8" fmla="*/ 117987 w 236263"/>
                  <a:gd name="connsiteY8" fmla="*/ 16989 h 236354"/>
                  <a:gd name="connsiteX9" fmla="*/ 189489 w 236263"/>
                  <a:gd name="connsiteY9" fmla="*/ 46794 h 236354"/>
                  <a:gd name="connsiteX10" fmla="*/ 189489 w 236263"/>
                  <a:gd name="connsiteY10" fmla="*/ 189858 h 236354"/>
                  <a:gd name="connsiteX11" fmla="*/ 46477 w 236263"/>
                  <a:gd name="connsiteY11" fmla="*/ 189858 h 236354"/>
                  <a:gd name="connsiteX12" fmla="*/ 16684 w 236263"/>
                  <a:gd name="connsiteY12" fmla="*/ 118326 h 236354"/>
                  <a:gd name="connsiteX13" fmla="*/ 46477 w 236263"/>
                  <a:gd name="connsiteY13" fmla="*/ 46794 h 23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6263" h="236354">
                    <a:moveTo>
                      <a:pt x="117987" y="236355"/>
                    </a:moveTo>
                    <a:cubicBezTo>
                      <a:pt x="147780" y="236355"/>
                      <a:pt x="178767" y="224432"/>
                      <a:pt x="201406" y="201781"/>
                    </a:cubicBezTo>
                    <a:cubicBezTo>
                      <a:pt x="247883" y="155284"/>
                      <a:pt x="247883" y="81368"/>
                      <a:pt x="201406" y="34872"/>
                    </a:cubicBezTo>
                    <a:cubicBezTo>
                      <a:pt x="154928" y="-11624"/>
                      <a:pt x="81038" y="-11624"/>
                      <a:pt x="34561" y="34872"/>
                    </a:cubicBezTo>
                    <a:cubicBezTo>
                      <a:pt x="11916" y="57523"/>
                      <a:pt x="0" y="87329"/>
                      <a:pt x="0" y="118326"/>
                    </a:cubicBezTo>
                    <a:cubicBezTo>
                      <a:pt x="0" y="149323"/>
                      <a:pt x="11916" y="179128"/>
                      <a:pt x="34561" y="201781"/>
                    </a:cubicBezTo>
                    <a:cubicBezTo>
                      <a:pt x="58400" y="224432"/>
                      <a:pt x="88193" y="236355"/>
                      <a:pt x="117987" y="236355"/>
                    </a:cubicBezTo>
                    <a:close/>
                    <a:moveTo>
                      <a:pt x="46477" y="46794"/>
                    </a:moveTo>
                    <a:cubicBezTo>
                      <a:pt x="66742" y="26526"/>
                      <a:pt x="91767" y="16989"/>
                      <a:pt x="117987" y="16989"/>
                    </a:cubicBezTo>
                    <a:cubicBezTo>
                      <a:pt x="144206" y="16989"/>
                      <a:pt x="170425" y="26526"/>
                      <a:pt x="189489" y="46794"/>
                    </a:cubicBezTo>
                    <a:cubicBezTo>
                      <a:pt x="228818" y="86137"/>
                      <a:pt x="228818" y="150516"/>
                      <a:pt x="189489" y="189858"/>
                    </a:cubicBezTo>
                    <a:cubicBezTo>
                      <a:pt x="150161" y="229200"/>
                      <a:pt x="85806" y="229200"/>
                      <a:pt x="46477" y="189858"/>
                    </a:cubicBezTo>
                    <a:cubicBezTo>
                      <a:pt x="27413" y="170783"/>
                      <a:pt x="16684" y="145747"/>
                      <a:pt x="16684" y="118326"/>
                    </a:cubicBezTo>
                    <a:cubicBezTo>
                      <a:pt x="16684" y="90905"/>
                      <a:pt x="27413" y="65869"/>
                      <a:pt x="46477" y="46794"/>
                    </a:cubicBezTo>
                    <a:close/>
                  </a:path>
                </a:pathLst>
              </a:custGeom>
              <a:solidFill>
                <a:srgbClr val="2D5967"/>
              </a:solidFill>
              <a:ln w="6417" cap="flat">
                <a:noFill/>
                <a:prstDash val="solid"/>
                <a:miter/>
              </a:ln>
            </p:spPr>
            <p:txBody>
              <a:bodyPr rtlCol="0" anchor="ctr"/>
              <a:lstStyle/>
              <a:p>
                <a:endParaRPr lang="en-US"/>
              </a:p>
            </p:txBody>
          </p:sp>
        </p:grpSp>
      </p:grpSp>
      <p:grpSp>
        <p:nvGrpSpPr>
          <p:cNvPr id="36" name="Graphic 3">
            <a:extLst>
              <a:ext uri="{FF2B5EF4-FFF2-40B4-BE49-F238E27FC236}">
                <a16:creationId xmlns:a16="http://schemas.microsoft.com/office/drawing/2014/main" id="{61920268-4E41-02E2-B6B8-B5669D8C0C56}"/>
              </a:ext>
            </a:extLst>
          </p:cNvPr>
          <p:cNvGrpSpPr/>
          <p:nvPr/>
        </p:nvGrpSpPr>
        <p:grpSpPr>
          <a:xfrm>
            <a:off x="1027095" y="2437564"/>
            <a:ext cx="513347" cy="513347"/>
            <a:chOff x="1167865" y="3801176"/>
            <a:chExt cx="513347" cy="513347"/>
          </a:xfrm>
        </p:grpSpPr>
        <p:grpSp>
          <p:nvGrpSpPr>
            <p:cNvPr id="37" name="Graphic 3">
              <a:extLst>
                <a:ext uri="{FF2B5EF4-FFF2-40B4-BE49-F238E27FC236}">
                  <a16:creationId xmlns:a16="http://schemas.microsoft.com/office/drawing/2014/main" id="{DEBC262B-BFBE-1333-813F-1919BA44CF41}"/>
                </a:ext>
              </a:extLst>
            </p:cNvPr>
            <p:cNvGrpSpPr/>
            <p:nvPr/>
          </p:nvGrpSpPr>
          <p:grpSpPr>
            <a:xfrm>
              <a:off x="1167865" y="3801176"/>
              <a:ext cx="513347" cy="513347"/>
              <a:chOff x="1167865" y="3801176"/>
              <a:chExt cx="513347" cy="513347"/>
            </a:xfrm>
            <a:solidFill>
              <a:srgbClr val="FFFFFF"/>
            </a:solidFill>
          </p:grpSpPr>
          <p:sp>
            <p:nvSpPr>
              <p:cNvPr id="44" name="Freeform: Shape 47">
                <a:extLst>
                  <a:ext uri="{FF2B5EF4-FFF2-40B4-BE49-F238E27FC236}">
                    <a16:creationId xmlns:a16="http://schemas.microsoft.com/office/drawing/2014/main" id="{8BC62289-F094-FB51-184C-2DE39E9D9BC5}"/>
                  </a:ext>
                </a:extLst>
              </p:cNvPr>
              <p:cNvSpPr/>
              <p:nvPr/>
            </p:nvSpPr>
            <p:spPr>
              <a:xfrm>
                <a:off x="1173974" y="3807285"/>
                <a:ext cx="501155" cy="502348"/>
              </a:xfrm>
              <a:custGeom>
                <a:avLst/>
                <a:gdLst>
                  <a:gd name="connsiteX0" fmla="*/ 26829 w 501155"/>
                  <a:gd name="connsiteY0" fmla="*/ 501123 h 502348"/>
                  <a:gd name="connsiteX1" fmla="*/ 0 w 501155"/>
                  <a:gd name="connsiteY1" fmla="*/ 474237 h 502348"/>
                  <a:gd name="connsiteX2" fmla="*/ 0 w 501155"/>
                  <a:gd name="connsiteY2" fmla="*/ 26893 h 502348"/>
                  <a:gd name="connsiteX3" fmla="*/ 26829 w 501155"/>
                  <a:gd name="connsiteY3" fmla="*/ 0 h 502348"/>
                  <a:gd name="connsiteX4" fmla="*/ 474333 w 501155"/>
                  <a:gd name="connsiteY4" fmla="*/ 0 h 502348"/>
                  <a:gd name="connsiteX5" fmla="*/ 501155 w 501155"/>
                  <a:gd name="connsiteY5" fmla="*/ 26893 h 502348"/>
                  <a:gd name="connsiteX6" fmla="*/ 501155 w 501155"/>
                  <a:gd name="connsiteY6" fmla="*/ 475456 h 502348"/>
                  <a:gd name="connsiteX7" fmla="*/ 474333 w 501155"/>
                  <a:gd name="connsiteY7" fmla="*/ 502349 h 502348"/>
                  <a:gd name="connsiteX8" fmla="*/ 26829 w 501155"/>
                  <a:gd name="connsiteY8" fmla="*/ 501123 h 5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1155" h="502348">
                    <a:moveTo>
                      <a:pt x="26829" y="501123"/>
                    </a:moveTo>
                    <a:cubicBezTo>
                      <a:pt x="12198" y="501123"/>
                      <a:pt x="0" y="488906"/>
                      <a:pt x="0" y="474237"/>
                    </a:cubicBezTo>
                    <a:lnTo>
                      <a:pt x="0" y="26893"/>
                    </a:lnTo>
                    <a:cubicBezTo>
                      <a:pt x="0" y="12224"/>
                      <a:pt x="12198" y="0"/>
                      <a:pt x="26829" y="0"/>
                    </a:cubicBezTo>
                    <a:lnTo>
                      <a:pt x="474333" y="0"/>
                    </a:lnTo>
                    <a:cubicBezTo>
                      <a:pt x="488963" y="0"/>
                      <a:pt x="501155" y="12224"/>
                      <a:pt x="501155" y="26893"/>
                    </a:cubicBezTo>
                    <a:lnTo>
                      <a:pt x="501155" y="475456"/>
                    </a:lnTo>
                    <a:cubicBezTo>
                      <a:pt x="501155" y="490125"/>
                      <a:pt x="488963" y="502349"/>
                      <a:pt x="474333" y="502349"/>
                    </a:cubicBezTo>
                    <a:lnTo>
                      <a:pt x="26829" y="501123"/>
                    </a:lnTo>
                    <a:close/>
                  </a:path>
                </a:pathLst>
              </a:custGeom>
              <a:solidFill>
                <a:srgbClr val="FFFFFF"/>
              </a:solidFill>
              <a:ln w="6417" cap="flat">
                <a:noFill/>
                <a:prstDash val="solid"/>
                <a:miter/>
              </a:ln>
            </p:spPr>
            <p:txBody>
              <a:bodyPr rtlCol="0" anchor="ctr"/>
              <a:lstStyle/>
              <a:p>
                <a:endParaRPr lang="en-US"/>
              </a:p>
            </p:txBody>
          </p:sp>
          <p:sp>
            <p:nvSpPr>
              <p:cNvPr id="45" name="Freeform: Shape 48">
                <a:extLst>
                  <a:ext uri="{FF2B5EF4-FFF2-40B4-BE49-F238E27FC236}">
                    <a16:creationId xmlns:a16="http://schemas.microsoft.com/office/drawing/2014/main" id="{7D5972E5-76CF-2C82-1D53-898BD702C1A3}"/>
                  </a:ext>
                </a:extLst>
              </p:cNvPr>
              <p:cNvSpPr/>
              <p:nvPr/>
            </p:nvSpPr>
            <p:spPr>
              <a:xfrm>
                <a:off x="1167865" y="3801176"/>
                <a:ext cx="513347" cy="513347"/>
              </a:xfrm>
              <a:custGeom>
                <a:avLst/>
                <a:gdLst>
                  <a:gd name="connsiteX0" fmla="*/ 479203 w 513347"/>
                  <a:gd name="connsiteY0" fmla="*/ 12224 h 513347"/>
                  <a:gd name="connsiteX1" fmla="*/ 499936 w 513347"/>
                  <a:gd name="connsiteY1" fmla="*/ 33002 h 513347"/>
                  <a:gd name="connsiteX2" fmla="*/ 499936 w 513347"/>
                  <a:gd name="connsiteY2" fmla="*/ 481571 h 513347"/>
                  <a:gd name="connsiteX3" fmla="*/ 479203 w 513347"/>
                  <a:gd name="connsiteY3" fmla="*/ 502349 h 513347"/>
                  <a:gd name="connsiteX4" fmla="*/ 32925 w 513347"/>
                  <a:gd name="connsiteY4" fmla="*/ 502349 h 513347"/>
                  <a:gd name="connsiteX5" fmla="*/ 12192 w 513347"/>
                  <a:gd name="connsiteY5" fmla="*/ 480345 h 513347"/>
                  <a:gd name="connsiteX6" fmla="*/ 12192 w 513347"/>
                  <a:gd name="connsiteY6" fmla="*/ 33002 h 513347"/>
                  <a:gd name="connsiteX7" fmla="*/ 32925 w 513347"/>
                  <a:gd name="connsiteY7" fmla="*/ 12224 h 513347"/>
                  <a:gd name="connsiteX8" fmla="*/ 479203 w 513347"/>
                  <a:gd name="connsiteY8" fmla="*/ 12224 h 513347"/>
                  <a:gd name="connsiteX9" fmla="*/ 479203 w 513347"/>
                  <a:gd name="connsiteY9" fmla="*/ 0 h 513347"/>
                  <a:gd name="connsiteX10" fmla="*/ 32925 w 513347"/>
                  <a:gd name="connsiteY10" fmla="*/ 0 h 513347"/>
                  <a:gd name="connsiteX11" fmla="*/ 0 w 513347"/>
                  <a:gd name="connsiteY11" fmla="*/ 33002 h 513347"/>
                  <a:gd name="connsiteX12" fmla="*/ 0 w 513347"/>
                  <a:gd name="connsiteY12" fmla="*/ 481571 h 513347"/>
                  <a:gd name="connsiteX13" fmla="*/ 32925 w 513347"/>
                  <a:gd name="connsiteY13" fmla="*/ 513347 h 513347"/>
                  <a:gd name="connsiteX14" fmla="*/ 480422 w 513347"/>
                  <a:gd name="connsiteY14" fmla="*/ 513347 h 513347"/>
                  <a:gd name="connsiteX15" fmla="*/ 513347 w 513347"/>
                  <a:gd name="connsiteY15" fmla="*/ 480345 h 513347"/>
                  <a:gd name="connsiteX16" fmla="*/ 513347 w 513347"/>
                  <a:gd name="connsiteY16" fmla="*/ 33002 h 513347"/>
                  <a:gd name="connsiteX17" fmla="*/ 479203 w 513347"/>
                  <a:gd name="connsiteY17" fmla="*/ 0 h 51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347" h="513347">
                    <a:moveTo>
                      <a:pt x="479203" y="12224"/>
                    </a:moveTo>
                    <a:cubicBezTo>
                      <a:pt x="490183" y="12224"/>
                      <a:pt x="499936" y="22003"/>
                      <a:pt x="499936" y="33002"/>
                    </a:cubicBezTo>
                    <a:lnTo>
                      <a:pt x="499936" y="481571"/>
                    </a:lnTo>
                    <a:cubicBezTo>
                      <a:pt x="499936" y="492570"/>
                      <a:pt x="490183" y="502349"/>
                      <a:pt x="479203" y="502349"/>
                    </a:cubicBezTo>
                    <a:lnTo>
                      <a:pt x="32925" y="502349"/>
                    </a:lnTo>
                    <a:cubicBezTo>
                      <a:pt x="21946" y="501123"/>
                      <a:pt x="12192" y="491344"/>
                      <a:pt x="12192" y="480345"/>
                    </a:cubicBezTo>
                    <a:lnTo>
                      <a:pt x="12192" y="33002"/>
                    </a:lnTo>
                    <a:cubicBezTo>
                      <a:pt x="12192" y="22003"/>
                      <a:pt x="21946" y="12224"/>
                      <a:pt x="32925" y="12224"/>
                    </a:cubicBezTo>
                    <a:lnTo>
                      <a:pt x="479203" y="12224"/>
                    </a:lnTo>
                    <a:close/>
                    <a:moveTo>
                      <a:pt x="479203" y="0"/>
                    </a:moveTo>
                    <a:lnTo>
                      <a:pt x="32925" y="0"/>
                    </a:lnTo>
                    <a:cubicBezTo>
                      <a:pt x="14630" y="0"/>
                      <a:pt x="0" y="14669"/>
                      <a:pt x="0" y="33002"/>
                    </a:cubicBezTo>
                    <a:lnTo>
                      <a:pt x="0" y="481571"/>
                    </a:lnTo>
                    <a:cubicBezTo>
                      <a:pt x="0" y="498678"/>
                      <a:pt x="14630" y="513347"/>
                      <a:pt x="32925" y="513347"/>
                    </a:cubicBezTo>
                    <a:lnTo>
                      <a:pt x="480422" y="513347"/>
                    </a:lnTo>
                    <a:cubicBezTo>
                      <a:pt x="498717" y="513347"/>
                      <a:pt x="513347" y="498678"/>
                      <a:pt x="513347" y="480345"/>
                    </a:cubicBezTo>
                    <a:lnTo>
                      <a:pt x="513347" y="33002"/>
                    </a:lnTo>
                    <a:cubicBezTo>
                      <a:pt x="512128" y="14669"/>
                      <a:pt x="497498" y="0"/>
                      <a:pt x="479203" y="0"/>
                    </a:cubicBezTo>
                    <a:close/>
                  </a:path>
                </a:pathLst>
              </a:custGeom>
              <a:solidFill>
                <a:srgbClr val="FFFFFF"/>
              </a:solidFill>
              <a:ln w="6417" cap="flat">
                <a:noFill/>
                <a:prstDash val="solid"/>
                <a:miter/>
              </a:ln>
            </p:spPr>
            <p:txBody>
              <a:bodyPr rtlCol="0" anchor="ctr"/>
              <a:lstStyle/>
              <a:p>
                <a:endParaRPr lang="en-US"/>
              </a:p>
            </p:txBody>
          </p:sp>
        </p:grpSp>
        <p:grpSp>
          <p:nvGrpSpPr>
            <p:cNvPr id="38" name="Graphic 3">
              <a:extLst>
                <a:ext uri="{FF2B5EF4-FFF2-40B4-BE49-F238E27FC236}">
                  <a16:creationId xmlns:a16="http://schemas.microsoft.com/office/drawing/2014/main" id="{C045D217-FAF0-A446-9717-568D0D697016}"/>
                </a:ext>
              </a:extLst>
            </p:cNvPr>
            <p:cNvGrpSpPr/>
            <p:nvPr/>
          </p:nvGrpSpPr>
          <p:grpSpPr>
            <a:xfrm>
              <a:off x="1250777" y="3920959"/>
              <a:ext cx="342640" cy="331231"/>
              <a:chOff x="1250777" y="3920959"/>
              <a:chExt cx="342640" cy="331231"/>
            </a:xfrm>
            <a:solidFill>
              <a:srgbClr val="2D5967"/>
            </a:solidFill>
          </p:grpSpPr>
          <p:sp>
            <p:nvSpPr>
              <p:cNvPr id="41" name="Freeform: Shape 44">
                <a:extLst>
                  <a:ext uri="{FF2B5EF4-FFF2-40B4-BE49-F238E27FC236}">
                    <a16:creationId xmlns:a16="http://schemas.microsoft.com/office/drawing/2014/main" id="{EDAAD6CF-E618-F9B0-11F1-EA9C6B3D25A2}"/>
                  </a:ext>
                </a:extLst>
              </p:cNvPr>
              <p:cNvSpPr/>
              <p:nvPr/>
            </p:nvSpPr>
            <p:spPr>
              <a:xfrm>
                <a:off x="1417826" y="3925849"/>
                <a:ext cx="175590" cy="151559"/>
              </a:xfrm>
              <a:custGeom>
                <a:avLst/>
                <a:gdLst>
                  <a:gd name="connsiteX0" fmla="*/ 120720 w 175590"/>
                  <a:gd name="connsiteY0" fmla="*/ 17114 h 151559"/>
                  <a:gd name="connsiteX1" fmla="*/ 153639 w 175590"/>
                  <a:gd name="connsiteY1" fmla="*/ 74557 h 151559"/>
                  <a:gd name="connsiteX2" fmla="*/ 120720 w 175590"/>
                  <a:gd name="connsiteY2" fmla="*/ 132007 h 151559"/>
                  <a:gd name="connsiteX3" fmla="*/ 54870 w 175590"/>
                  <a:gd name="connsiteY3" fmla="*/ 132007 h 151559"/>
                  <a:gd name="connsiteX4" fmla="*/ 21952 w 175590"/>
                  <a:gd name="connsiteY4" fmla="*/ 74557 h 151559"/>
                  <a:gd name="connsiteX5" fmla="*/ 54870 w 175590"/>
                  <a:gd name="connsiteY5" fmla="*/ 17114 h 151559"/>
                  <a:gd name="connsiteX6" fmla="*/ 120720 w 175590"/>
                  <a:gd name="connsiteY6" fmla="*/ 17114 h 151559"/>
                  <a:gd name="connsiteX7" fmla="*/ 120720 w 175590"/>
                  <a:gd name="connsiteY7" fmla="*/ 17114 h 151559"/>
                  <a:gd name="connsiteX8" fmla="*/ 131693 w 175590"/>
                  <a:gd name="connsiteY8" fmla="*/ 0 h 151559"/>
                  <a:gd name="connsiteX9" fmla="*/ 43898 w 175590"/>
                  <a:gd name="connsiteY9" fmla="*/ 0 h 151559"/>
                  <a:gd name="connsiteX10" fmla="*/ 0 w 175590"/>
                  <a:gd name="connsiteY10" fmla="*/ 75783 h 151559"/>
                  <a:gd name="connsiteX11" fmla="*/ 43898 w 175590"/>
                  <a:gd name="connsiteY11" fmla="*/ 151560 h 151559"/>
                  <a:gd name="connsiteX12" fmla="*/ 131693 w 175590"/>
                  <a:gd name="connsiteY12" fmla="*/ 151560 h 151559"/>
                  <a:gd name="connsiteX13" fmla="*/ 175590 w 175590"/>
                  <a:gd name="connsiteY13" fmla="*/ 75783 h 151559"/>
                  <a:gd name="connsiteX14" fmla="*/ 131693 w 175590"/>
                  <a:gd name="connsiteY14" fmla="*/ 0 h 151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5590" h="151559">
                    <a:moveTo>
                      <a:pt x="120720" y="17114"/>
                    </a:moveTo>
                    <a:lnTo>
                      <a:pt x="153639" y="74557"/>
                    </a:lnTo>
                    <a:lnTo>
                      <a:pt x="120720" y="132007"/>
                    </a:lnTo>
                    <a:lnTo>
                      <a:pt x="54870" y="132007"/>
                    </a:lnTo>
                    <a:lnTo>
                      <a:pt x="21952" y="74557"/>
                    </a:lnTo>
                    <a:lnTo>
                      <a:pt x="54870" y="17114"/>
                    </a:lnTo>
                    <a:lnTo>
                      <a:pt x="120720" y="17114"/>
                    </a:lnTo>
                    <a:lnTo>
                      <a:pt x="120720" y="17114"/>
                    </a:lnTo>
                    <a:close/>
                    <a:moveTo>
                      <a:pt x="131693" y="0"/>
                    </a:moveTo>
                    <a:lnTo>
                      <a:pt x="43898" y="0"/>
                    </a:lnTo>
                    <a:lnTo>
                      <a:pt x="0" y="75783"/>
                    </a:lnTo>
                    <a:lnTo>
                      <a:pt x="43898" y="151560"/>
                    </a:lnTo>
                    <a:lnTo>
                      <a:pt x="131693" y="151560"/>
                    </a:lnTo>
                    <a:lnTo>
                      <a:pt x="175590" y="75783"/>
                    </a:lnTo>
                    <a:lnTo>
                      <a:pt x="131693" y="0"/>
                    </a:lnTo>
                    <a:close/>
                  </a:path>
                </a:pathLst>
              </a:custGeom>
              <a:solidFill>
                <a:srgbClr val="2D5967"/>
              </a:solidFill>
              <a:ln w="6417" cap="flat">
                <a:noFill/>
                <a:prstDash val="solid"/>
                <a:miter/>
              </a:ln>
            </p:spPr>
            <p:txBody>
              <a:bodyPr rtlCol="0" anchor="ctr"/>
              <a:lstStyle/>
              <a:p>
                <a:endParaRPr lang="en-US"/>
              </a:p>
            </p:txBody>
          </p:sp>
          <p:sp>
            <p:nvSpPr>
              <p:cNvPr id="42" name="Freeform: Shape 45">
                <a:extLst>
                  <a:ext uri="{FF2B5EF4-FFF2-40B4-BE49-F238E27FC236}">
                    <a16:creationId xmlns:a16="http://schemas.microsoft.com/office/drawing/2014/main" id="{1316FE60-68E9-A9CF-DC26-3BC95D12DA06}"/>
                  </a:ext>
                </a:extLst>
              </p:cNvPr>
              <p:cNvSpPr/>
              <p:nvPr/>
            </p:nvSpPr>
            <p:spPr>
              <a:xfrm>
                <a:off x="1344655" y="4100631"/>
                <a:ext cx="151200" cy="151559"/>
              </a:xfrm>
              <a:custGeom>
                <a:avLst/>
                <a:gdLst>
                  <a:gd name="connsiteX0" fmla="*/ 75603 w 151200"/>
                  <a:gd name="connsiteY0" fmla="*/ 17107 h 151559"/>
                  <a:gd name="connsiteX1" fmla="*/ 132912 w 151200"/>
                  <a:gd name="connsiteY1" fmla="*/ 74557 h 151559"/>
                  <a:gd name="connsiteX2" fmla="*/ 75603 w 151200"/>
                  <a:gd name="connsiteY2" fmla="*/ 132001 h 151559"/>
                  <a:gd name="connsiteX3" fmla="*/ 18294 w 151200"/>
                  <a:gd name="connsiteY3" fmla="*/ 74557 h 151559"/>
                  <a:gd name="connsiteX4" fmla="*/ 75603 w 151200"/>
                  <a:gd name="connsiteY4" fmla="*/ 17107 h 151559"/>
                  <a:gd name="connsiteX5" fmla="*/ 75603 w 151200"/>
                  <a:gd name="connsiteY5" fmla="*/ 0 h 151559"/>
                  <a:gd name="connsiteX6" fmla="*/ 0 w 151200"/>
                  <a:gd name="connsiteY6" fmla="*/ 75777 h 151559"/>
                  <a:gd name="connsiteX7" fmla="*/ 75603 w 151200"/>
                  <a:gd name="connsiteY7" fmla="*/ 151560 h 151559"/>
                  <a:gd name="connsiteX8" fmla="*/ 151200 w 151200"/>
                  <a:gd name="connsiteY8" fmla="*/ 75777 h 151559"/>
                  <a:gd name="connsiteX9" fmla="*/ 75603 w 151200"/>
                  <a:gd name="connsiteY9" fmla="*/ 0 h 151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200" h="151559">
                    <a:moveTo>
                      <a:pt x="75603" y="17107"/>
                    </a:moveTo>
                    <a:cubicBezTo>
                      <a:pt x="107302" y="17107"/>
                      <a:pt x="132912" y="42775"/>
                      <a:pt x="132912" y="74557"/>
                    </a:cubicBezTo>
                    <a:cubicBezTo>
                      <a:pt x="132912" y="106334"/>
                      <a:pt x="107302" y="132001"/>
                      <a:pt x="75603" y="132001"/>
                    </a:cubicBezTo>
                    <a:cubicBezTo>
                      <a:pt x="43898" y="132001"/>
                      <a:pt x="18294" y="106334"/>
                      <a:pt x="18294" y="74557"/>
                    </a:cubicBezTo>
                    <a:cubicBezTo>
                      <a:pt x="18294" y="42775"/>
                      <a:pt x="43898" y="17107"/>
                      <a:pt x="75603" y="17107"/>
                    </a:cubicBezTo>
                    <a:close/>
                    <a:moveTo>
                      <a:pt x="75603" y="0"/>
                    </a:moveTo>
                    <a:cubicBezTo>
                      <a:pt x="34144" y="0"/>
                      <a:pt x="0" y="34221"/>
                      <a:pt x="0" y="75777"/>
                    </a:cubicBezTo>
                    <a:cubicBezTo>
                      <a:pt x="0" y="117332"/>
                      <a:pt x="34144" y="151560"/>
                      <a:pt x="75603" y="151560"/>
                    </a:cubicBezTo>
                    <a:cubicBezTo>
                      <a:pt x="117056" y="151560"/>
                      <a:pt x="151200" y="117332"/>
                      <a:pt x="151200" y="75777"/>
                    </a:cubicBezTo>
                    <a:cubicBezTo>
                      <a:pt x="151200" y="32995"/>
                      <a:pt x="117056" y="0"/>
                      <a:pt x="75603" y="0"/>
                    </a:cubicBezTo>
                    <a:close/>
                  </a:path>
                </a:pathLst>
              </a:custGeom>
              <a:solidFill>
                <a:srgbClr val="2D5967"/>
              </a:solidFill>
              <a:ln w="6417" cap="flat">
                <a:noFill/>
                <a:prstDash val="solid"/>
                <a:miter/>
              </a:ln>
            </p:spPr>
            <p:txBody>
              <a:bodyPr rtlCol="0" anchor="ctr"/>
              <a:lstStyle/>
              <a:p>
                <a:endParaRPr lang="en-US"/>
              </a:p>
            </p:txBody>
          </p:sp>
          <p:sp>
            <p:nvSpPr>
              <p:cNvPr id="43" name="Freeform: Shape 46">
                <a:extLst>
                  <a:ext uri="{FF2B5EF4-FFF2-40B4-BE49-F238E27FC236}">
                    <a16:creationId xmlns:a16="http://schemas.microsoft.com/office/drawing/2014/main" id="{58DF75CE-7C95-3D5F-1EC4-1BDF6BAD769C}"/>
                  </a:ext>
                </a:extLst>
              </p:cNvPr>
              <p:cNvSpPr/>
              <p:nvPr/>
            </p:nvSpPr>
            <p:spPr>
              <a:xfrm>
                <a:off x="1250777" y="3920959"/>
                <a:ext cx="167049" cy="151565"/>
              </a:xfrm>
              <a:custGeom>
                <a:avLst/>
                <a:gdLst>
                  <a:gd name="connsiteX0" fmla="*/ 82912 w 167049"/>
                  <a:gd name="connsiteY0" fmla="*/ 36672 h 151565"/>
                  <a:gd name="connsiteX1" fmla="*/ 136563 w 167049"/>
                  <a:gd name="connsiteY1" fmla="*/ 133226 h 151565"/>
                  <a:gd name="connsiteX2" fmla="*/ 30480 w 167049"/>
                  <a:gd name="connsiteY2" fmla="*/ 133226 h 151565"/>
                  <a:gd name="connsiteX3" fmla="*/ 82912 w 167049"/>
                  <a:gd name="connsiteY3" fmla="*/ 36672 h 151565"/>
                  <a:gd name="connsiteX4" fmla="*/ 82912 w 167049"/>
                  <a:gd name="connsiteY4" fmla="*/ 0 h 151565"/>
                  <a:gd name="connsiteX5" fmla="*/ 0 w 167049"/>
                  <a:gd name="connsiteY5" fmla="*/ 151566 h 151565"/>
                  <a:gd name="connsiteX6" fmla="*/ 167050 w 167049"/>
                  <a:gd name="connsiteY6" fmla="*/ 151566 h 151565"/>
                  <a:gd name="connsiteX7" fmla="*/ 82912 w 167049"/>
                  <a:gd name="connsiteY7" fmla="*/ 0 h 151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049" h="151565">
                    <a:moveTo>
                      <a:pt x="82912" y="36672"/>
                    </a:moveTo>
                    <a:lnTo>
                      <a:pt x="136563" y="133226"/>
                    </a:lnTo>
                    <a:lnTo>
                      <a:pt x="30480" y="133226"/>
                    </a:lnTo>
                    <a:lnTo>
                      <a:pt x="82912" y="36672"/>
                    </a:lnTo>
                    <a:close/>
                    <a:moveTo>
                      <a:pt x="82912" y="0"/>
                    </a:moveTo>
                    <a:lnTo>
                      <a:pt x="0" y="151566"/>
                    </a:lnTo>
                    <a:lnTo>
                      <a:pt x="167050" y="151566"/>
                    </a:lnTo>
                    <a:lnTo>
                      <a:pt x="82912" y="0"/>
                    </a:lnTo>
                    <a:close/>
                  </a:path>
                </a:pathLst>
              </a:custGeom>
              <a:solidFill>
                <a:srgbClr val="2D5967"/>
              </a:solidFill>
              <a:ln w="6417" cap="flat">
                <a:noFill/>
                <a:prstDash val="solid"/>
                <a:miter/>
              </a:ln>
            </p:spPr>
            <p:txBody>
              <a:bodyPr rtlCol="0" anchor="ctr"/>
              <a:lstStyle/>
              <a:p>
                <a:endParaRPr lang="en-US"/>
              </a:p>
            </p:txBody>
          </p:sp>
        </p:grpSp>
        <p:sp>
          <p:nvSpPr>
            <p:cNvPr id="39" name="Freeform: Shape 42">
              <a:extLst>
                <a:ext uri="{FF2B5EF4-FFF2-40B4-BE49-F238E27FC236}">
                  <a16:creationId xmlns:a16="http://schemas.microsoft.com/office/drawing/2014/main" id="{C02580AA-D750-8E49-99B1-38AEF57D2734}"/>
                </a:ext>
              </a:extLst>
            </p:cNvPr>
            <p:cNvSpPr/>
            <p:nvPr/>
          </p:nvSpPr>
          <p:spPr>
            <a:xfrm>
              <a:off x="1180063" y="3862296"/>
              <a:ext cx="487737" cy="440009"/>
            </a:xfrm>
            <a:custGeom>
              <a:avLst/>
              <a:gdLst>
                <a:gd name="connsiteX0" fmla="*/ 467011 w 487737"/>
                <a:gd name="connsiteY0" fmla="*/ 440009 h 440009"/>
                <a:gd name="connsiteX1" fmla="*/ 20726 w 487737"/>
                <a:gd name="connsiteY1" fmla="*/ 440009 h 440009"/>
                <a:gd name="connsiteX2" fmla="*/ 0 w 487737"/>
                <a:gd name="connsiteY2" fmla="*/ 419232 h 440009"/>
                <a:gd name="connsiteX3" fmla="*/ 0 w 487737"/>
                <a:gd name="connsiteY3" fmla="*/ 0 h 440009"/>
                <a:gd name="connsiteX4" fmla="*/ 487738 w 487737"/>
                <a:gd name="connsiteY4" fmla="*/ 0 h 440009"/>
                <a:gd name="connsiteX5" fmla="*/ 487738 w 487737"/>
                <a:gd name="connsiteY5" fmla="*/ 419232 h 440009"/>
                <a:gd name="connsiteX6" fmla="*/ 467011 w 487737"/>
                <a:gd name="connsiteY6" fmla="*/ 440009 h 440009"/>
                <a:gd name="connsiteX7" fmla="*/ 18288 w 487737"/>
                <a:gd name="connsiteY7" fmla="*/ 18333 h 440009"/>
                <a:gd name="connsiteX8" fmla="*/ 18288 w 487737"/>
                <a:gd name="connsiteY8" fmla="*/ 420457 h 440009"/>
                <a:gd name="connsiteX9" fmla="*/ 20726 w 487737"/>
                <a:gd name="connsiteY9" fmla="*/ 422902 h 440009"/>
                <a:gd name="connsiteX10" fmla="*/ 468231 w 487737"/>
                <a:gd name="connsiteY10" fmla="*/ 422902 h 440009"/>
                <a:gd name="connsiteX11" fmla="*/ 470669 w 487737"/>
                <a:gd name="connsiteY11" fmla="*/ 420457 h 440009"/>
                <a:gd name="connsiteX12" fmla="*/ 470669 w 487737"/>
                <a:gd name="connsiteY12" fmla="*/ 18333 h 440009"/>
                <a:gd name="connsiteX13" fmla="*/ 18288 w 487737"/>
                <a:gd name="connsiteY13" fmla="*/ 18333 h 44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7737" h="440009">
                  <a:moveTo>
                    <a:pt x="467011" y="440009"/>
                  </a:moveTo>
                  <a:lnTo>
                    <a:pt x="20726" y="440009"/>
                  </a:lnTo>
                  <a:cubicBezTo>
                    <a:pt x="9754" y="440009"/>
                    <a:pt x="0" y="430236"/>
                    <a:pt x="0" y="419232"/>
                  </a:cubicBezTo>
                  <a:lnTo>
                    <a:pt x="0" y="0"/>
                  </a:lnTo>
                  <a:lnTo>
                    <a:pt x="487738" y="0"/>
                  </a:lnTo>
                  <a:lnTo>
                    <a:pt x="487738" y="419232"/>
                  </a:lnTo>
                  <a:cubicBezTo>
                    <a:pt x="487738" y="430236"/>
                    <a:pt x="477984" y="440009"/>
                    <a:pt x="467011" y="440009"/>
                  </a:cubicBezTo>
                  <a:close/>
                  <a:moveTo>
                    <a:pt x="18288" y="18333"/>
                  </a:moveTo>
                  <a:lnTo>
                    <a:pt x="18288" y="420457"/>
                  </a:lnTo>
                  <a:cubicBezTo>
                    <a:pt x="18288" y="421676"/>
                    <a:pt x="19507" y="422902"/>
                    <a:pt x="20726" y="422902"/>
                  </a:cubicBezTo>
                  <a:lnTo>
                    <a:pt x="468231" y="422902"/>
                  </a:lnTo>
                  <a:cubicBezTo>
                    <a:pt x="469450" y="422902"/>
                    <a:pt x="470669" y="421676"/>
                    <a:pt x="470669" y="420457"/>
                  </a:cubicBezTo>
                  <a:lnTo>
                    <a:pt x="470669" y="18333"/>
                  </a:lnTo>
                  <a:lnTo>
                    <a:pt x="18288" y="18333"/>
                  </a:lnTo>
                  <a:close/>
                </a:path>
              </a:pathLst>
            </a:custGeom>
            <a:solidFill>
              <a:srgbClr val="2D5967"/>
            </a:solidFill>
            <a:ln w="6417" cap="flat">
              <a:noFill/>
              <a:prstDash val="solid"/>
              <a:miter/>
            </a:ln>
          </p:spPr>
          <p:txBody>
            <a:bodyPr rtlCol="0" anchor="ctr"/>
            <a:lstStyle/>
            <a:p>
              <a:endParaRPr lang="en-US"/>
            </a:p>
          </p:txBody>
        </p:sp>
        <p:sp>
          <p:nvSpPr>
            <p:cNvPr id="40" name="Freeform: Shape 43">
              <a:extLst>
                <a:ext uri="{FF2B5EF4-FFF2-40B4-BE49-F238E27FC236}">
                  <a16:creationId xmlns:a16="http://schemas.microsoft.com/office/drawing/2014/main" id="{883B2375-07C1-8C12-A036-9FCFC59F2DF4}"/>
                </a:ext>
              </a:extLst>
            </p:cNvPr>
            <p:cNvSpPr/>
            <p:nvPr/>
          </p:nvSpPr>
          <p:spPr>
            <a:xfrm>
              <a:off x="1180063" y="3813400"/>
              <a:ext cx="487737" cy="35446"/>
            </a:xfrm>
            <a:custGeom>
              <a:avLst/>
              <a:gdLst>
                <a:gd name="connsiteX0" fmla="*/ 487738 w 487737"/>
                <a:gd name="connsiteY0" fmla="*/ 35447 h 35446"/>
                <a:gd name="connsiteX1" fmla="*/ 0 w 487737"/>
                <a:gd name="connsiteY1" fmla="*/ 35447 h 35446"/>
                <a:gd name="connsiteX2" fmla="*/ 0 w 487737"/>
                <a:gd name="connsiteY2" fmla="*/ 20778 h 35446"/>
                <a:gd name="connsiteX3" fmla="*/ 20726 w 487737"/>
                <a:gd name="connsiteY3" fmla="*/ 0 h 35446"/>
                <a:gd name="connsiteX4" fmla="*/ 468231 w 487737"/>
                <a:gd name="connsiteY4" fmla="*/ 0 h 35446"/>
                <a:gd name="connsiteX5" fmla="*/ 487738 w 487737"/>
                <a:gd name="connsiteY5" fmla="*/ 20778 h 35446"/>
                <a:gd name="connsiteX6" fmla="*/ 487738 w 487737"/>
                <a:gd name="connsiteY6" fmla="*/ 35447 h 3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7737" h="35446">
                  <a:moveTo>
                    <a:pt x="487738" y="35447"/>
                  </a:moveTo>
                  <a:lnTo>
                    <a:pt x="0" y="35447"/>
                  </a:lnTo>
                  <a:lnTo>
                    <a:pt x="0" y="20778"/>
                  </a:lnTo>
                  <a:cubicBezTo>
                    <a:pt x="0" y="9779"/>
                    <a:pt x="9754" y="0"/>
                    <a:pt x="20726" y="0"/>
                  </a:cubicBezTo>
                  <a:lnTo>
                    <a:pt x="468231" y="0"/>
                  </a:lnTo>
                  <a:cubicBezTo>
                    <a:pt x="477984" y="0"/>
                    <a:pt x="487738" y="9779"/>
                    <a:pt x="487738" y="20778"/>
                  </a:cubicBezTo>
                  <a:lnTo>
                    <a:pt x="487738" y="35447"/>
                  </a:lnTo>
                  <a:close/>
                </a:path>
              </a:pathLst>
            </a:custGeom>
            <a:solidFill>
              <a:srgbClr val="2D5967"/>
            </a:solidFill>
            <a:ln w="6417" cap="flat">
              <a:noFill/>
              <a:prstDash val="solid"/>
              <a:miter/>
            </a:ln>
          </p:spPr>
          <p:txBody>
            <a:bodyPr rtlCol="0" anchor="ctr"/>
            <a:lstStyle/>
            <a:p>
              <a:endParaRPr lang="en-US"/>
            </a:p>
          </p:txBody>
        </p:sp>
      </p:grpSp>
      <p:pic>
        <p:nvPicPr>
          <p:cNvPr id="46" name="Graphic 50" descr="Siren outline">
            <a:extLst>
              <a:ext uri="{FF2B5EF4-FFF2-40B4-BE49-F238E27FC236}">
                <a16:creationId xmlns:a16="http://schemas.microsoft.com/office/drawing/2014/main" id="{6AB0678F-B204-2138-FC87-70E375185BB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068431" y="2275661"/>
            <a:ext cx="616634" cy="616634"/>
          </a:xfrm>
          <a:prstGeom prst="rect">
            <a:avLst/>
          </a:prstGeom>
        </p:spPr>
      </p:pic>
      <p:pic>
        <p:nvPicPr>
          <p:cNvPr id="47" name="Graphic 64" descr="Clapper board outline">
            <a:extLst>
              <a:ext uri="{FF2B5EF4-FFF2-40B4-BE49-F238E27FC236}">
                <a16:creationId xmlns:a16="http://schemas.microsoft.com/office/drawing/2014/main" id="{01D65CBC-4607-55B5-90CE-6F2F92D4414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12375" y="2292596"/>
            <a:ext cx="602863" cy="602863"/>
          </a:xfrm>
          <a:prstGeom prst="rect">
            <a:avLst/>
          </a:prstGeom>
        </p:spPr>
      </p:pic>
      <p:grpSp>
        <p:nvGrpSpPr>
          <p:cNvPr id="48" name="Graphic 2">
            <a:extLst>
              <a:ext uri="{FF2B5EF4-FFF2-40B4-BE49-F238E27FC236}">
                <a16:creationId xmlns:a16="http://schemas.microsoft.com/office/drawing/2014/main" id="{14C0731A-C3B1-64E7-409A-0071AC88CAF2}"/>
              </a:ext>
            </a:extLst>
          </p:cNvPr>
          <p:cNvGrpSpPr/>
          <p:nvPr/>
        </p:nvGrpSpPr>
        <p:grpSpPr>
          <a:xfrm>
            <a:off x="1025845" y="3348916"/>
            <a:ext cx="617111" cy="615634"/>
            <a:chOff x="2990248" y="3749841"/>
            <a:chExt cx="256673" cy="256673"/>
          </a:xfrm>
        </p:grpSpPr>
        <p:grpSp>
          <p:nvGrpSpPr>
            <p:cNvPr id="49" name="Graphic 2">
              <a:extLst>
                <a:ext uri="{FF2B5EF4-FFF2-40B4-BE49-F238E27FC236}">
                  <a16:creationId xmlns:a16="http://schemas.microsoft.com/office/drawing/2014/main" id="{BB03C5B8-AA56-E47B-8D3A-B66633F274FB}"/>
                </a:ext>
              </a:extLst>
            </p:cNvPr>
            <p:cNvGrpSpPr/>
            <p:nvPr/>
          </p:nvGrpSpPr>
          <p:grpSpPr>
            <a:xfrm>
              <a:off x="2990248" y="3749841"/>
              <a:ext cx="256673" cy="256673"/>
              <a:chOff x="2990248" y="3749841"/>
              <a:chExt cx="256673" cy="256673"/>
            </a:xfrm>
            <a:solidFill>
              <a:srgbClr val="FFFFFF"/>
            </a:solidFill>
          </p:grpSpPr>
          <p:sp>
            <p:nvSpPr>
              <p:cNvPr id="65" name="Freeform: Shape 87">
                <a:extLst>
                  <a:ext uri="{FF2B5EF4-FFF2-40B4-BE49-F238E27FC236}">
                    <a16:creationId xmlns:a16="http://schemas.microsoft.com/office/drawing/2014/main" id="{6EA8DA8E-BF14-152C-19F6-E246F894179C}"/>
                  </a:ext>
                </a:extLst>
              </p:cNvPr>
              <p:cNvSpPr/>
              <p:nvPr/>
            </p:nvSpPr>
            <p:spPr>
              <a:xfrm>
                <a:off x="2993302" y="3752928"/>
                <a:ext cx="251174" cy="250500"/>
              </a:xfrm>
              <a:custGeom>
                <a:avLst/>
                <a:gdLst>
                  <a:gd name="connsiteX0" fmla="*/ 0 w 251174"/>
                  <a:gd name="connsiteY0" fmla="*/ 250501 h 250500"/>
                  <a:gd name="connsiteX1" fmla="*/ 0 w 251174"/>
                  <a:gd name="connsiteY1" fmla="*/ 80827 h 250500"/>
                  <a:gd name="connsiteX2" fmla="*/ 107559 w 251174"/>
                  <a:gd name="connsiteY2" fmla="*/ 80827 h 250500"/>
                  <a:gd name="connsiteX3" fmla="*/ 107559 w 251174"/>
                  <a:gd name="connsiteY3" fmla="*/ 30852 h 250500"/>
                  <a:gd name="connsiteX4" fmla="*/ 179672 w 251174"/>
                  <a:gd name="connsiteY4" fmla="*/ 0 h 250500"/>
                  <a:gd name="connsiteX5" fmla="*/ 251174 w 251174"/>
                  <a:gd name="connsiteY5" fmla="*/ 30852 h 250500"/>
                  <a:gd name="connsiteX6" fmla="*/ 251174 w 251174"/>
                  <a:gd name="connsiteY6" fmla="*/ 96253 h 250500"/>
                  <a:gd name="connsiteX7" fmla="*/ 242005 w 251174"/>
                  <a:gd name="connsiteY7" fmla="*/ 132040 h 250500"/>
                  <a:gd name="connsiteX8" fmla="*/ 182116 w 251174"/>
                  <a:gd name="connsiteY8" fmla="*/ 185716 h 250500"/>
                  <a:gd name="connsiteX9" fmla="*/ 182116 w 251174"/>
                  <a:gd name="connsiteY9" fmla="*/ 249885 h 250500"/>
                  <a:gd name="connsiteX10" fmla="*/ 0 w 251174"/>
                  <a:gd name="connsiteY10" fmla="*/ 249885 h 250500"/>
                  <a:gd name="connsiteX11" fmla="*/ 0 w 251174"/>
                  <a:gd name="connsiteY11" fmla="*/ 250501 h 25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1174" h="250500">
                    <a:moveTo>
                      <a:pt x="0" y="250501"/>
                    </a:moveTo>
                    <a:lnTo>
                      <a:pt x="0" y="80827"/>
                    </a:lnTo>
                    <a:lnTo>
                      <a:pt x="107559" y="80827"/>
                    </a:lnTo>
                    <a:lnTo>
                      <a:pt x="107559" y="30852"/>
                    </a:lnTo>
                    <a:lnTo>
                      <a:pt x="179672" y="0"/>
                    </a:lnTo>
                    <a:lnTo>
                      <a:pt x="251174" y="30852"/>
                    </a:lnTo>
                    <a:lnTo>
                      <a:pt x="251174" y="96253"/>
                    </a:lnTo>
                    <a:cubicBezTo>
                      <a:pt x="251174" y="96869"/>
                      <a:pt x="251174" y="112911"/>
                      <a:pt x="242005" y="132040"/>
                    </a:cubicBezTo>
                    <a:cubicBezTo>
                      <a:pt x="234061" y="149314"/>
                      <a:pt x="217563" y="172761"/>
                      <a:pt x="182116" y="185716"/>
                    </a:cubicBezTo>
                    <a:lnTo>
                      <a:pt x="182116" y="249885"/>
                    </a:lnTo>
                    <a:lnTo>
                      <a:pt x="0" y="249885"/>
                    </a:lnTo>
                    <a:lnTo>
                      <a:pt x="0" y="250501"/>
                    </a:lnTo>
                    <a:close/>
                  </a:path>
                </a:pathLst>
              </a:custGeom>
              <a:solidFill>
                <a:srgbClr val="FFFFFF"/>
              </a:solidFill>
              <a:ln w="6417" cap="flat">
                <a:noFill/>
                <a:prstDash val="solid"/>
                <a:miter/>
              </a:ln>
            </p:spPr>
            <p:txBody>
              <a:bodyPr rtlCol="0" anchor="ctr"/>
              <a:lstStyle/>
              <a:p>
                <a:endParaRPr lang="en-US"/>
              </a:p>
            </p:txBody>
          </p:sp>
          <p:sp>
            <p:nvSpPr>
              <p:cNvPr id="66" name="Freeform: Shape 88">
                <a:extLst>
                  <a:ext uri="{FF2B5EF4-FFF2-40B4-BE49-F238E27FC236}">
                    <a16:creationId xmlns:a16="http://schemas.microsoft.com/office/drawing/2014/main" id="{842CAD43-F983-CDFC-C4CF-FE5696AE7679}"/>
                  </a:ext>
                </a:extLst>
              </p:cNvPr>
              <p:cNvSpPr/>
              <p:nvPr/>
            </p:nvSpPr>
            <p:spPr>
              <a:xfrm>
                <a:off x="2990248" y="3749841"/>
                <a:ext cx="256673" cy="256673"/>
              </a:xfrm>
              <a:custGeom>
                <a:avLst/>
                <a:gdLst>
                  <a:gd name="connsiteX0" fmla="*/ 182116 w 256673"/>
                  <a:gd name="connsiteY0" fmla="*/ 6789 h 256673"/>
                  <a:gd name="connsiteX1" fmla="*/ 250565 w 256673"/>
                  <a:gd name="connsiteY1" fmla="*/ 35787 h 256673"/>
                  <a:gd name="connsiteX2" fmla="*/ 250565 w 256673"/>
                  <a:gd name="connsiteY2" fmla="*/ 99339 h 256673"/>
                  <a:gd name="connsiteX3" fmla="*/ 242005 w 256673"/>
                  <a:gd name="connsiteY3" fmla="*/ 133887 h 256673"/>
                  <a:gd name="connsiteX4" fmla="*/ 183952 w 256673"/>
                  <a:gd name="connsiteY4" fmla="*/ 186332 h 256673"/>
                  <a:gd name="connsiteX5" fmla="*/ 182726 w 256673"/>
                  <a:gd name="connsiteY5" fmla="*/ 186955 h 256673"/>
                  <a:gd name="connsiteX6" fmla="*/ 182116 w 256673"/>
                  <a:gd name="connsiteY6" fmla="*/ 186955 h 256673"/>
                  <a:gd name="connsiteX7" fmla="*/ 182116 w 256673"/>
                  <a:gd name="connsiteY7" fmla="*/ 250501 h 256673"/>
                  <a:gd name="connsiteX8" fmla="*/ 6109 w 256673"/>
                  <a:gd name="connsiteY8" fmla="*/ 250501 h 256673"/>
                  <a:gd name="connsiteX9" fmla="*/ 6109 w 256673"/>
                  <a:gd name="connsiteY9" fmla="*/ 87000 h 256673"/>
                  <a:gd name="connsiteX10" fmla="*/ 113668 w 256673"/>
                  <a:gd name="connsiteY10" fmla="*/ 87000 h 256673"/>
                  <a:gd name="connsiteX11" fmla="*/ 113668 w 256673"/>
                  <a:gd name="connsiteY11" fmla="*/ 35787 h 256673"/>
                  <a:gd name="connsiteX12" fmla="*/ 182116 w 256673"/>
                  <a:gd name="connsiteY12" fmla="*/ 6789 h 256673"/>
                  <a:gd name="connsiteX13" fmla="*/ 182116 w 256673"/>
                  <a:gd name="connsiteY13" fmla="*/ 0 h 256673"/>
                  <a:gd name="connsiteX14" fmla="*/ 179672 w 256673"/>
                  <a:gd name="connsiteY14" fmla="*/ 1232 h 256673"/>
                  <a:gd name="connsiteX15" fmla="*/ 111223 w 256673"/>
                  <a:gd name="connsiteY15" fmla="*/ 30236 h 256673"/>
                  <a:gd name="connsiteX16" fmla="*/ 107559 w 256673"/>
                  <a:gd name="connsiteY16" fmla="*/ 32084 h 256673"/>
                  <a:gd name="connsiteX17" fmla="*/ 107559 w 256673"/>
                  <a:gd name="connsiteY17" fmla="*/ 36403 h 256673"/>
                  <a:gd name="connsiteX18" fmla="*/ 107559 w 256673"/>
                  <a:gd name="connsiteY18" fmla="*/ 81442 h 256673"/>
                  <a:gd name="connsiteX19" fmla="*/ 6109 w 256673"/>
                  <a:gd name="connsiteY19" fmla="*/ 81442 h 256673"/>
                  <a:gd name="connsiteX20" fmla="*/ 0 w 256673"/>
                  <a:gd name="connsiteY20" fmla="*/ 81442 h 256673"/>
                  <a:gd name="connsiteX21" fmla="*/ 0 w 256673"/>
                  <a:gd name="connsiteY21" fmla="*/ 87616 h 256673"/>
                  <a:gd name="connsiteX22" fmla="*/ 0 w 256673"/>
                  <a:gd name="connsiteY22" fmla="*/ 250501 h 256673"/>
                  <a:gd name="connsiteX23" fmla="*/ 0 w 256673"/>
                  <a:gd name="connsiteY23" fmla="*/ 256674 h 256673"/>
                  <a:gd name="connsiteX24" fmla="*/ 6109 w 256673"/>
                  <a:gd name="connsiteY24" fmla="*/ 256674 h 256673"/>
                  <a:gd name="connsiteX25" fmla="*/ 182116 w 256673"/>
                  <a:gd name="connsiteY25" fmla="*/ 256674 h 256673"/>
                  <a:gd name="connsiteX26" fmla="*/ 188225 w 256673"/>
                  <a:gd name="connsiteY26" fmla="*/ 256674 h 256673"/>
                  <a:gd name="connsiteX27" fmla="*/ 188225 w 256673"/>
                  <a:gd name="connsiteY27" fmla="*/ 250501 h 256673"/>
                  <a:gd name="connsiteX28" fmla="*/ 188225 w 256673"/>
                  <a:gd name="connsiteY28" fmla="*/ 191273 h 256673"/>
                  <a:gd name="connsiteX29" fmla="*/ 247504 w 256673"/>
                  <a:gd name="connsiteY29" fmla="*/ 136358 h 256673"/>
                  <a:gd name="connsiteX30" fmla="*/ 256674 w 256673"/>
                  <a:gd name="connsiteY30" fmla="*/ 99339 h 256673"/>
                  <a:gd name="connsiteX31" fmla="*/ 256674 w 256673"/>
                  <a:gd name="connsiteY31" fmla="*/ 35787 h 256673"/>
                  <a:gd name="connsiteX32" fmla="*/ 256674 w 256673"/>
                  <a:gd name="connsiteY32" fmla="*/ 32084 h 256673"/>
                  <a:gd name="connsiteX33" fmla="*/ 253010 w 256673"/>
                  <a:gd name="connsiteY33" fmla="*/ 30236 h 256673"/>
                  <a:gd name="connsiteX34" fmla="*/ 184561 w 256673"/>
                  <a:gd name="connsiteY34" fmla="*/ 1232 h 256673"/>
                  <a:gd name="connsiteX35" fmla="*/ 182116 w 256673"/>
                  <a:gd name="connsiteY35" fmla="*/ 0 h 25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56673" h="256673">
                    <a:moveTo>
                      <a:pt x="182116" y="6789"/>
                    </a:moveTo>
                    <a:lnTo>
                      <a:pt x="250565" y="35787"/>
                    </a:lnTo>
                    <a:lnTo>
                      <a:pt x="250565" y="99339"/>
                    </a:lnTo>
                    <a:cubicBezTo>
                      <a:pt x="250565" y="99955"/>
                      <a:pt x="250565" y="115381"/>
                      <a:pt x="242005" y="133887"/>
                    </a:cubicBezTo>
                    <a:cubicBezTo>
                      <a:pt x="234061" y="151168"/>
                      <a:pt x="218173" y="173993"/>
                      <a:pt x="183952" y="186332"/>
                    </a:cubicBezTo>
                    <a:lnTo>
                      <a:pt x="182726" y="186955"/>
                    </a:lnTo>
                    <a:lnTo>
                      <a:pt x="182116" y="186955"/>
                    </a:lnTo>
                    <a:lnTo>
                      <a:pt x="182116" y="250501"/>
                    </a:lnTo>
                    <a:lnTo>
                      <a:pt x="6109" y="250501"/>
                    </a:lnTo>
                    <a:lnTo>
                      <a:pt x="6109" y="87000"/>
                    </a:lnTo>
                    <a:lnTo>
                      <a:pt x="113668" y="87000"/>
                    </a:lnTo>
                    <a:lnTo>
                      <a:pt x="113668" y="35787"/>
                    </a:lnTo>
                    <a:lnTo>
                      <a:pt x="182116" y="6789"/>
                    </a:lnTo>
                    <a:close/>
                    <a:moveTo>
                      <a:pt x="182116" y="0"/>
                    </a:moveTo>
                    <a:lnTo>
                      <a:pt x="179672" y="1232"/>
                    </a:lnTo>
                    <a:lnTo>
                      <a:pt x="111223" y="30236"/>
                    </a:lnTo>
                    <a:lnTo>
                      <a:pt x="107559" y="32084"/>
                    </a:lnTo>
                    <a:lnTo>
                      <a:pt x="107559" y="36403"/>
                    </a:lnTo>
                    <a:lnTo>
                      <a:pt x="107559" y="81442"/>
                    </a:lnTo>
                    <a:lnTo>
                      <a:pt x="6109" y="81442"/>
                    </a:lnTo>
                    <a:lnTo>
                      <a:pt x="0" y="81442"/>
                    </a:lnTo>
                    <a:lnTo>
                      <a:pt x="0" y="87616"/>
                    </a:lnTo>
                    <a:lnTo>
                      <a:pt x="0" y="250501"/>
                    </a:lnTo>
                    <a:lnTo>
                      <a:pt x="0" y="256674"/>
                    </a:lnTo>
                    <a:lnTo>
                      <a:pt x="6109" y="256674"/>
                    </a:lnTo>
                    <a:lnTo>
                      <a:pt x="182116" y="256674"/>
                    </a:lnTo>
                    <a:lnTo>
                      <a:pt x="188225" y="256674"/>
                    </a:lnTo>
                    <a:lnTo>
                      <a:pt x="188225" y="250501"/>
                    </a:lnTo>
                    <a:lnTo>
                      <a:pt x="188225" y="191273"/>
                    </a:lnTo>
                    <a:cubicBezTo>
                      <a:pt x="222453" y="177695"/>
                      <a:pt x="239560" y="154248"/>
                      <a:pt x="247504" y="136358"/>
                    </a:cubicBezTo>
                    <a:cubicBezTo>
                      <a:pt x="256674" y="116613"/>
                      <a:pt x="256674" y="99955"/>
                      <a:pt x="256674" y="99339"/>
                    </a:cubicBezTo>
                    <a:lnTo>
                      <a:pt x="256674" y="35787"/>
                    </a:lnTo>
                    <a:lnTo>
                      <a:pt x="256674" y="32084"/>
                    </a:lnTo>
                    <a:lnTo>
                      <a:pt x="253010" y="30236"/>
                    </a:lnTo>
                    <a:lnTo>
                      <a:pt x="184561" y="1232"/>
                    </a:lnTo>
                    <a:lnTo>
                      <a:pt x="182116" y="0"/>
                    </a:lnTo>
                    <a:close/>
                  </a:path>
                </a:pathLst>
              </a:custGeom>
              <a:solidFill>
                <a:srgbClr val="FFFFFF"/>
              </a:solidFill>
              <a:ln w="6417" cap="flat">
                <a:noFill/>
                <a:prstDash val="solid"/>
                <a:miter/>
              </a:ln>
            </p:spPr>
            <p:txBody>
              <a:bodyPr rtlCol="0" anchor="ctr"/>
              <a:lstStyle/>
              <a:p>
                <a:endParaRPr lang="en-US"/>
              </a:p>
            </p:txBody>
          </p:sp>
        </p:grpSp>
        <p:grpSp>
          <p:nvGrpSpPr>
            <p:cNvPr id="50" name="Graphic 2">
              <a:extLst>
                <a:ext uri="{FF2B5EF4-FFF2-40B4-BE49-F238E27FC236}">
                  <a16:creationId xmlns:a16="http://schemas.microsoft.com/office/drawing/2014/main" id="{C91C0735-11E8-6E4E-A85D-951C3CE88E6B}"/>
                </a:ext>
              </a:extLst>
            </p:cNvPr>
            <p:cNvGrpSpPr/>
            <p:nvPr/>
          </p:nvGrpSpPr>
          <p:grpSpPr>
            <a:xfrm>
              <a:off x="2996357" y="3756630"/>
              <a:ext cx="243839" cy="244334"/>
              <a:chOff x="2996357" y="3756630"/>
              <a:chExt cx="243839" cy="244334"/>
            </a:xfrm>
            <a:solidFill>
              <a:srgbClr val="AE562C"/>
            </a:solidFill>
          </p:grpSpPr>
          <p:sp>
            <p:nvSpPr>
              <p:cNvPr id="51" name="Freeform: Shape 73">
                <a:extLst>
                  <a:ext uri="{FF2B5EF4-FFF2-40B4-BE49-F238E27FC236}">
                    <a16:creationId xmlns:a16="http://schemas.microsoft.com/office/drawing/2014/main" id="{BBF8B7E5-FCAC-EA9E-44A0-79C993CE935B}"/>
                  </a:ext>
                </a:extLst>
              </p:cNvPr>
              <p:cNvSpPr/>
              <p:nvPr/>
            </p:nvSpPr>
            <p:spPr>
              <a:xfrm>
                <a:off x="2996357" y="3838073"/>
                <a:ext cx="176007" cy="162891"/>
              </a:xfrm>
              <a:custGeom>
                <a:avLst/>
                <a:gdLst>
                  <a:gd name="connsiteX0" fmla="*/ 167454 w 176007"/>
                  <a:gd name="connsiteY0" fmla="*/ 102426 h 162891"/>
                  <a:gd name="connsiteX1" fmla="*/ 55005 w 176007"/>
                  <a:gd name="connsiteY1" fmla="*/ 102426 h 162891"/>
                  <a:gd name="connsiteX2" fmla="*/ 55005 w 176007"/>
                  <a:gd name="connsiteY2" fmla="*/ 59234 h 162891"/>
                  <a:gd name="connsiteX3" fmla="*/ 116119 w 176007"/>
                  <a:gd name="connsiteY3" fmla="*/ 59234 h 162891"/>
                  <a:gd name="connsiteX4" fmla="*/ 111839 w 176007"/>
                  <a:gd name="connsiteY4" fmla="*/ 51213 h 162891"/>
                  <a:gd name="connsiteX5" fmla="*/ 55005 w 176007"/>
                  <a:gd name="connsiteY5" fmla="*/ 51213 h 162891"/>
                  <a:gd name="connsiteX6" fmla="*/ 55005 w 176007"/>
                  <a:gd name="connsiteY6" fmla="*/ 8021 h 162891"/>
                  <a:gd name="connsiteX7" fmla="*/ 100841 w 176007"/>
                  <a:gd name="connsiteY7" fmla="*/ 8021 h 162891"/>
                  <a:gd name="connsiteX8" fmla="*/ 100841 w 176007"/>
                  <a:gd name="connsiteY8" fmla="*/ 0 h 162891"/>
                  <a:gd name="connsiteX9" fmla="*/ 0 w 176007"/>
                  <a:gd name="connsiteY9" fmla="*/ 0 h 162891"/>
                  <a:gd name="connsiteX10" fmla="*/ 0 w 176007"/>
                  <a:gd name="connsiteY10" fmla="*/ 162892 h 162891"/>
                  <a:gd name="connsiteX11" fmla="*/ 176008 w 176007"/>
                  <a:gd name="connsiteY11" fmla="*/ 162892 h 162891"/>
                  <a:gd name="connsiteX12" fmla="*/ 176008 w 176007"/>
                  <a:gd name="connsiteY12" fmla="*/ 106122 h 162891"/>
                  <a:gd name="connsiteX13" fmla="*/ 172953 w 176007"/>
                  <a:gd name="connsiteY13" fmla="*/ 104890 h 162891"/>
                  <a:gd name="connsiteX14" fmla="*/ 167454 w 176007"/>
                  <a:gd name="connsiteY14" fmla="*/ 102426 h 162891"/>
                  <a:gd name="connsiteX15" fmla="*/ 7944 w 176007"/>
                  <a:gd name="connsiteY15" fmla="*/ 7405 h 162891"/>
                  <a:gd name="connsiteX16" fmla="*/ 47061 w 176007"/>
                  <a:gd name="connsiteY16" fmla="*/ 7405 h 162891"/>
                  <a:gd name="connsiteX17" fmla="*/ 47061 w 176007"/>
                  <a:gd name="connsiteY17" fmla="*/ 50597 h 162891"/>
                  <a:gd name="connsiteX18" fmla="*/ 7944 w 176007"/>
                  <a:gd name="connsiteY18" fmla="*/ 50597 h 162891"/>
                  <a:gd name="connsiteX19" fmla="*/ 7944 w 176007"/>
                  <a:gd name="connsiteY19" fmla="*/ 7405 h 162891"/>
                  <a:gd name="connsiteX20" fmla="*/ 47061 w 176007"/>
                  <a:gd name="connsiteY20" fmla="*/ 58618 h 162891"/>
                  <a:gd name="connsiteX21" fmla="*/ 47061 w 176007"/>
                  <a:gd name="connsiteY21" fmla="*/ 101803 h 162891"/>
                  <a:gd name="connsiteX22" fmla="*/ 7944 w 176007"/>
                  <a:gd name="connsiteY22" fmla="*/ 101803 h 162891"/>
                  <a:gd name="connsiteX23" fmla="*/ 7944 w 176007"/>
                  <a:gd name="connsiteY23" fmla="*/ 58618 h 162891"/>
                  <a:gd name="connsiteX24" fmla="*/ 47061 w 176007"/>
                  <a:gd name="connsiteY24" fmla="*/ 58618 h 162891"/>
                  <a:gd name="connsiteX25" fmla="*/ 7944 w 176007"/>
                  <a:gd name="connsiteY25" fmla="*/ 110447 h 162891"/>
                  <a:gd name="connsiteX26" fmla="*/ 47061 w 176007"/>
                  <a:gd name="connsiteY26" fmla="*/ 110447 h 162891"/>
                  <a:gd name="connsiteX27" fmla="*/ 47061 w 176007"/>
                  <a:gd name="connsiteY27" fmla="*/ 153632 h 162891"/>
                  <a:gd name="connsiteX28" fmla="*/ 7944 w 176007"/>
                  <a:gd name="connsiteY28" fmla="*/ 153632 h 162891"/>
                  <a:gd name="connsiteX29" fmla="*/ 7944 w 176007"/>
                  <a:gd name="connsiteY29" fmla="*/ 110447 h 162891"/>
                  <a:gd name="connsiteX30" fmla="*/ 167454 w 176007"/>
                  <a:gd name="connsiteY30" fmla="*/ 153632 h 162891"/>
                  <a:gd name="connsiteX31" fmla="*/ 55005 w 176007"/>
                  <a:gd name="connsiteY31" fmla="*/ 153632 h 162891"/>
                  <a:gd name="connsiteX32" fmla="*/ 55005 w 176007"/>
                  <a:gd name="connsiteY32" fmla="*/ 110447 h 162891"/>
                  <a:gd name="connsiteX33" fmla="*/ 167454 w 176007"/>
                  <a:gd name="connsiteY33" fmla="*/ 110447 h 162891"/>
                  <a:gd name="connsiteX34" fmla="*/ 167454 w 176007"/>
                  <a:gd name="connsiteY34" fmla="*/ 153632 h 162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76007" h="162891">
                    <a:moveTo>
                      <a:pt x="167454" y="102426"/>
                    </a:moveTo>
                    <a:lnTo>
                      <a:pt x="55005" y="102426"/>
                    </a:lnTo>
                    <a:lnTo>
                      <a:pt x="55005" y="59234"/>
                    </a:lnTo>
                    <a:lnTo>
                      <a:pt x="116119" y="59234"/>
                    </a:lnTo>
                    <a:cubicBezTo>
                      <a:pt x="114284" y="56147"/>
                      <a:pt x="113058" y="53677"/>
                      <a:pt x="111839" y="51213"/>
                    </a:cubicBezTo>
                    <a:lnTo>
                      <a:pt x="55005" y="51213"/>
                    </a:lnTo>
                    <a:lnTo>
                      <a:pt x="55005" y="8021"/>
                    </a:lnTo>
                    <a:lnTo>
                      <a:pt x="100841" y="8021"/>
                    </a:lnTo>
                    <a:lnTo>
                      <a:pt x="100841" y="0"/>
                    </a:lnTo>
                    <a:lnTo>
                      <a:pt x="0" y="0"/>
                    </a:lnTo>
                    <a:lnTo>
                      <a:pt x="0" y="162892"/>
                    </a:lnTo>
                    <a:lnTo>
                      <a:pt x="176008" y="162892"/>
                    </a:lnTo>
                    <a:lnTo>
                      <a:pt x="176008" y="106122"/>
                    </a:lnTo>
                    <a:lnTo>
                      <a:pt x="172953" y="104890"/>
                    </a:lnTo>
                    <a:cubicBezTo>
                      <a:pt x="171118" y="103658"/>
                      <a:pt x="169283" y="103042"/>
                      <a:pt x="167454" y="102426"/>
                    </a:cubicBezTo>
                    <a:close/>
                    <a:moveTo>
                      <a:pt x="7944" y="7405"/>
                    </a:moveTo>
                    <a:lnTo>
                      <a:pt x="47061" y="7405"/>
                    </a:lnTo>
                    <a:lnTo>
                      <a:pt x="47061" y="50597"/>
                    </a:lnTo>
                    <a:lnTo>
                      <a:pt x="7944" y="50597"/>
                    </a:lnTo>
                    <a:lnTo>
                      <a:pt x="7944" y="7405"/>
                    </a:lnTo>
                    <a:close/>
                    <a:moveTo>
                      <a:pt x="47061" y="58618"/>
                    </a:moveTo>
                    <a:lnTo>
                      <a:pt x="47061" y="101803"/>
                    </a:lnTo>
                    <a:lnTo>
                      <a:pt x="7944" y="101803"/>
                    </a:lnTo>
                    <a:lnTo>
                      <a:pt x="7944" y="58618"/>
                    </a:lnTo>
                    <a:lnTo>
                      <a:pt x="47061" y="58618"/>
                    </a:lnTo>
                    <a:close/>
                    <a:moveTo>
                      <a:pt x="7944" y="110447"/>
                    </a:moveTo>
                    <a:lnTo>
                      <a:pt x="47061" y="110447"/>
                    </a:lnTo>
                    <a:lnTo>
                      <a:pt x="47061" y="153632"/>
                    </a:lnTo>
                    <a:lnTo>
                      <a:pt x="7944" y="153632"/>
                    </a:lnTo>
                    <a:lnTo>
                      <a:pt x="7944" y="110447"/>
                    </a:lnTo>
                    <a:close/>
                    <a:moveTo>
                      <a:pt x="167454" y="153632"/>
                    </a:moveTo>
                    <a:lnTo>
                      <a:pt x="55005" y="153632"/>
                    </a:lnTo>
                    <a:lnTo>
                      <a:pt x="55005" y="110447"/>
                    </a:lnTo>
                    <a:lnTo>
                      <a:pt x="167454" y="110447"/>
                    </a:lnTo>
                    <a:lnTo>
                      <a:pt x="167454" y="153632"/>
                    </a:lnTo>
                    <a:close/>
                  </a:path>
                </a:pathLst>
              </a:custGeom>
              <a:solidFill>
                <a:srgbClr val="AE562C"/>
              </a:solidFill>
              <a:ln w="6417" cap="flat">
                <a:noFill/>
                <a:prstDash val="solid"/>
                <a:miter/>
              </a:ln>
            </p:spPr>
            <p:txBody>
              <a:bodyPr rtlCol="0" anchor="ctr"/>
              <a:lstStyle/>
              <a:p>
                <a:endParaRPr lang="en-US"/>
              </a:p>
            </p:txBody>
          </p:sp>
          <p:sp>
            <p:nvSpPr>
              <p:cNvPr id="52" name="Freeform: Shape 74">
                <a:extLst>
                  <a:ext uri="{FF2B5EF4-FFF2-40B4-BE49-F238E27FC236}">
                    <a16:creationId xmlns:a16="http://schemas.microsoft.com/office/drawing/2014/main" id="{34B6EC8E-DD92-422D-48AA-8FB95C074C40}"/>
                  </a:ext>
                </a:extLst>
              </p:cNvPr>
              <p:cNvSpPr/>
              <p:nvPr/>
            </p:nvSpPr>
            <p:spPr>
              <a:xfrm>
                <a:off x="3146697" y="3975663"/>
                <a:ext cx="7943" cy="8021"/>
              </a:xfrm>
              <a:custGeom>
                <a:avLst/>
                <a:gdLst>
                  <a:gd name="connsiteX0" fmla="*/ 7944 w 7943"/>
                  <a:gd name="connsiteY0" fmla="*/ 0 h 8021"/>
                  <a:gd name="connsiteX1" fmla="*/ 0 w 7943"/>
                  <a:gd name="connsiteY1" fmla="*/ 0 h 8021"/>
                  <a:gd name="connsiteX2" fmla="*/ 0 w 7943"/>
                  <a:gd name="connsiteY2" fmla="*/ 8021 h 8021"/>
                  <a:gd name="connsiteX3" fmla="*/ 7944 w 7943"/>
                  <a:gd name="connsiteY3" fmla="*/ 8021 h 8021"/>
                  <a:gd name="connsiteX4" fmla="*/ 7944 w 7943"/>
                  <a:gd name="connsiteY4" fmla="*/ 0 h 8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3" h="8021">
                    <a:moveTo>
                      <a:pt x="7944" y="0"/>
                    </a:moveTo>
                    <a:lnTo>
                      <a:pt x="0" y="0"/>
                    </a:lnTo>
                    <a:lnTo>
                      <a:pt x="0" y="8021"/>
                    </a:lnTo>
                    <a:lnTo>
                      <a:pt x="7944" y="8021"/>
                    </a:lnTo>
                    <a:lnTo>
                      <a:pt x="7944" y="0"/>
                    </a:lnTo>
                    <a:close/>
                  </a:path>
                </a:pathLst>
              </a:custGeom>
              <a:solidFill>
                <a:srgbClr val="AE562C"/>
              </a:solidFill>
              <a:ln w="6417" cap="flat">
                <a:noFill/>
                <a:prstDash val="solid"/>
                <a:miter/>
              </a:ln>
            </p:spPr>
            <p:txBody>
              <a:bodyPr rtlCol="0" anchor="ctr"/>
              <a:lstStyle/>
              <a:p>
                <a:endParaRPr lang="en-US"/>
              </a:p>
            </p:txBody>
          </p:sp>
          <p:sp>
            <p:nvSpPr>
              <p:cNvPr id="53" name="Freeform: Shape 75">
                <a:extLst>
                  <a:ext uri="{FF2B5EF4-FFF2-40B4-BE49-F238E27FC236}">
                    <a16:creationId xmlns:a16="http://schemas.microsoft.com/office/drawing/2014/main" id="{D3CAAF8C-8582-2B82-8A9C-8D60008A7EF5}"/>
                  </a:ext>
                </a:extLst>
              </p:cNvPr>
              <p:cNvSpPr/>
              <p:nvPr/>
            </p:nvSpPr>
            <p:spPr>
              <a:xfrm>
                <a:off x="3114914" y="3957157"/>
                <a:ext cx="26283" cy="26527"/>
              </a:xfrm>
              <a:custGeom>
                <a:avLst/>
                <a:gdLst>
                  <a:gd name="connsiteX0" fmla="*/ 6115 w 26283"/>
                  <a:gd name="connsiteY0" fmla="*/ 26527 h 26527"/>
                  <a:gd name="connsiteX1" fmla="*/ 13450 w 26283"/>
                  <a:gd name="connsiteY1" fmla="*/ 19122 h 26527"/>
                  <a:gd name="connsiteX2" fmla="*/ 20784 w 26283"/>
                  <a:gd name="connsiteY2" fmla="*/ 26527 h 26527"/>
                  <a:gd name="connsiteX3" fmla="*/ 26283 w 26283"/>
                  <a:gd name="connsiteY3" fmla="*/ 20360 h 26527"/>
                  <a:gd name="connsiteX4" fmla="*/ 18949 w 26283"/>
                  <a:gd name="connsiteY4" fmla="*/ 12955 h 26527"/>
                  <a:gd name="connsiteX5" fmla="*/ 26283 w 26283"/>
                  <a:gd name="connsiteY5" fmla="*/ 5551 h 26527"/>
                  <a:gd name="connsiteX6" fmla="*/ 20784 w 26283"/>
                  <a:gd name="connsiteY6" fmla="*/ 0 h 26527"/>
                  <a:gd name="connsiteX7" fmla="*/ 13450 w 26283"/>
                  <a:gd name="connsiteY7" fmla="*/ 7399 h 26527"/>
                  <a:gd name="connsiteX8" fmla="*/ 6115 w 26283"/>
                  <a:gd name="connsiteY8" fmla="*/ 0 h 26527"/>
                  <a:gd name="connsiteX9" fmla="*/ 0 w 26283"/>
                  <a:gd name="connsiteY9" fmla="*/ 5551 h 26527"/>
                  <a:gd name="connsiteX10" fmla="*/ 7334 w 26283"/>
                  <a:gd name="connsiteY10" fmla="*/ 12955 h 26527"/>
                  <a:gd name="connsiteX11" fmla="*/ 0 w 26283"/>
                  <a:gd name="connsiteY11" fmla="*/ 20360 h 26527"/>
                  <a:gd name="connsiteX12" fmla="*/ 6115 w 26283"/>
                  <a:gd name="connsiteY12" fmla="*/ 26527 h 26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283" h="26527">
                    <a:moveTo>
                      <a:pt x="6115" y="26527"/>
                    </a:moveTo>
                    <a:lnTo>
                      <a:pt x="13450" y="19122"/>
                    </a:lnTo>
                    <a:lnTo>
                      <a:pt x="20784" y="26527"/>
                    </a:lnTo>
                    <a:lnTo>
                      <a:pt x="26283" y="20360"/>
                    </a:lnTo>
                    <a:lnTo>
                      <a:pt x="18949" y="12955"/>
                    </a:lnTo>
                    <a:lnTo>
                      <a:pt x="26283" y="5551"/>
                    </a:lnTo>
                    <a:lnTo>
                      <a:pt x="20784" y="0"/>
                    </a:lnTo>
                    <a:lnTo>
                      <a:pt x="13450" y="7399"/>
                    </a:lnTo>
                    <a:lnTo>
                      <a:pt x="6115" y="0"/>
                    </a:lnTo>
                    <a:lnTo>
                      <a:pt x="0" y="5551"/>
                    </a:lnTo>
                    <a:lnTo>
                      <a:pt x="7334" y="12955"/>
                    </a:lnTo>
                    <a:lnTo>
                      <a:pt x="0" y="20360"/>
                    </a:lnTo>
                    <a:lnTo>
                      <a:pt x="6115" y="26527"/>
                    </a:lnTo>
                    <a:close/>
                  </a:path>
                </a:pathLst>
              </a:custGeom>
              <a:solidFill>
                <a:srgbClr val="AE562C"/>
              </a:solidFill>
              <a:ln w="6417" cap="flat">
                <a:noFill/>
                <a:prstDash val="solid"/>
                <a:miter/>
              </a:ln>
            </p:spPr>
            <p:txBody>
              <a:bodyPr rtlCol="0" anchor="ctr"/>
              <a:lstStyle/>
              <a:p>
                <a:endParaRPr lang="en-US"/>
              </a:p>
            </p:txBody>
          </p:sp>
          <p:sp>
            <p:nvSpPr>
              <p:cNvPr id="54" name="Freeform: Shape 76">
                <a:extLst>
                  <a:ext uri="{FF2B5EF4-FFF2-40B4-BE49-F238E27FC236}">
                    <a16:creationId xmlns:a16="http://schemas.microsoft.com/office/drawing/2014/main" id="{2741E5F0-C9AA-BDA2-2E77-C4BA39AB8EE7}"/>
                  </a:ext>
                </a:extLst>
              </p:cNvPr>
              <p:cNvSpPr/>
              <p:nvPr/>
            </p:nvSpPr>
            <p:spPr>
              <a:xfrm>
                <a:off x="3095362" y="3975663"/>
                <a:ext cx="7943" cy="8021"/>
              </a:xfrm>
              <a:custGeom>
                <a:avLst/>
                <a:gdLst>
                  <a:gd name="connsiteX0" fmla="*/ 7944 w 7943"/>
                  <a:gd name="connsiteY0" fmla="*/ 0 h 8021"/>
                  <a:gd name="connsiteX1" fmla="*/ 0 w 7943"/>
                  <a:gd name="connsiteY1" fmla="*/ 0 h 8021"/>
                  <a:gd name="connsiteX2" fmla="*/ 0 w 7943"/>
                  <a:gd name="connsiteY2" fmla="*/ 8021 h 8021"/>
                  <a:gd name="connsiteX3" fmla="*/ 7944 w 7943"/>
                  <a:gd name="connsiteY3" fmla="*/ 8021 h 8021"/>
                  <a:gd name="connsiteX4" fmla="*/ 7944 w 7943"/>
                  <a:gd name="connsiteY4" fmla="*/ 0 h 8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3" h="8021">
                    <a:moveTo>
                      <a:pt x="7944" y="0"/>
                    </a:moveTo>
                    <a:lnTo>
                      <a:pt x="0" y="0"/>
                    </a:lnTo>
                    <a:lnTo>
                      <a:pt x="0" y="8021"/>
                    </a:lnTo>
                    <a:lnTo>
                      <a:pt x="7944" y="8021"/>
                    </a:lnTo>
                    <a:lnTo>
                      <a:pt x="7944" y="0"/>
                    </a:lnTo>
                    <a:close/>
                  </a:path>
                </a:pathLst>
              </a:custGeom>
              <a:solidFill>
                <a:srgbClr val="AE562C"/>
              </a:solidFill>
              <a:ln w="6417" cap="flat">
                <a:noFill/>
                <a:prstDash val="solid"/>
                <a:miter/>
              </a:ln>
            </p:spPr>
            <p:txBody>
              <a:bodyPr rtlCol="0" anchor="ctr"/>
              <a:lstStyle/>
              <a:p>
                <a:endParaRPr lang="en-US"/>
              </a:p>
            </p:txBody>
          </p:sp>
          <p:sp>
            <p:nvSpPr>
              <p:cNvPr id="55" name="Freeform: Shape 77">
                <a:extLst>
                  <a:ext uri="{FF2B5EF4-FFF2-40B4-BE49-F238E27FC236}">
                    <a16:creationId xmlns:a16="http://schemas.microsoft.com/office/drawing/2014/main" id="{197E132C-BEDB-979D-5114-D26165968267}"/>
                  </a:ext>
                </a:extLst>
              </p:cNvPr>
              <p:cNvSpPr/>
              <p:nvPr/>
            </p:nvSpPr>
            <p:spPr>
              <a:xfrm>
                <a:off x="3064196" y="3957157"/>
                <a:ext cx="26276" cy="26527"/>
              </a:xfrm>
              <a:custGeom>
                <a:avLst/>
                <a:gdLst>
                  <a:gd name="connsiteX0" fmla="*/ 0 w 26276"/>
                  <a:gd name="connsiteY0" fmla="*/ 20360 h 26527"/>
                  <a:gd name="connsiteX1" fmla="*/ 5499 w 26276"/>
                  <a:gd name="connsiteY1" fmla="*/ 26527 h 26527"/>
                  <a:gd name="connsiteX2" fmla="*/ 12834 w 26276"/>
                  <a:gd name="connsiteY2" fmla="*/ 19122 h 26527"/>
                  <a:gd name="connsiteX3" fmla="*/ 20168 w 26276"/>
                  <a:gd name="connsiteY3" fmla="*/ 26527 h 26527"/>
                  <a:gd name="connsiteX4" fmla="*/ 26277 w 26276"/>
                  <a:gd name="connsiteY4" fmla="*/ 20360 h 26527"/>
                  <a:gd name="connsiteX5" fmla="*/ 18943 w 26276"/>
                  <a:gd name="connsiteY5" fmla="*/ 12955 h 26527"/>
                  <a:gd name="connsiteX6" fmla="*/ 26277 w 26276"/>
                  <a:gd name="connsiteY6" fmla="*/ 5551 h 26527"/>
                  <a:gd name="connsiteX7" fmla="*/ 20168 w 26276"/>
                  <a:gd name="connsiteY7" fmla="*/ 0 h 26527"/>
                  <a:gd name="connsiteX8" fmla="*/ 12834 w 26276"/>
                  <a:gd name="connsiteY8" fmla="*/ 7399 h 26527"/>
                  <a:gd name="connsiteX9" fmla="*/ 5499 w 26276"/>
                  <a:gd name="connsiteY9" fmla="*/ 0 h 26527"/>
                  <a:gd name="connsiteX10" fmla="*/ 0 w 26276"/>
                  <a:gd name="connsiteY10" fmla="*/ 5551 h 26527"/>
                  <a:gd name="connsiteX11" fmla="*/ 7334 w 26276"/>
                  <a:gd name="connsiteY11" fmla="*/ 12955 h 26527"/>
                  <a:gd name="connsiteX12" fmla="*/ 0 w 26276"/>
                  <a:gd name="connsiteY12" fmla="*/ 20360 h 26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276" h="26527">
                    <a:moveTo>
                      <a:pt x="0" y="20360"/>
                    </a:moveTo>
                    <a:lnTo>
                      <a:pt x="5499" y="26527"/>
                    </a:lnTo>
                    <a:lnTo>
                      <a:pt x="12834" y="19122"/>
                    </a:lnTo>
                    <a:lnTo>
                      <a:pt x="20168" y="26527"/>
                    </a:lnTo>
                    <a:lnTo>
                      <a:pt x="26277" y="20360"/>
                    </a:lnTo>
                    <a:lnTo>
                      <a:pt x="18943" y="12955"/>
                    </a:lnTo>
                    <a:lnTo>
                      <a:pt x="26277" y="5551"/>
                    </a:lnTo>
                    <a:lnTo>
                      <a:pt x="20168" y="0"/>
                    </a:lnTo>
                    <a:lnTo>
                      <a:pt x="12834" y="7399"/>
                    </a:lnTo>
                    <a:lnTo>
                      <a:pt x="5499" y="0"/>
                    </a:lnTo>
                    <a:lnTo>
                      <a:pt x="0" y="5551"/>
                    </a:lnTo>
                    <a:lnTo>
                      <a:pt x="7334" y="12955"/>
                    </a:lnTo>
                    <a:lnTo>
                      <a:pt x="0" y="20360"/>
                    </a:lnTo>
                    <a:close/>
                  </a:path>
                </a:pathLst>
              </a:custGeom>
              <a:solidFill>
                <a:srgbClr val="AE562C"/>
              </a:solidFill>
              <a:ln w="6417" cap="flat">
                <a:noFill/>
                <a:prstDash val="solid"/>
                <a:miter/>
              </a:ln>
            </p:spPr>
            <p:txBody>
              <a:bodyPr rtlCol="0" anchor="ctr"/>
              <a:lstStyle/>
              <a:p>
                <a:endParaRPr lang="en-US"/>
              </a:p>
            </p:txBody>
          </p:sp>
          <p:sp>
            <p:nvSpPr>
              <p:cNvPr id="56" name="Freeform: Shape 78">
                <a:extLst>
                  <a:ext uri="{FF2B5EF4-FFF2-40B4-BE49-F238E27FC236}">
                    <a16:creationId xmlns:a16="http://schemas.microsoft.com/office/drawing/2014/main" id="{E3D646DB-C4CD-E95B-C991-FC561653A84D}"/>
                  </a:ext>
                </a:extLst>
              </p:cNvPr>
              <p:cNvSpPr/>
              <p:nvPr/>
            </p:nvSpPr>
            <p:spPr>
              <a:xfrm>
                <a:off x="3095362" y="3923840"/>
                <a:ext cx="7943" cy="8021"/>
              </a:xfrm>
              <a:custGeom>
                <a:avLst/>
                <a:gdLst>
                  <a:gd name="connsiteX0" fmla="*/ 7944 w 7943"/>
                  <a:gd name="connsiteY0" fmla="*/ 0 h 8021"/>
                  <a:gd name="connsiteX1" fmla="*/ 0 w 7943"/>
                  <a:gd name="connsiteY1" fmla="*/ 0 h 8021"/>
                  <a:gd name="connsiteX2" fmla="*/ 0 w 7943"/>
                  <a:gd name="connsiteY2" fmla="*/ 8021 h 8021"/>
                  <a:gd name="connsiteX3" fmla="*/ 7944 w 7943"/>
                  <a:gd name="connsiteY3" fmla="*/ 8021 h 8021"/>
                  <a:gd name="connsiteX4" fmla="*/ 7944 w 7943"/>
                  <a:gd name="connsiteY4" fmla="*/ 0 h 8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3" h="8021">
                    <a:moveTo>
                      <a:pt x="7944" y="0"/>
                    </a:moveTo>
                    <a:lnTo>
                      <a:pt x="0" y="0"/>
                    </a:lnTo>
                    <a:lnTo>
                      <a:pt x="0" y="8021"/>
                    </a:lnTo>
                    <a:lnTo>
                      <a:pt x="7944" y="8021"/>
                    </a:lnTo>
                    <a:lnTo>
                      <a:pt x="7944" y="0"/>
                    </a:lnTo>
                    <a:close/>
                  </a:path>
                </a:pathLst>
              </a:custGeom>
              <a:solidFill>
                <a:srgbClr val="AE562C"/>
              </a:solidFill>
              <a:ln w="6417" cap="flat">
                <a:noFill/>
                <a:prstDash val="solid"/>
                <a:miter/>
              </a:ln>
            </p:spPr>
            <p:txBody>
              <a:bodyPr rtlCol="0" anchor="ctr"/>
              <a:lstStyle/>
              <a:p>
                <a:endParaRPr lang="en-US"/>
              </a:p>
            </p:txBody>
          </p:sp>
          <p:sp>
            <p:nvSpPr>
              <p:cNvPr id="57" name="Freeform: Shape 79">
                <a:extLst>
                  <a:ext uri="{FF2B5EF4-FFF2-40B4-BE49-F238E27FC236}">
                    <a16:creationId xmlns:a16="http://schemas.microsoft.com/office/drawing/2014/main" id="{92CA29C2-4E5B-4EB3-B528-7987B73F49A1}"/>
                  </a:ext>
                </a:extLst>
              </p:cNvPr>
              <p:cNvSpPr/>
              <p:nvPr/>
            </p:nvSpPr>
            <p:spPr>
              <a:xfrm>
                <a:off x="3064196" y="3905328"/>
                <a:ext cx="26276" cy="26533"/>
              </a:xfrm>
              <a:custGeom>
                <a:avLst/>
                <a:gdLst>
                  <a:gd name="connsiteX0" fmla="*/ 0 w 26276"/>
                  <a:gd name="connsiteY0" fmla="*/ 20361 h 26533"/>
                  <a:gd name="connsiteX1" fmla="*/ 5499 w 26276"/>
                  <a:gd name="connsiteY1" fmla="*/ 26534 h 26533"/>
                  <a:gd name="connsiteX2" fmla="*/ 12834 w 26276"/>
                  <a:gd name="connsiteY2" fmla="*/ 19129 h 26533"/>
                  <a:gd name="connsiteX3" fmla="*/ 20168 w 26276"/>
                  <a:gd name="connsiteY3" fmla="*/ 26534 h 26533"/>
                  <a:gd name="connsiteX4" fmla="*/ 26277 w 26276"/>
                  <a:gd name="connsiteY4" fmla="*/ 20361 h 26533"/>
                  <a:gd name="connsiteX5" fmla="*/ 18943 w 26276"/>
                  <a:gd name="connsiteY5" fmla="*/ 12956 h 26533"/>
                  <a:gd name="connsiteX6" fmla="*/ 26277 w 26276"/>
                  <a:gd name="connsiteY6" fmla="*/ 5551 h 26533"/>
                  <a:gd name="connsiteX7" fmla="*/ 20168 w 26276"/>
                  <a:gd name="connsiteY7" fmla="*/ 0 h 26533"/>
                  <a:gd name="connsiteX8" fmla="*/ 12834 w 26276"/>
                  <a:gd name="connsiteY8" fmla="*/ 7405 h 26533"/>
                  <a:gd name="connsiteX9" fmla="*/ 5499 w 26276"/>
                  <a:gd name="connsiteY9" fmla="*/ 0 h 26533"/>
                  <a:gd name="connsiteX10" fmla="*/ 0 w 26276"/>
                  <a:gd name="connsiteY10" fmla="*/ 5551 h 26533"/>
                  <a:gd name="connsiteX11" fmla="*/ 7334 w 26276"/>
                  <a:gd name="connsiteY11" fmla="*/ 12956 h 26533"/>
                  <a:gd name="connsiteX12" fmla="*/ 0 w 26276"/>
                  <a:gd name="connsiteY12" fmla="*/ 20361 h 2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276" h="26533">
                    <a:moveTo>
                      <a:pt x="0" y="20361"/>
                    </a:moveTo>
                    <a:lnTo>
                      <a:pt x="5499" y="26534"/>
                    </a:lnTo>
                    <a:lnTo>
                      <a:pt x="12834" y="19129"/>
                    </a:lnTo>
                    <a:lnTo>
                      <a:pt x="20168" y="26534"/>
                    </a:lnTo>
                    <a:lnTo>
                      <a:pt x="26277" y="20361"/>
                    </a:lnTo>
                    <a:lnTo>
                      <a:pt x="18943" y="12956"/>
                    </a:lnTo>
                    <a:lnTo>
                      <a:pt x="26277" y="5551"/>
                    </a:lnTo>
                    <a:lnTo>
                      <a:pt x="20168" y="0"/>
                    </a:lnTo>
                    <a:lnTo>
                      <a:pt x="12834" y="7405"/>
                    </a:lnTo>
                    <a:lnTo>
                      <a:pt x="5499" y="0"/>
                    </a:lnTo>
                    <a:lnTo>
                      <a:pt x="0" y="5551"/>
                    </a:lnTo>
                    <a:lnTo>
                      <a:pt x="7334" y="12956"/>
                    </a:lnTo>
                    <a:lnTo>
                      <a:pt x="0" y="20361"/>
                    </a:lnTo>
                    <a:close/>
                  </a:path>
                </a:pathLst>
              </a:custGeom>
              <a:solidFill>
                <a:srgbClr val="AE562C"/>
              </a:solidFill>
              <a:ln w="6417" cap="flat">
                <a:noFill/>
                <a:prstDash val="solid"/>
                <a:miter/>
              </a:ln>
            </p:spPr>
            <p:txBody>
              <a:bodyPr rtlCol="0" anchor="ctr"/>
              <a:lstStyle/>
              <a:p>
                <a:endParaRPr lang="en-US"/>
              </a:p>
            </p:txBody>
          </p:sp>
          <p:sp>
            <p:nvSpPr>
              <p:cNvPr id="58" name="Freeform: Shape 80">
                <a:extLst>
                  <a:ext uri="{FF2B5EF4-FFF2-40B4-BE49-F238E27FC236}">
                    <a16:creationId xmlns:a16="http://schemas.microsoft.com/office/drawing/2014/main" id="{1EFBA58D-2CE4-576F-C3D6-E3794D91F86B}"/>
                  </a:ext>
                </a:extLst>
              </p:cNvPr>
              <p:cNvSpPr/>
              <p:nvPr/>
            </p:nvSpPr>
            <p:spPr>
              <a:xfrm>
                <a:off x="3093527" y="3872011"/>
                <a:ext cx="7944" cy="8637"/>
              </a:xfrm>
              <a:custGeom>
                <a:avLst/>
                <a:gdLst>
                  <a:gd name="connsiteX0" fmla="*/ 0 w 7944"/>
                  <a:gd name="connsiteY0" fmla="*/ 8637 h 8637"/>
                  <a:gd name="connsiteX1" fmla="*/ 7944 w 7944"/>
                  <a:gd name="connsiteY1" fmla="*/ 8637 h 8637"/>
                  <a:gd name="connsiteX2" fmla="*/ 7944 w 7944"/>
                  <a:gd name="connsiteY2" fmla="*/ 616 h 8637"/>
                  <a:gd name="connsiteX3" fmla="*/ 7944 w 7944"/>
                  <a:gd name="connsiteY3" fmla="*/ 0 h 8637"/>
                  <a:gd name="connsiteX4" fmla="*/ 0 w 7944"/>
                  <a:gd name="connsiteY4" fmla="*/ 0 h 8637"/>
                  <a:gd name="connsiteX5" fmla="*/ 0 w 7944"/>
                  <a:gd name="connsiteY5" fmla="*/ 8637 h 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44" h="8637">
                    <a:moveTo>
                      <a:pt x="0" y="8637"/>
                    </a:moveTo>
                    <a:lnTo>
                      <a:pt x="7944" y="8637"/>
                    </a:lnTo>
                    <a:lnTo>
                      <a:pt x="7944" y="616"/>
                    </a:lnTo>
                    <a:cubicBezTo>
                      <a:pt x="7944" y="616"/>
                      <a:pt x="7944" y="616"/>
                      <a:pt x="7944" y="0"/>
                    </a:cubicBezTo>
                    <a:lnTo>
                      <a:pt x="0" y="0"/>
                    </a:lnTo>
                    <a:lnTo>
                      <a:pt x="0" y="8637"/>
                    </a:lnTo>
                    <a:close/>
                  </a:path>
                </a:pathLst>
              </a:custGeom>
              <a:solidFill>
                <a:srgbClr val="AE562C"/>
              </a:solidFill>
              <a:ln w="6417" cap="flat">
                <a:noFill/>
                <a:prstDash val="solid"/>
                <a:miter/>
              </a:ln>
            </p:spPr>
            <p:txBody>
              <a:bodyPr rtlCol="0" anchor="ctr"/>
              <a:lstStyle/>
              <a:p>
                <a:endParaRPr lang="en-US"/>
              </a:p>
            </p:txBody>
          </p:sp>
          <p:sp>
            <p:nvSpPr>
              <p:cNvPr id="59" name="Freeform: Shape 81">
                <a:extLst>
                  <a:ext uri="{FF2B5EF4-FFF2-40B4-BE49-F238E27FC236}">
                    <a16:creationId xmlns:a16="http://schemas.microsoft.com/office/drawing/2014/main" id="{CC7CFC77-601E-300C-1AC0-6F2FB9C28044}"/>
                  </a:ext>
                </a:extLst>
              </p:cNvPr>
              <p:cNvSpPr/>
              <p:nvPr/>
            </p:nvSpPr>
            <p:spPr>
              <a:xfrm>
                <a:off x="3061751" y="3853499"/>
                <a:ext cx="26276" cy="26527"/>
              </a:xfrm>
              <a:custGeom>
                <a:avLst/>
                <a:gdLst>
                  <a:gd name="connsiteX0" fmla="*/ 0 w 26276"/>
                  <a:gd name="connsiteY0" fmla="*/ 20977 h 26527"/>
                  <a:gd name="connsiteX1" fmla="*/ 6109 w 26276"/>
                  <a:gd name="connsiteY1" fmla="*/ 26527 h 26527"/>
                  <a:gd name="connsiteX2" fmla="*/ 13443 w 26276"/>
                  <a:gd name="connsiteY2" fmla="*/ 19129 h 26527"/>
                  <a:gd name="connsiteX3" fmla="*/ 20778 w 26276"/>
                  <a:gd name="connsiteY3" fmla="*/ 26527 h 26527"/>
                  <a:gd name="connsiteX4" fmla="*/ 26277 w 26276"/>
                  <a:gd name="connsiteY4" fmla="*/ 20977 h 26527"/>
                  <a:gd name="connsiteX5" fmla="*/ 18942 w 26276"/>
                  <a:gd name="connsiteY5" fmla="*/ 13572 h 26527"/>
                  <a:gd name="connsiteX6" fmla="*/ 26277 w 26276"/>
                  <a:gd name="connsiteY6" fmla="*/ 6167 h 26527"/>
                  <a:gd name="connsiteX7" fmla="*/ 20778 w 26276"/>
                  <a:gd name="connsiteY7" fmla="*/ 0 h 26527"/>
                  <a:gd name="connsiteX8" fmla="*/ 13443 w 26276"/>
                  <a:gd name="connsiteY8" fmla="*/ 7405 h 26527"/>
                  <a:gd name="connsiteX9" fmla="*/ 6109 w 26276"/>
                  <a:gd name="connsiteY9" fmla="*/ 0 h 26527"/>
                  <a:gd name="connsiteX10" fmla="*/ 0 w 26276"/>
                  <a:gd name="connsiteY10" fmla="*/ 6167 h 26527"/>
                  <a:gd name="connsiteX11" fmla="*/ 7334 w 26276"/>
                  <a:gd name="connsiteY11" fmla="*/ 13572 h 26527"/>
                  <a:gd name="connsiteX12" fmla="*/ 0 w 26276"/>
                  <a:gd name="connsiteY12" fmla="*/ 20977 h 26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276" h="26527">
                    <a:moveTo>
                      <a:pt x="0" y="20977"/>
                    </a:moveTo>
                    <a:lnTo>
                      <a:pt x="6109" y="26527"/>
                    </a:lnTo>
                    <a:lnTo>
                      <a:pt x="13443" y="19129"/>
                    </a:lnTo>
                    <a:lnTo>
                      <a:pt x="20778" y="26527"/>
                    </a:lnTo>
                    <a:lnTo>
                      <a:pt x="26277" y="20977"/>
                    </a:lnTo>
                    <a:lnTo>
                      <a:pt x="18942" y="13572"/>
                    </a:lnTo>
                    <a:lnTo>
                      <a:pt x="26277" y="6167"/>
                    </a:lnTo>
                    <a:lnTo>
                      <a:pt x="20778" y="0"/>
                    </a:lnTo>
                    <a:lnTo>
                      <a:pt x="13443" y="7405"/>
                    </a:lnTo>
                    <a:lnTo>
                      <a:pt x="6109" y="0"/>
                    </a:lnTo>
                    <a:lnTo>
                      <a:pt x="0" y="6167"/>
                    </a:lnTo>
                    <a:lnTo>
                      <a:pt x="7334" y="13572"/>
                    </a:lnTo>
                    <a:lnTo>
                      <a:pt x="0" y="20977"/>
                    </a:lnTo>
                    <a:close/>
                  </a:path>
                </a:pathLst>
              </a:custGeom>
              <a:solidFill>
                <a:srgbClr val="AE562C"/>
              </a:solidFill>
              <a:ln w="6417" cap="flat">
                <a:noFill/>
                <a:prstDash val="solid"/>
                <a:miter/>
              </a:ln>
            </p:spPr>
            <p:txBody>
              <a:bodyPr rtlCol="0" anchor="ctr"/>
              <a:lstStyle/>
              <a:p>
                <a:endParaRPr lang="en-US"/>
              </a:p>
            </p:txBody>
          </p:sp>
          <p:sp>
            <p:nvSpPr>
              <p:cNvPr id="60" name="Freeform: Shape 82">
                <a:extLst>
                  <a:ext uri="{FF2B5EF4-FFF2-40B4-BE49-F238E27FC236}">
                    <a16:creationId xmlns:a16="http://schemas.microsoft.com/office/drawing/2014/main" id="{614BA64E-F76F-4C86-FA7D-C518EB2D4ADB}"/>
                  </a:ext>
                </a:extLst>
              </p:cNvPr>
              <p:cNvSpPr/>
              <p:nvPr/>
            </p:nvSpPr>
            <p:spPr>
              <a:xfrm>
                <a:off x="3103916" y="3756630"/>
                <a:ext cx="136280" cy="180165"/>
              </a:xfrm>
              <a:custGeom>
                <a:avLst/>
                <a:gdLst>
                  <a:gd name="connsiteX0" fmla="*/ 0 w 136280"/>
                  <a:gd name="connsiteY0" fmla="*/ 28998 h 180165"/>
                  <a:gd name="connsiteX1" fmla="*/ 0 w 136280"/>
                  <a:gd name="connsiteY1" fmla="*/ 92550 h 180165"/>
                  <a:gd name="connsiteX2" fmla="*/ 8560 w 136280"/>
                  <a:gd name="connsiteY2" fmla="*/ 127098 h 180165"/>
                  <a:gd name="connsiteX3" fmla="*/ 67229 w 136280"/>
                  <a:gd name="connsiteY3" fmla="*/ 179543 h 180165"/>
                  <a:gd name="connsiteX4" fmla="*/ 68449 w 136280"/>
                  <a:gd name="connsiteY4" fmla="*/ 180166 h 180165"/>
                  <a:gd name="connsiteX5" fmla="*/ 69668 w 136280"/>
                  <a:gd name="connsiteY5" fmla="*/ 179543 h 180165"/>
                  <a:gd name="connsiteX6" fmla="*/ 127727 w 136280"/>
                  <a:gd name="connsiteY6" fmla="*/ 127098 h 180165"/>
                  <a:gd name="connsiteX7" fmla="*/ 136281 w 136280"/>
                  <a:gd name="connsiteY7" fmla="*/ 92550 h 180165"/>
                  <a:gd name="connsiteX8" fmla="*/ 136281 w 136280"/>
                  <a:gd name="connsiteY8" fmla="*/ 28998 h 180165"/>
                  <a:gd name="connsiteX9" fmla="*/ 68449 w 136280"/>
                  <a:gd name="connsiteY9" fmla="*/ 0 h 180165"/>
                  <a:gd name="connsiteX10" fmla="*/ 0 w 136280"/>
                  <a:gd name="connsiteY10" fmla="*/ 28998 h 180165"/>
                  <a:gd name="connsiteX11" fmla="*/ 128953 w 136280"/>
                  <a:gd name="connsiteY11" fmla="*/ 92550 h 180165"/>
                  <a:gd name="connsiteX12" fmla="*/ 69058 w 136280"/>
                  <a:gd name="connsiteY12" fmla="*/ 170906 h 180165"/>
                  <a:gd name="connsiteX13" fmla="*/ 16504 w 136280"/>
                  <a:gd name="connsiteY13" fmla="*/ 124018 h 180165"/>
                  <a:gd name="connsiteX14" fmla="*/ 8560 w 136280"/>
                  <a:gd name="connsiteY14" fmla="*/ 92550 h 180165"/>
                  <a:gd name="connsiteX15" fmla="*/ 8560 w 136280"/>
                  <a:gd name="connsiteY15" fmla="*/ 34548 h 180165"/>
                  <a:gd name="connsiteX16" fmla="*/ 69058 w 136280"/>
                  <a:gd name="connsiteY16" fmla="*/ 8637 h 180165"/>
                  <a:gd name="connsiteX17" fmla="*/ 128953 w 136280"/>
                  <a:gd name="connsiteY17" fmla="*/ 34548 h 180165"/>
                  <a:gd name="connsiteX18" fmla="*/ 128953 w 136280"/>
                  <a:gd name="connsiteY18" fmla="*/ 92550 h 180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80" h="180165">
                    <a:moveTo>
                      <a:pt x="0" y="28998"/>
                    </a:moveTo>
                    <a:lnTo>
                      <a:pt x="0" y="92550"/>
                    </a:lnTo>
                    <a:cubicBezTo>
                      <a:pt x="0" y="93166"/>
                      <a:pt x="616" y="108592"/>
                      <a:pt x="8560" y="127098"/>
                    </a:cubicBezTo>
                    <a:cubicBezTo>
                      <a:pt x="16504" y="144379"/>
                      <a:pt x="33002" y="167204"/>
                      <a:pt x="67229" y="179543"/>
                    </a:cubicBezTo>
                    <a:lnTo>
                      <a:pt x="68449" y="180166"/>
                    </a:lnTo>
                    <a:lnTo>
                      <a:pt x="69668" y="179543"/>
                    </a:lnTo>
                    <a:cubicBezTo>
                      <a:pt x="103895" y="167204"/>
                      <a:pt x="120393" y="144379"/>
                      <a:pt x="127727" y="127098"/>
                    </a:cubicBezTo>
                    <a:cubicBezTo>
                      <a:pt x="136281" y="108592"/>
                      <a:pt x="136281" y="93166"/>
                      <a:pt x="136281" y="92550"/>
                    </a:cubicBezTo>
                    <a:lnTo>
                      <a:pt x="136281" y="28998"/>
                    </a:lnTo>
                    <a:lnTo>
                      <a:pt x="68449" y="0"/>
                    </a:lnTo>
                    <a:lnTo>
                      <a:pt x="0" y="28998"/>
                    </a:lnTo>
                    <a:close/>
                    <a:moveTo>
                      <a:pt x="128953" y="92550"/>
                    </a:moveTo>
                    <a:cubicBezTo>
                      <a:pt x="128953" y="93166"/>
                      <a:pt x="127727" y="148697"/>
                      <a:pt x="69058" y="170906"/>
                    </a:cubicBezTo>
                    <a:cubicBezTo>
                      <a:pt x="44616" y="161653"/>
                      <a:pt x="26893" y="145611"/>
                      <a:pt x="16504" y="124018"/>
                    </a:cubicBezTo>
                    <a:cubicBezTo>
                      <a:pt x="8560" y="107354"/>
                      <a:pt x="8560" y="92550"/>
                      <a:pt x="8560" y="92550"/>
                    </a:cubicBezTo>
                    <a:lnTo>
                      <a:pt x="8560" y="34548"/>
                    </a:lnTo>
                    <a:lnTo>
                      <a:pt x="69058" y="8637"/>
                    </a:lnTo>
                    <a:lnTo>
                      <a:pt x="128953" y="34548"/>
                    </a:lnTo>
                    <a:lnTo>
                      <a:pt x="128953" y="92550"/>
                    </a:lnTo>
                    <a:close/>
                  </a:path>
                </a:pathLst>
              </a:custGeom>
              <a:solidFill>
                <a:srgbClr val="AE562C"/>
              </a:solidFill>
              <a:ln w="6417" cap="flat">
                <a:noFill/>
                <a:prstDash val="solid"/>
                <a:miter/>
              </a:ln>
            </p:spPr>
            <p:txBody>
              <a:bodyPr rtlCol="0" anchor="ctr"/>
              <a:lstStyle/>
              <a:p>
                <a:endParaRPr lang="en-US"/>
              </a:p>
            </p:txBody>
          </p:sp>
          <p:sp>
            <p:nvSpPr>
              <p:cNvPr id="61" name="Freeform: Shape 83">
                <a:extLst>
                  <a:ext uri="{FF2B5EF4-FFF2-40B4-BE49-F238E27FC236}">
                    <a16:creationId xmlns:a16="http://schemas.microsoft.com/office/drawing/2014/main" id="{9B90AD74-41AF-B5CC-89DE-7BCABD970F31}"/>
                  </a:ext>
                </a:extLst>
              </p:cNvPr>
              <p:cNvSpPr/>
              <p:nvPr/>
            </p:nvSpPr>
            <p:spPr>
              <a:xfrm>
                <a:off x="3133254" y="3857817"/>
                <a:ext cx="31776" cy="8021"/>
              </a:xfrm>
              <a:custGeom>
                <a:avLst/>
                <a:gdLst>
                  <a:gd name="connsiteX0" fmla="*/ 31776 w 31776"/>
                  <a:gd name="connsiteY0" fmla="*/ 0 h 8021"/>
                  <a:gd name="connsiteX1" fmla="*/ 0 w 31776"/>
                  <a:gd name="connsiteY1" fmla="*/ 0 h 8021"/>
                  <a:gd name="connsiteX2" fmla="*/ 0 w 31776"/>
                  <a:gd name="connsiteY2" fmla="*/ 8021 h 8021"/>
                  <a:gd name="connsiteX3" fmla="*/ 31776 w 31776"/>
                  <a:gd name="connsiteY3" fmla="*/ 8021 h 8021"/>
                  <a:gd name="connsiteX4" fmla="*/ 31776 w 31776"/>
                  <a:gd name="connsiteY4" fmla="*/ 0 h 8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76" h="8021">
                    <a:moveTo>
                      <a:pt x="31776" y="0"/>
                    </a:moveTo>
                    <a:lnTo>
                      <a:pt x="0" y="0"/>
                    </a:lnTo>
                    <a:lnTo>
                      <a:pt x="0" y="8021"/>
                    </a:lnTo>
                    <a:lnTo>
                      <a:pt x="31776" y="8021"/>
                    </a:lnTo>
                    <a:lnTo>
                      <a:pt x="31776" y="0"/>
                    </a:lnTo>
                    <a:close/>
                  </a:path>
                </a:pathLst>
              </a:custGeom>
              <a:solidFill>
                <a:srgbClr val="AE562C"/>
              </a:solidFill>
              <a:ln w="6417" cap="flat">
                <a:noFill/>
                <a:prstDash val="solid"/>
                <a:miter/>
              </a:ln>
            </p:spPr>
            <p:txBody>
              <a:bodyPr rtlCol="0" anchor="ctr"/>
              <a:lstStyle/>
              <a:p>
                <a:endParaRPr lang="en-US"/>
              </a:p>
            </p:txBody>
          </p:sp>
          <p:sp>
            <p:nvSpPr>
              <p:cNvPr id="62" name="Freeform: Shape 84">
                <a:extLst>
                  <a:ext uri="{FF2B5EF4-FFF2-40B4-BE49-F238E27FC236}">
                    <a16:creationId xmlns:a16="http://schemas.microsoft.com/office/drawing/2014/main" id="{4EF30CDC-C11A-7179-5B8D-80FCED76595F}"/>
                  </a:ext>
                </a:extLst>
              </p:cNvPr>
              <p:cNvSpPr/>
              <p:nvPr/>
            </p:nvSpPr>
            <p:spPr>
              <a:xfrm>
                <a:off x="3133254" y="3816480"/>
                <a:ext cx="31776" cy="8021"/>
              </a:xfrm>
              <a:custGeom>
                <a:avLst/>
                <a:gdLst>
                  <a:gd name="connsiteX0" fmla="*/ 31776 w 31776"/>
                  <a:gd name="connsiteY0" fmla="*/ 0 h 8021"/>
                  <a:gd name="connsiteX1" fmla="*/ 0 w 31776"/>
                  <a:gd name="connsiteY1" fmla="*/ 0 h 8021"/>
                  <a:gd name="connsiteX2" fmla="*/ 0 w 31776"/>
                  <a:gd name="connsiteY2" fmla="*/ 8021 h 8021"/>
                  <a:gd name="connsiteX3" fmla="*/ 31776 w 31776"/>
                  <a:gd name="connsiteY3" fmla="*/ 8021 h 8021"/>
                  <a:gd name="connsiteX4" fmla="*/ 31776 w 31776"/>
                  <a:gd name="connsiteY4" fmla="*/ 0 h 8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76" h="8021">
                    <a:moveTo>
                      <a:pt x="31776" y="0"/>
                    </a:moveTo>
                    <a:lnTo>
                      <a:pt x="0" y="0"/>
                    </a:lnTo>
                    <a:lnTo>
                      <a:pt x="0" y="8021"/>
                    </a:lnTo>
                    <a:lnTo>
                      <a:pt x="31776" y="8021"/>
                    </a:lnTo>
                    <a:lnTo>
                      <a:pt x="31776" y="0"/>
                    </a:lnTo>
                    <a:close/>
                  </a:path>
                </a:pathLst>
              </a:custGeom>
              <a:solidFill>
                <a:srgbClr val="AE562C"/>
              </a:solidFill>
              <a:ln w="6417" cap="flat">
                <a:noFill/>
                <a:prstDash val="solid"/>
                <a:miter/>
              </a:ln>
            </p:spPr>
            <p:txBody>
              <a:bodyPr rtlCol="0" anchor="ctr"/>
              <a:lstStyle/>
              <a:p>
                <a:endParaRPr lang="en-US"/>
              </a:p>
            </p:txBody>
          </p:sp>
          <p:sp>
            <p:nvSpPr>
              <p:cNvPr id="63" name="Freeform: Shape 85">
                <a:extLst>
                  <a:ext uri="{FF2B5EF4-FFF2-40B4-BE49-F238E27FC236}">
                    <a16:creationId xmlns:a16="http://schemas.microsoft.com/office/drawing/2014/main" id="{9DA485FC-CF3C-18D8-5B87-299702793C61}"/>
                  </a:ext>
                </a:extLst>
              </p:cNvPr>
              <p:cNvSpPr/>
              <p:nvPr/>
            </p:nvSpPr>
            <p:spPr>
              <a:xfrm>
                <a:off x="3177864" y="3807220"/>
                <a:ext cx="35446" cy="29004"/>
              </a:xfrm>
              <a:custGeom>
                <a:avLst/>
                <a:gdLst>
                  <a:gd name="connsiteX0" fmla="*/ 29947 w 35446"/>
                  <a:gd name="connsiteY0" fmla="*/ 0 h 29004"/>
                  <a:gd name="connsiteX1" fmla="*/ 12224 w 35446"/>
                  <a:gd name="connsiteY1" fmla="*/ 17281 h 29004"/>
                  <a:gd name="connsiteX2" fmla="*/ 6109 w 35446"/>
                  <a:gd name="connsiteY2" fmla="*/ 11108 h 29004"/>
                  <a:gd name="connsiteX3" fmla="*/ 0 w 35446"/>
                  <a:gd name="connsiteY3" fmla="*/ 16665 h 29004"/>
                  <a:gd name="connsiteX4" fmla="*/ 12224 w 35446"/>
                  <a:gd name="connsiteY4" fmla="*/ 29004 h 29004"/>
                  <a:gd name="connsiteX5" fmla="*/ 35447 w 35446"/>
                  <a:gd name="connsiteY5" fmla="*/ 5557 h 29004"/>
                  <a:gd name="connsiteX6" fmla="*/ 29947 w 35446"/>
                  <a:gd name="connsiteY6" fmla="*/ 0 h 29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446" h="29004">
                    <a:moveTo>
                      <a:pt x="29947" y="0"/>
                    </a:moveTo>
                    <a:lnTo>
                      <a:pt x="12224" y="17281"/>
                    </a:lnTo>
                    <a:lnTo>
                      <a:pt x="6109" y="11108"/>
                    </a:lnTo>
                    <a:lnTo>
                      <a:pt x="0" y="16665"/>
                    </a:lnTo>
                    <a:lnTo>
                      <a:pt x="12224" y="29004"/>
                    </a:lnTo>
                    <a:lnTo>
                      <a:pt x="35447" y="5557"/>
                    </a:lnTo>
                    <a:lnTo>
                      <a:pt x="29947" y="0"/>
                    </a:lnTo>
                    <a:close/>
                  </a:path>
                </a:pathLst>
              </a:custGeom>
              <a:solidFill>
                <a:srgbClr val="AE562C"/>
              </a:solidFill>
              <a:ln w="6417" cap="flat">
                <a:noFill/>
                <a:prstDash val="solid"/>
                <a:miter/>
              </a:ln>
            </p:spPr>
            <p:txBody>
              <a:bodyPr rtlCol="0" anchor="ctr"/>
              <a:lstStyle/>
              <a:p>
                <a:endParaRPr lang="en-US"/>
              </a:p>
            </p:txBody>
          </p:sp>
          <p:sp>
            <p:nvSpPr>
              <p:cNvPr id="64" name="Freeform: Shape 86">
                <a:extLst>
                  <a:ext uri="{FF2B5EF4-FFF2-40B4-BE49-F238E27FC236}">
                    <a16:creationId xmlns:a16="http://schemas.microsoft.com/office/drawing/2014/main" id="{887EA3EB-49A9-204A-A2F6-5793C255F941}"/>
                  </a:ext>
                </a:extLst>
              </p:cNvPr>
              <p:cNvSpPr/>
              <p:nvPr/>
            </p:nvSpPr>
            <p:spPr>
              <a:xfrm>
                <a:off x="3133254" y="3836841"/>
                <a:ext cx="31776" cy="8636"/>
              </a:xfrm>
              <a:custGeom>
                <a:avLst/>
                <a:gdLst>
                  <a:gd name="connsiteX0" fmla="*/ 0 w 31776"/>
                  <a:gd name="connsiteY0" fmla="*/ 8637 h 8636"/>
                  <a:gd name="connsiteX1" fmla="*/ 30550 w 31776"/>
                  <a:gd name="connsiteY1" fmla="*/ 8637 h 8636"/>
                  <a:gd name="connsiteX2" fmla="*/ 31776 w 31776"/>
                  <a:gd name="connsiteY2" fmla="*/ 8637 h 8636"/>
                  <a:gd name="connsiteX3" fmla="*/ 31776 w 31776"/>
                  <a:gd name="connsiteY3" fmla="*/ 0 h 8636"/>
                  <a:gd name="connsiteX4" fmla="*/ 0 w 31776"/>
                  <a:gd name="connsiteY4" fmla="*/ 0 h 8636"/>
                  <a:gd name="connsiteX5" fmla="*/ 0 w 31776"/>
                  <a:gd name="connsiteY5" fmla="*/ 8637 h 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76" h="8636">
                    <a:moveTo>
                      <a:pt x="0" y="8637"/>
                    </a:moveTo>
                    <a:lnTo>
                      <a:pt x="30550" y="8637"/>
                    </a:lnTo>
                    <a:lnTo>
                      <a:pt x="31776" y="8637"/>
                    </a:lnTo>
                    <a:lnTo>
                      <a:pt x="31776" y="0"/>
                    </a:lnTo>
                    <a:lnTo>
                      <a:pt x="0" y="0"/>
                    </a:lnTo>
                    <a:lnTo>
                      <a:pt x="0" y="8637"/>
                    </a:lnTo>
                    <a:close/>
                  </a:path>
                </a:pathLst>
              </a:custGeom>
              <a:solidFill>
                <a:srgbClr val="AE562C"/>
              </a:solidFill>
              <a:ln w="6417" cap="flat">
                <a:noFill/>
                <a:prstDash val="solid"/>
                <a:miter/>
              </a:ln>
            </p:spPr>
            <p:txBody>
              <a:bodyPr rtlCol="0" anchor="ctr"/>
              <a:lstStyle/>
              <a:p>
                <a:endParaRPr lang="en-US"/>
              </a:p>
            </p:txBody>
          </p:sp>
        </p:grpSp>
      </p:grpSp>
      <p:sp>
        <p:nvSpPr>
          <p:cNvPr id="67" name="TextBox 89">
            <a:extLst>
              <a:ext uri="{FF2B5EF4-FFF2-40B4-BE49-F238E27FC236}">
                <a16:creationId xmlns:a16="http://schemas.microsoft.com/office/drawing/2014/main" id="{69AFD728-2D3C-8052-3F0C-96A23AB2CD58}"/>
              </a:ext>
            </a:extLst>
          </p:cNvPr>
          <p:cNvSpPr txBox="1"/>
          <p:nvPr/>
        </p:nvSpPr>
        <p:spPr>
          <a:xfrm>
            <a:off x="1984221" y="2467511"/>
            <a:ext cx="914400" cy="914400"/>
          </a:xfrm>
          <a:prstGeom prst="rect">
            <a:avLst/>
          </a:prstGeom>
          <a:noFill/>
        </p:spPr>
        <p:txBody>
          <a:bodyPr wrap="none" lIns="0" tIns="0" rIns="0" bIns="0" rtlCol="0">
            <a:noAutofit/>
          </a:bodyPr>
          <a:lstStyle/>
          <a:p>
            <a:pPr algn="ctr" defTabSz="228600">
              <a:spcAft>
                <a:spcPts val="1200"/>
              </a:spcAft>
            </a:pPr>
            <a:r>
              <a:rPr lang="de-CH" sz="1400" noProof="0" dirty="0" err="1">
                <a:solidFill>
                  <a:schemeClr val="bg1">
                    <a:lumMod val="50000"/>
                  </a:schemeClr>
                </a:solidFill>
              </a:rPr>
              <a:t>Object</a:t>
            </a:r>
            <a:r>
              <a:rPr lang="de-CH" sz="1400" noProof="0" dirty="0">
                <a:solidFill>
                  <a:schemeClr val="bg1">
                    <a:lumMod val="50000"/>
                  </a:schemeClr>
                </a:solidFill>
              </a:rPr>
              <a:t> Storage </a:t>
            </a:r>
            <a:br>
              <a:rPr lang="de-CH" sz="1400" noProof="0" dirty="0">
                <a:solidFill>
                  <a:schemeClr val="bg1">
                    <a:lumMod val="50000"/>
                  </a:schemeClr>
                </a:solidFill>
              </a:rPr>
            </a:br>
            <a:r>
              <a:rPr lang="de-CH" sz="1400" noProof="0" dirty="0" err="1">
                <a:solidFill>
                  <a:schemeClr val="bg1">
                    <a:lumMod val="50000"/>
                  </a:schemeClr>
                </a:solidFill>
              </a:rPr>
              <a:t>Bucket</a:t>
            </a:r>
            <a:endParaRPr lang="de-CH" sz="1400" noProof="0" dirty="0">
              <a:solidFill>
                <a:schemeClr val="bg1">
                  <a:lumMod val="50000"/>
                </a:schemeClr>
              </a:solidFill>
            </a:endParaRPr>
          </a:p>
        </p:txBody>
      </p:sp>
      <p:sp>
        <p:nvSpPr>
          <p:cNvPr id="68" name="TextBox 90">
            <a:extLst>
              <a:ext uri="{FF2B5EF4-FFF2-40B4-BE49-F238E27FC236}">
                <a16:creationId xmlns:a16="http://schemas.microsoft.com/office/drawing/2014/main" id="{3832D5ED-D7A8-FBA4-76AA-5F6DBDD2A440}"/>
              </a:ext>
            </a:extLst>
          </p:cNvPr>
          <p:cNvSpPr txBox="1"/>
          <p:nvPr/>
        </p:nvSpPr>
        <p:spPr>
          <a:xfrm>
            <a:off x="4504363" y="2537985"/>
            <a:ext cx="914400" cy="914400"/>
          </a:xfrm>
          <a:prstGeom prst="rect">
            <a:avLst/>
          </a:prstGeom>
          <a:noFill/>
        </p:spPr>
        <p:txBody>
          <a:bodyPr wrap="none" lIns="0" tIns="0" rIns="0" bIns="0" rtlCol="0">
            <a:noAutofit/>
          </a:bodyPr>
          <a:lstStyle/>
          <a:p>
            <a:pPr algn="ctr" defTabSz="228600">
              <a:spcAft>
                <a:spcPts val="1200"/>
              </a:spcAft>
            </a:pPr>
            <a:r>
              <a:rPr lang="de-CH" sz="1400" noProof="0" dirty="0" err="1">
                <a:solidFill>
                  <a:schemeClr val="bg1">
                    <a:lumMod val="50000"/>
                  </a:schemeClr>
                </a:solidFill>
              </a:rPr>
              <a:t>Visibility</a:t>
            </a:r>
            <a:r>
              <a:rPr lang="de-CH" sz="1400" noProof="0" dirty="0">
                <a:solidFill>
                  <a:schemeClr val="bg1">
                    <a:lumMod val="50000"/>
                  </a:schemeClr>
                </a:solidFill>
              </a:rPr>
              <a:t> Public</a:t>
            </a:r>
          </a:p>
        </p:txBody>
      </p:sp>
      <p:sp>
        <p:nvSpPr>
          <p:cNvPr id="69" name="TextBox 91">
            <a:extLst>
              <a:ext uri="{FF2B5EF4-FFF2-40B4-BE49-F238E27FC236}">
                <a16:creationId xmlns:a16="http://schemas.microsoft.com/office/drawing/2014/main" id="{8A632B41-25C9-1D20-8CD1-E96DEC4C687D}"/>
              </a:ext>
            </a:extLst>
          </p:cNvPr>
          <p:cNvSpPr txBox="1"/>
          <p:nvPr/>
        </p:nvSpPr>
        <p:spPr>
          <a:xfrm>
            <a:off x="9314772" y="2530639"/>
            <a:ext cx="1666399" cy="374343"/>
          </a:xfrm>
          <a:prstGeom prst="rect">
            <a:avLst/>
          </a:prstGeom>
          <a:noFill/>
        </p:spPr>
        <p:txBody>
          <a:bodyPr wrap="none" lIns="0" tIns="0" rIns="0" bIns="0" rtlCol="0">
            <a:noAutofit/>
          </a:bodyPr>
          <a:lstStyle/>
          <a:p>
            <a:pPr defTabSz="228600">
              <a:spcAft>
                <a:spcPts val="1200"/>
              </a:spcAft>
            </a:pPr>
            <a:r>
              <a:rPr lang="de-CH" sz="1400" noProof="0" dirty="0">
                <a:solidFill>
                  <a:schemeClr val="bg1">
                    <a:lumMod val="50000"/>
                  </a:schemeClr>
                </a:solidFill>
              </a:rPr>
              <a:t>Change </a:t>
            </a:r>
            <a:r>
              <a:rPr lang="de-CH" sz="1400" noProof="0" dirty="0" err="1">
                <a:solidFill>
                  <a:schemeClr val="bg1">
                    <a:lumMod val="50000"/>
                  </a:schemeClr>
                </a:solidFill>
              </a:rPr>
              <a:t>Visibility</a:t>
            </a:r>
            <a:endParaRPr lang="de-CH" sz="1400" noProof="0" dirty="0">
              <a:solidFill>
                <a:schemeClr val="bg1">
                  <a:lumMod val="50000"/>
                </a:schemeClr>
              </a:solidFill>
            </a:endParaRPr>
          </a:p>
        </p:txBody>
      </p:sp>
      <p:sp>
        <p:nvSpPr>
          <p:cNvPr id="70" name="TextBox 92">
            <a:extLst>
              <a:ext uri="{FF2B5EF4-FFF2-40B4-BE49-F238E27FC236}">
                <a16:creationId xmlns:a16="http://schemas.microsoft.com/office/drawing/2014/main" id="{FF17FC9D-8051-AFFF-9FA9-3DB06A7929E5}"/>
              </a:ext>
            </a:extLst>
          </p:cNvPr>
          <p:cNvSpPr txBox="1"/>
          <p:nvPr/>
        </p:nvSpPr>
        <p:spPr>
          <a:xfrm>
            <a:off x="1984221" y="3501829"/>
            <a:ext cx="914400" cy="914400"/>
          </a:xfrm>
          <a:prstGeom prst="rect">
            <a:avLst/>
          </a:prstGeom>
          <a:noFill/>
        </p:spPr>
        <p:txBody>
          <a:bodyPr wrap="none" lIns="0" tIns="0" rIns="0" bIns="0" rtlCol="0">
            <a:noAutofit/>
          </a:bodyPr>
          <a:lstStyle/>
          <a:p>
            <a:pPr algn="ctr" defTabSz="228600">
              <a:spcAft>
                <a:spcPts val="1200"/>
              </a:spcAft>
            </a:pPr>
            <a:r>
              <a:rPr lang="de-CH" sz="1400" noProof="0" dirty="0">
                <a:solidFill>
                  <a:schemeClr val="bg1">
                    <a:lumMod val="50000"/>
                  </a:schemeClr>
                </a:solidFill>
              </a:rPr>
              <a:t>Security List</a:t>
            </a:r>
          </a:p>
        </p:txBody>
      </p:sp>
      <p:grpSp>
        <p:nvGrpSpPr>
          <p:cNvPr id="71" name="Graphic 2">
            <a:extLst>
              <a:ext uri="{FF2B5EF4-FFF2-40B4-BE49-F238E27FC236}">
                <a16:creationId xmlns:a16="http://schemas.microsoft.com/office/drawing/2014/main" id="{E0B03CF5-E19E-56AE-5620-E2C50FA453CE}"/>
              </a:ext>
            </a:extLst>
          </p:cNvPr>
          <p:cNvGrpSpPr/>
          <p:nvPr/>
        </p:nvGrpSpPr>
        <p:grpSpPr>
          <a:xfrm>
            <a:off x="3631648" y="3439387"/>
            <a:ext cx="513348" cy="509067"/>
            <a:chOff x="2005263" y="2368071"/>
            <a:chExt cx="513348" cy="509067"/>
          </a:xfrm>
        </p:grpSpPr>
        <p:grpSp>
          <p:nvGrpSpPr>
            <p:cNvPr id="72" name="Graphic 2">
              <a:extLst>
                <a:ext uri="{FF2B5EF4-FFF2-40B4-BE49-F238E27FC236}">
                  <a16:creationId xmlns:a16="http://schemas.microsoft.com/office/drawing/2014/main" id="{BBE2A60B-971F-7364-1CFD-33BD21E83A55}"/>
                </a:ext>
              </a:extLst>
            </p:cNvPr>
            <p:cNvGrpSpPr/>
            <p:nvPr/>
          </p:nvGrpSpPr>
          <p:grpSpPr>
            <a:xfrm>
              <a:off x="2005263" y="2368071"/>
              <a:ext cx="513348" cy="509067"/>
              <a:chOff x="2005263" y="2368071"/>
              <a:chExt cx="513348" cy="509067"/>
            </a:xfrm>
            <a:solidFill>
              <a:srgbClr val="FFFFFF"/>
            </a:solidFill>
          </p:grpSpPr>
          <p:sp>
            <p:nvSpPr>
              <p:cNvPr id="95" name="Freeform: Shape 117">
                <a:extLst>
                  <a:ext uri="{FF2B5EF4-FFF2-40B4-BE49-F238E27FC236}">
                    <a16:creationId xmlns:a16="http://schemas.microsoft.com/office/drawing/2014/main" id="{E632E951-CACC-A311-151F-98B2430FDF21}"/>
                  </a:ext>
                </a:extLst>
              </p:cNvPr>
              <p:cNvSpPr/>
              <p:nvPr/>
            </p:nvSpPr>
            <p:spPr>
              <a:xfrm>
                <a:off x="2011230" y="2374040"/>
                <a:ext cx="500239" cy="492375"/>
              </a:xfrm>
              <a:custGeom>
                <a:avLst/>
                <a:gdLst>
                  <a:gd name="connsiteX0" fmla="*/ 151354 w 500239"/>
                  <a:gd name="connsiteY0" fmla="*/ 487608 h 492375"/>
                  <a:gd name="connsiteX1" fmla="*/ 134670 w 500239"/>
                  <a:gd name="connsiteY1" fmla="*/ 482840 h 492375"/>
                  <a:gd name="connsiteX2" fmla="*/ 115600 w 500239"/>
                  <a:gd name="connsiteY2" fmla="*/ 463763 h 492375"/>
                  <a:gd name="connsiteX3" fmla="*/ 25026 w 500239"/>
                  <a:gd name="connsiteY3" fmla="*/ 463763 h 492375"/>
                  <a:gd name="connsiteX4" fmla="*/ 0 w 500239"/>
                  <a:gd name="connsiteY4" fmla="*/ 438731 h 492375"/>
                  <a:gd name="connsiteX5" fmla="*/ 0 w 500239"/>
                  <a:gd name="connsiteY5" fmla="*/ 25037 h 492375"/>
                  <a:gd name="connsiteX6" fmla="*/ 25026 w 500239"/>
                  <a:gd name="connsiteY6" fmla="*/ 0 h 492375"/>
                  <a:gd name="connsiteX7" fmla="*/ 438566 w 500239"/>
                  <a:gd name="connsiteY7" fmla="*/ 0 h 492375"/>
                  <a:gd name="connsiteX8" fmla="*/ 463591 w 500239"/>
                  <a:gd name="connsiteY8" fmla="*/ 25037 h 492375"/>
                  <a:gd name="connsiteX9" fmla="*/ 463591 w 500239"/>
                  <a:gd name="connsiteY9" fmla="*/ 137103 h 492375"/>
                  <a:gd name="connsiteX10" fmla="*/ 463591 w 500239"/>
                  <a:gd name="connsiteY10" fmla="*/ 338583 h 492375"/>
                  <a:gd name="connsiteX11" fmla="*/ 463591 w 500239"/>
                  <a:gd name="connsiteY11" fmla="*/ 438731 h 492375"/>
                  <a:gd name="connsiteX12" fmla="*/ 438566 w 500239"/>
                  <a:gd name="connsiteY12" fmla="*/ 463763 h 492375"/>
                  <a:gd name="connsiteX13" fmla="*/ 183535 w 500239"/>
                  <a:gd name="connsiteY13" fmla="*/ 463763 h 492375"/>
                  <a:gd name="connsiteX14" fmla="*/ 154928 w 500239"/>
                  <a:gd name="connsiteY14" fmla="*/ 492376 h 492375"/>
                  <a:gd name="connsiteX15" fmla="*/ 151354 w 500239"/>
                  <a:gd name="connsiteY15" fmla="*/ 487608 h 492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9" h="492375">
                    <a:moveTo>
                      <a:pt x="151354" y="487608"/>
                    </a:moveTo>
                    <a:lnTo>
                      <a:pt x="134670" y="482840"/>
                    </a:lnTo>
                    <a:lnTo>
                      <a:pt x="115600" y="463763"/>
                    </a:lnTo>
                    <a:lnTo>
                      <a:pt x="25026" y="463763"/>
                    </a:lnTo>
                    <a:cubicBezTo>
                      <a:pt x="11923" y="463763"/>
                      <a:pt x="0" y="453034"/>
                      <a:pt x="0" y="438731"/>
                    </a:cubicBezTo>
                    <a:lnTo>
                      <a:pt x="0" y="25037"/>
                    </a:lnTo>
                    <a:cubicBezTo>
                      <a:pt x="0" y="11922"/>
                      <a:pt x="10729" y="0"/>
                      <a:pt x="25026" y="0"/>
                    </a:cubicBezTo>
                    <a:lnTo>
                      <a:pt x="438566" y="0"/>
                    </a:lnTo>
                    <a:cubicBezTo>
                      <a:pt x="452869" y="0"/>
                      <a:pt x="463591" y="10730"/>
                      <a:pt x="463591" y="25037"/>
                    </a:cubicBezTo>
                    <a:lnTo>
                      <a:pt x="463591" y="137103"/>
                    </a:lnTo>
                    <a:cubicBezTo>
                      <a:pt x="512455" y="194329"/>
                      <a:pt x="512455" y="280167"/>
                      <a:pt x="463591" y="338583"/>
                    </a:cubicBezTo>
                    <a:lnTo>
                      <a:pt x="463591" y="438731"/>
                    </a:lnTo>
                    <a:cubicBezTo>
                      <a:pt x="463591" y="453034"/>
                      <a:pt x="452869" y="463763"/>
                      <a:pt x="438566" y="463763"/>
                    </a:cubicBezTo>
                    <a:lnTo>
                      <a:pt x="183535" y="463763"/>
                    </a:lnTo>
                    <a:lnTo>
                      <a:pt x="154928" y="492376"/>
                    </a:lnTo>
                    <a:lnTo>
                      <a:pt x="151354" y="487608"/>
                    </a:lnTo>
                    <a:close/>
                  </a:path>
                </a:pathLst>
              </a:custGeom>
              <a:solidFill>
                <a:srgbClr val="FFFFFF"/>
              </a:solidFill>
              <a:ln w="6417" cap="flat">
                <a:noFill/>
                <a:prstDash val="solid"/>
                <a:miter/>
              </a:ln>
            </p:spPr>
            <p:txBody>
              <a:bodyPr rtlCol="0" anchor="ctr"/>
              <a:lstStyle/>
              <a:p>
                <a:endParaRPr lang="en-US" dirty="0"/>
              </a:p>
            </p:txBody>
          </p:sp>
          <p:sp>
            <p:nvSpPr>
              <p:cNvPr id="96" name="Freeform: Shape 118">
                <a:extLst>
                  <a:ext uri="{FF2B5EF4-FFF2-40B4-BE49-F238E27FC236}">
                    <a16:creationId xmlns:a16="http://schemas.microsoft.com/office/drawing/2014/main" id="{166CD9E7-6099-F5A4-22D4-BE267346F08F}"/>
                  </a:ext>
                </a:extLst>
              </p:cNvPr>
              <p:cNvSpPr/>
              <p:nvPr/>
            </p:nvSpPr>
            <p:spPr>
              <a:xfrm>
                <a:off x="2005263" y="2368071"/>
                <a:ext cx="513348" cy="509067"/>
              </a:xfrm>
              <a:custGeom>
                <a:avLst/>
                <a:gdLst>
                  <a:gd name="connsiteX0" fmla="*/ 444527 w 513348"/>
                  <a:gd name="connsiteY0" fmla="*/ 11922 h 509067"/>
                  <a:gd name="connsiteX1" fmla="*/ 463591 w 513348"/>
                  <a:gd name="connsiteY1" fmla="*/ 30997 h 509067"/>
                  <a:gd name="connsiteX2" fmla="*/ 463591 w 513348"/>
                  <a:gd name="connsiteY2" fmla="*/ 145449 h 509067"/>
                  <a:gd name="connsiteX3" fmla="*/ 463591 w 513348"/>
                  <a:gd name="connsiteY3" fmla="*/ 342159 h 509067"/>
                  <a:gd name="connsiteX4" fmla="*/ 463591 w 513348"/>
                  <a:gd name="connsiteY4" fmla="*/ 444694 h 509067"/>
                  <a:gd name="connsiteX5" fmla="*/ 444527 w 513348"/>
                  <a:gd name="connsiteY5" fmla="*/ 463764 h 509067"/>
                  <a:gd name="connsiteX6" fmla="*/ 185915 w 513348"/>
                  <a:gd name="connsiteY6" fmla="*/ 463764 h 509067"/>
                  <a:gd name="connsiteX7" fmla="*/ 160889 w 513348"/>
                  <a:gd name="connsiteY7" fmla="*/ 488803 h 509067"/>
                  <a:gd name="connsiteX8" fmla="*/ 144199 w 513348"/>
                  <a:gd name="connsiteY8" fmla="*/ 482842 h 509067"/>
                  <a:gd name="connsiteX9" fmla="*/ 123941 w 513348"/>
                  <a:gd name="connsiteY9" fmla="*/ 462571 h 509067"/>
                  <a:gd name="connsiteX10" fmla="*/ 30987 w 513348"/>
                  <a:gd name="connsiteY10" fmla="*/ 462571 h 509067"/>
                  <a:gd name="connsiteX11" fmla="*/ 11916 w 513348"/>
                  <a:gd name="connsiteY11" fmla="*/ 443500 h 509067"/>
                  <a:gd name="connsiteX12" fmla="*/ 11916 w 513348"/>
                  <a:gd name="connsiteY12" fmla="*/ 30997 h 509067"/>
                  <a:gd name="connsiteX13" fmla="*/ 30987 w 513348"/>
                  <a:gd name="connsiteY13" fmla="*/ 11922 h 509067"/>
                  <a:gd name="connsiteX14" fmla="*/ 444527 w 513348"/>
                  <a:gd name="connsiteY14" fmla="*/ 11922 h 509067"/>
                  <a:gd name="connsiteX15" fmla="*/ 444527 w 513348"/>
                  <a:gd name="connsiteY15" fmla="*/ 0 h 509067"/>
                  <a:gd name="connsiteX16" fmla="*/ 30987 w 513348"/>
                  <a:gd name="connsiteY16" fmla="*/ 0 h 509067"/>
                  <a:gd name="connsiteX17" fmla="*/ 0 w 513348"/>
                  <a:gd name="connsiteY17" fmla="*/ 30997 h 509067"/>
                  <a:gd name="connsiteX18" fmla="*/ 0 w 513348"/>
                  <a:gd name="connsiteY18" fmla="*/ 444694 h 509067"/>
                  <a:gd name="connsiteX19" fmla="*/ 30987 w 513348"/>
                  <a:gd name="connsiteY19" fmla="*/ 475687 h 509067"/>
                  <a:gd name="connsiteX20" fmla="*/ 119174 w 513348"/>
                  <a:gd name="connsiteY20" fmla="*/ 475687 h 509067"/>
                  <a:gd name="connsiteX21" fmla="*/ 135857 w 513348"/>
                  <a:gd name="connsiteY21" fmla="*/ 492377 h 509067"/>
                  <a:gd name="connsiteX22" fmla="*/ 138244 w 513348"/>
                  <a:gd name="connsiteY22" fmla="*/ 494764 h 509067"/>
                  <a:gd name="connsiteX23" fmla="*/ 140625 w 513348"/>
                  <a:gd name="connsiteY23" fmla="*/ 495958 h 509067"/>
                  <a:gd name="connsiteX24" fmla="*/ 153735 w 513348"/>
                  <a:gd name="connsiteY24" fmla="*/ 500725 h 509067"/>
                  <a:gd name="connsiteX25" fmla="*/ 159696 w 513348"/>
                  <a:gd name="connsiteY25" fmla="*/ 509067 h 509067"/>
                  <a:gd name="connsiteX26" fmla="*/ 170419 w 513348"/>
                  <a:gd name="connsiteY26" fmla="*/ 499532 h 509067"/>
                  <a:gd name="connsiteX27" fmla="*/ 193064 w 513348"/>
                  <a:gd name="connsiteY27" fmla="*/ 478074 h 509067"/>
                  <a:gd name="connsiteX28" fmla="*/ 445714 w 513348"/>
                  <a:gd name="connsiteY28" fmla="*/ 478074 h 509067"/>
                  <a:gd name="connsiteX29" fmla="*/ 476701 w 513348"/>
                  <a:gd name="connsiteY29" fmla="*/ 447074 h 509067"/>
                  <a:gd name="connsiteX30" fmla="*/ 476701 w 513348"/>
                  <a:gd name="connsiteY30" fmla="*/ 345739 h 509067"/>
                  <a:gd name="connsiteX31" fmla="*/ 476701 w 513348"/>
                  <a:gd name="connsiteY31" fmla="*/ 140680 h 509067"/>
                  <a:gd name="connsiteX32" fmla="*/ 476701 w 513348"/>
                  <a:gd name="connsiteY32" fmla="*/ 30997 h 509067"/>
                  <a:gd name="connsiteX33" fmla="*/ 444527 w 513348"/>
                  <a:gd name="connsiteY33" fmla="*/ 0 h 509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13348" h="509067">
                    <a:moveTo>
                      <a:pt x="444527" y="11922"/>
                    </a:moveTo>
                    <a:cubicBezTo>
                      <a:pt x="455249" y="11922"/>
                      <a:pt x="463591" y="20268"/>
                      <a:pt x="463591" y="30997"/>
                    </a:cubicBezTo>
                    <a:lnTo>
                      <a:pt x="463591" y="145449"/>
                    </a:lnTo>
                    <a:cubicBezTo>
                      <a:pt x="512455" y="201482"/>
                      <a:pt x="512455" y="286128"/>
                      <a:pt x="463591" y="342159"/>
                    </a:cubicBezTo>
                    <a:lnTo>
                      <a:pt x="463591" y="444694"/>
                    </a:lnTo>
                    <a:cubicBezTo>
                      <a:pt x="463591" y="455423"/>
                      <a:pt x="455249" y="463764"/>
                      <a:pt x="444527" y="463764"/>
                    </a:cubicBezTo>
                    <a:lnTo>
                      <a:pt x="185915" y="463764"/>
                    </a:lnTo>
                    <a:lnTo>
                      <a:pt x="160889" y="488803"/>
                    </a:lnTo>
                    <a:lnTo>
                      <a:pt x="144199" y="482842"/>
                    </a:lnTo>
                    <a:lnTo>
                      <a:pt x="123941" y="462571"/>
                    </a:lnTo>
                    <a:lnTo>
                      <a:pt x="30987" y="462571"/>
                    </a:lnTo>
                    <a:cubicBezTo>
                      <a:pt x="20258" y="462571"/>
                      <a:pt x="11916" y="454229"/>
                      <a:pt x="11916" y="443500"/>
                    </a:cubicBezTo>
                    <a:lnTo>
                      <a:pt x="11916" y="30997"/>
                    </a:lnTo>
                    <a:cubicBezTo>
                      <a:pt x="11916" y="20268"/>
                      <a:pt x="20258" y="11922"/>
                      <a:pt x="30987" y="11922"/>
                    </a:cubicBezTo>
                    <a:lnTo>
                      <a:pt x="444527" y="11922"/>
                    </a:lnTo>
                    <a:close/>
                    <a:moveTo>
                      <a:pt x="444527" y="0"/>
                    </a:moveTo>
                    <a:lnTo>
                      <a:pt x="30987" y="0"/>
                    </a:lnTo>
                    <a:cubicBezTo>
                      <a:pt x="14303" y="0"/>
                      <a:pt x="0" y="14306"/>
                      <a:pt x="0" y="30997"/>
                    </a:cubicBezTo>
                    <a:lnTo>
                      <a:pt x="0" y="444694"/>
                    </a:lnTo>
                    <a:cubicBezTo>
                      <a:pt x="0" y="461384"/>
                      <a:pt x="14303" y="475687"/>
                      <a:pt x="30987" y="475687"/>
                    </a:cubicBezTo>
                    <a:lnTo>
                      <a:pt x="119174" y="475687"/>
                    </a:lnTo>
                    <a:lnTo>
                      <a:pt x="135857" y="492377"/>
                    </a:lnTo>
                    <a:lnTo>
                      <a:pt x="138244" y="494764"/>
                    </a:lnTo>
                    <a:lnTo>
                      <a:pt x="140625" y="495958"/>
                    </a:lnTo>
                    <a:lnTo>
                      <a:pt x="153735" y="500725"/>
                    </a:lnTo>
                    <a:lnTo>
                      <a:pt x="159696" y="509067"/>
                    </a:lnTo>
                    <a:lnTo>
                      <a:pt x="170419" y="499532"/>
                    </a:lnTo>
                    <a:lnTo>
                      <a:pt x="193064" y="478074"/>
                    </a:lnTo>
                    <a:lnTo>
                      <a:pt x="445714" y="478074"/>
                    </a:lnTo>
                    <a:cubicBezTo>
                      <a:pt x="462398" y="478074"/>
                      <a:pt x="476701" y="463764"/>
                      <a:pt x="476701" y="447074"/>
                    </a:cubicBezTo>
                    <a:lnTo>
                      <a:pt x="476701" y="345739"/>
                    </a:lnTo>
                    <a:cubicBezTo>
                      <a:pt x="525565" y="286128"/>
                      <a:pt x="525565" y="199098"/>
                      <a:pt x="476701" y="140680"/>
                    </a:cubicBezTo>
                    <a:lnTo>
                      <a:pt x="476701" y="30997"/>
                    </a:lnTo>
                    <a:cubicBezTo>
                      <a:pt x="475507" y="14306"/>
                      <a:pt x="461211" y="0"/>
                      <a:pt x="444527" y="0"/>
                    </a:cubicBezTo>
                    <a:close/>
                  </a:path>
                </a:pathLst>
              </a:custGeom>
              <a:solidFill>
                <a:srgbClr val="FFFFFF"/>
              </a:solidFill>
              <a:ln w="6417" cap="flat">
                <a:noFill/>
                <a:prstDash val="solid"/>
                <a:miter/>
              </a:ln>
            </p:spPr>
            <p:txBody>
              <a:bodyPr rtlCol="0" anchor="ctr"/>
              <a:lstStyle/>
              <a:p>
                <a:endParaRPr lang="en-US"/>
              </a:p>
            </p:txBody>
          </p:sp>
        </p:grpSp>
        <p:grpSp>
          <p:nvGrpSpPr>
            <p:cNvPr id="73" name="Graphic 2">
              <a:extLst>
                <a:ext uri="{FF2B5EF4-FFF2-40B4-BE49-F238E27FC236}">
                  <a16:creationId xmlns:a16="http://schemas.microsoft.com/office/drawing/2014/main" id="{432C4D3D-2D67-0F47-C90A-AA240678C2CB}"/>
                </a:ext>
              </a:extLst>
            </p:cNvPr>
            <p:cNvGrpSpPr/>
            <p:nvPr/>
          </p:nvGrpSpPr>
          <p:grpSpPr>
            <a:xfrm>
              <a:off x="2017179" y="2381069"/>
              <a:ext cx="488321" cy="475804"/>
              <a:chOff x="2017179" y="2381069"/>
              <a:chExt cx="488321" cy="475804"/>
            </a:xfrm>
            <a:solidFill>
              <a:srgbClr val="2D5967"/>
            </a:solidFill>
          </p:grpSpPr>
          <p:sp>
            <p:nvSpPr>
              <p:cNvPr id="74" name="Freeform: Shape 96">
                <a:extLst>
                  <a:ext uri="{FF2B5EF4-FFF2-40B4-BE49-F238E27FC236}">
                    <a16:creationId xmlns:a16="http://schemas.microsoft.com/office/drawing/2014/main" id="{7EA0D943-BF47-6DBD-2184-89E6DFDEBE4F}"/>
                  </a:ext>
                </a:extLst>
              </p:cNvPr>
              <p:cNvSpPr/>
              <p:nvPr/>
            </p:nvSpPr>
            <p:spPr>
              <a:xfrm>
                <a:off x="2210223" y="2728126"/>
                <a:ext cx="258611" cy="103721"/>
              </a:xfrm>
              <a:custGeom>
                <a:avLst/>
                <a:gdLst>
                  <a:gd name="connsiteX0" fmla="*/ 241928 w 258611"/>
                  <a:gd name="connsiteY0" fmla="*/ 84651 h 103721"/>
                  <a:gd name="connsiteX1" fmla="*/ 239541 w 258611"/>
                  <a:gd name="connsiteY1" fmla="*/ 87032 h 103721"/>
                  <a:gd name="connsiteX2" fmla="*/ 16684 w 258611"/>
                  <a:gd name="connsiteY2" fmla="*/ 87032 h 103721"/>
                  <a:gd name="connsiteX3" fmla="*/ 13110 w 258611"/>
                  <a:gd name="connsiteY3" fmla="*/ 90612 h 103721"/>
                  <a:gd name="connsiteX4" fmla="*/ 0 w 258611"/>
                  <a:gd name="connsiteY4" fmla="*/ 103722 h 103721"/>
                  <a:gd name="connsiteX5" fmla="*/ 239541 w 258611"/>
                  <a:gd name="connsiteY5" fmla="*/ 103722 h 103721"/>
                  <a:gd name="connsiteX6" fmla="*/ 258612 w 258611"/>
                  <a:gd name="connsiteY6" fmla="*/ 84651 h 103721"/>
                  <a:gd name="connsiteX7" fmla="*/ 258612 w 258611"/>
                  <a:gd name="connsiteY7" fmla="*/ 0 h 103721"/>
                  <a:gd name="connsiteX8" fmla="*/ 241928 w 258611"/>
                  <a:gd name="connsiteY8" fmla="*/ 14310 h 103721"/>
                  <a:gd name="connsiteX9" fmla="*/ 241928 w 258611"/>
                  <a:gd name="connsiteY9" fmla="*/ 84651 h 103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8611" h="103721">
                    <a:moveTo>
                      <a:pt x="241928" y="84651"/>
                    </a:moveTo>
                    <a:cubicBezTo>
                      <a:pt x="241928" y="85838"/>
                      <a:pt x="240734" y="87032"/>
                      <a:pt x="239541" y="87032"/>
                    </a:cubicBezTo>
                    <a:lnTo>
                      <a:pt x="16684" y="87032"/>
                    </a:lnTo>
                    <a:cubicBezTo>
                      <a:pt x="15497" y="88225"/>
                      <a:pt x="14303" y="89419"/>
                      <a:pt x="13110" y="90612"/>
                    </a:cubicBezTo>
                    <a:lnTo>
                      <a:pt x="0" y="103722"/>
                    </a:lnTo>
                    <a:lnTo>
                      <a:pt x="239541" y="103722"/>
                    </a:lnTo>
                    <a:cubicBezTo>
                      <a:pt x="250270" y="103722"/>
                      <a:pt x="258612" y="95380"/>
                      <a:pt x="258612" y="84651"/>
                    </a:cubicBezTo>
                    <a:lnTo>
                      <a:pt x="258612" y="0"/>
                    </a:lnTo>
                    <a:cubicBezTo>
                      <a:pt x="253844" y="4774"/>
                      <a:pt x="247883" y="9542"/>
                      <a:pt x="241928" y="14310"/>
                    </a:cubicBezTo>
                    <a:lnTo>
                      <a:pt x="241928" y="84651"/>
                    </a:lnTo>
                    <a:close/>
                  </a:path>
                </a:pathLst>
              </a:custGeom>
              <a:solidFill>
                <a:srgbClr val="2D5967"/>
              </a:solidFill>
              <a:ln w="6417" cap="flat">
                <a:noFill/>
                <a:prstDash val="solid"/>
                <a:miter/>
              </a:ln>
            </p:spPr>
            <p:txBody>
              <a:bodyPr rtlCol="0" anchor="ctr"/>
              <a:lstStyle/>
              <a:p>
                <a:endParaRPr lang="en-US"/>
              </a:p>
            </p:txBody>
          </p:sp>
          <p:sp>
            <p:nvSpPr>
              <p:cNvPr id="75" name="Freeform: Shape 97">
                <a:extLst>
                  <a:ext uri="{FF2B5EF4-FFF2-40B4-BE49-F238E27FC236}">
                    <a16:creationId xmlns:a16="http://schemas.microsoft.com/office/drawing/2014/main" id="{E05D811E-4A23-B921-A7E6-10466FD887D2}"/>
                  </a:ext>
                </a:extLst>
              </p:cNvPr>
              <p:cNvSpPr/>
              <p:nvPr/>
            </p:nvSpPr>
            <p:spPr>
              <a:xfrm>
                <a:off x="2017179" y="2381069"/>
                <a:ext cx="451668" cy="450765"/>
              </a:xfrm>
              <a:custGeom>
                <a:avLst/>
                <a:gdLst>
                  <a:gd name="connsiteX0" fmla="*/ 88187 w 451668"/>
                  <a:gd name="connsiteY0" fmla="*/ 443611 h 450765"/>
                  <a:gd name="connsiteX1" fmla="*/ 86993 w 451668"/>
                  <a:gd name="connsiteY1" fmla="*/ 441230 h 450765"/>
                  <a:gd name="connsiteX2" fmla="*/ 84613 w 451668"/>
                  <a:gd name="connsiteY2" fmla="*/ 434076 h 450765"/>
                  <a:gd name="connsiteX3" fmla="*/ 19064 w 451668"/>
                  <a:gd name="connsiteY3" fmla="*/ 434076 h 450765"/>
                  <a:gd name="connsiteX4" fmla="*/ 16684 w 451668"/>
                  <a:gd name="connsiteY4" fmla="*/ 431689 h 450765"/>
                  <a:gd name="connsiteX5" fmla="*/ 16684 w 451668"/>
                  <a:gd name="connsiteY5" fmla="*/ 17997 h 450765"/>
                  <a:gd name="connsiteX6" fmla="*/ 19064 w 451668"/>
                  <a:gd name="connsiteY6" fmla="*/ 15612 h 450765"/>
                  <a:gd name="connsiteX7" fmla="*/ 432604 w 451668"/>
                  <a:gd name="connsiteY7" fmla="*/ 15612 h 450765"/>
                  <a:gd name="connsiteX8" fmla="*/ 434985 w 451668"/>
                  <a:gd name="connsiteY8" fmla="*/ 17997 h 450765"/>
                  <a:gd name="connsiteX9" fmla="*/ 434985 w 451668"/>
                  <a:gd name="connsiteY9" fmla="*/ 100258 h 450765"/>
                  <a:gd name="connsiteX10" fmla="*/ 451669 w 451668"/>
                  <a:gd name="connsiteY10" fmla="*/ 114564 h 450765"/>
                  <a:gd name="connsiteX11" fmla="*/ 451669 w 451668"/>
                  <a:gd name="connsiteY11" fmla="*/ 19189 h 450765"/>
                  <a:gd name="connsiteX12" fmla="*/ 432604 w 451668"/>
                  <a:gd name="connsiteY12" fmla="*/ 114 h 450765"/>
                  <a:gd name="connsiteX13" fmla="*/ 19064 w 451668"/>
                  <a:gd name="connsiteY13" fmla="*/ 114 h 450765"/>
                  <a:gd name="connsiteX14" fmla="*/ 0 w 451668"/>
                  <a:gd name="connsiteY14" fmla="*/ 17997 h 450765"/>
                  <a:gd name="connsiteX15" fmla="*/ 0 w 451668"/>
                  <a:gd name="connsiteY15" fmla="*/ 431689 h 450765"/>
                  <a:gd name="connsiteX16" fmla="*/ 19064 w 451668"/>
                  <a:gd name="connsiteY16" fmla="*/ 450766 h 450765"/>
                  <a:gd name="connsiteX17" fmla="*/ 95335 w 451668"/>
                  <a:gd name="connsiteY17" fmla="*/ 450766 h 450765"/>
                  <a:gd name="connsiteX18" fmla="*/ 90567 w 451668"/>
                  <a:gd name="connsiteY18" fmla="*/ 445998 h 450765"/>
                  <a:gd name="connsiteX19" fmla="*/ 88187 w 451668"/>
                  <a:gd name="connsiteY19" fmla="*/ 443611 h 450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1668" h="450765">
                    <a:moveTo>
                      <a:pt x="88187" y="443611"/>
                    </a:moveTo>
                    <a:lnTo>
                      <a:pt x="86993" y="441230"/>
                    </a:lnTo>
                    <a:lnTo>
                      <a:pt x="84613" y="434076"/>
                    </a:lnTo>
                    <a:lnTo>
                      <a:pt x="19064" y="434076"/>
                    </a:lnTo>
                    <a:cubicBezTo>
                      <a:pt x="17871" y="434076"/>
                      <a:pt x="16684" y="432882"/>
                      <a:pt x="16684" y="431689"/>
                    </a:cubicBezTo>
                    <a:lnTo>
                      <a:pt x="16684" y="17997"/>
                    </a:lnTo>
                    <a:cubicBezTo>
                      <a:pt x="16684" y="16804"/>
                      <a:pt x="17871" y="15612"/>
                      <a:pt x="19064" y="15612"/>
                    </a:cubicBezTo>
                    <a:lnTo>
                      <a:pt x="432604" y="15612"/>
                    </a:lnTo>
                    <a:cubicBezTo>
                      <a:pt x="433798" y="15612"/>
                      <a:pt x="434985" y="16804"/>
                      <a:pt x="434985" y="17997"/>
                    </a:cubicBezTo>
                    <a:lnTo>
                      <a:pt x="434985" y="100258"/>
                    </a:lnTo>
                    <a:cubicBezTo>
                      <a:pt x="440946" y="105027"/>
                      <a:pt x="446907" y="109796"/>
                      <a:pt x="451669" y="114564"/>
                    </a:cubicBezTo>
                    <a:lnTo>
                      <a:pt x="451669" y="19189"/>
                    </a:lnTo>
                    <a:cubicBezTo>
                      <a:pt x="451669" y="8459"/>
                      <a:pt x="443327" y="114"/>
                      <a:pt x="432604" y="114"/>
                    </a:cubicBezTo>
                    <a:lnTo>
                      <a:pt x="19064" y="114"/>
                    </a:lnTo>
                    <a:cubicBezTo>
                      <a:pt x="8342" y="-1079"/>
                      <a:pt x="0" y="7266"/>
                      <a:pt x="0" y="17997"/>
                    </a:cubicBezTo>
                    <a:lnTo>
                      <a:pt x="0" y="431689"/>
                    </a:lnTo>
                    <a:cubicBezTo>
                      <a:pt x="0" y="442418"/>
                      <a:pt x="8342" y="450766"/>
                      <a:pt x="19064" y="450766"/>
                    </a:cubicBezTo>
                    <a:lnTo>
                      <a:pt x="95335" y="450766"/>
                    </a:lnTo>
                    <a:lnTo>
                      <a:pt x="90567" y="445998"/>
                    </a:lnTo>
                    <a:lnTo>
                      <a:pt x="88187" y="443611"/>
                    </a:lnTo>
                    <a:close/>
                  </a:path>
                </a:pathLst>
              </a:custGeom>
              <a:solidFill>
                <a:srgbClr val="2D5967"/>
              </a:solidFill>
              <a:ln w="6417" cap="flat">
                <a:noFill/>
                <a:prstDash val="solid"/>
                <a:miter/>
              </a:ln>
            </p:spPr>
            <p:txBody>
              <a:bodyPr rtlCol="0" anchor="ctr"/>
              <a:lstStyle/>
              <a:p>
                <a:endParaRPr lang="en-US"/>
              </a:p>
            </p:txBody>
          </p:sp>
          <p:sp>
            <p:nvSpPr>
              <p:cNvPr id="76" name="Freeform: Shape 98">
                <a:extLst>
                  <a:ext uri="{FF2B5EF4-FFF2-40B4-BE49-F238E27FC236}">
                    <a16:creationId xmlns:a16="http://schemas.microsoft.com/office/drawing/2014/main" id="{538F122D-2629-71A4-2DC4-6EBA7E38995F}"/>
                  </a:ext>
                </a:extLst>
              </p:cNvPr>
              <p:cNvSpPr/>
              <p:nvPr/>
            </p:nvSpPr>
            <p:spPr>
              <a:xfrm>
                <a:off x="2054121" y="2422921"/>
                <a:ext cx="23832" cy="52457"/>
              </a:xfrm>
              <a:custGeom>
                <a:avLst/>
                <a:gdLst>
                  <a:gd name="connsiteX0" fmla="*/ 11916 w 23832"/>
                  <a:gd name="connsiteY0" fmla="*/ 52457 h 52457"/>
                  <a:gd name="connsiteX1" fmla="*/ 23832 w 23832"/>
                  <a:gd name="connsiteY1" fmla="*/ 52457 h 52457"/>
                  <a:gd name="connsiteX2" fmla="*/ 23832 w 23832"/>
                  <a:gd name="connsiteY2" fmla="*/ 0 h 52457"/>
                  <a:gd name="connsiteX3" fmla="*/ 15490 w 23832"/>
                  <a:gd name="connsiteY3" fmla="*/ 0 h 52457"/>
                  <a:gd name="connsiteX4" fmla="*/ 0 w 23832"/>
                  <a:gd name="connsiteY4" fmla="*/ 10730 h 52457"/>
                  <a:gd name="connsiteX5" fmla="*/ 0 w 23832"/>
                  <a:gd name="connsiteY5" fmla="*/ 17883 h 52457"/>
                  <a:gd name="connsiteX6" fmla="*/ 11916 w 23832"/>
                  <a:gd name="connsiteY6" fmla="*/ 13114 h 52457"/>
                  <a:gd name="connsiteX7" fmla="*/ 11916 w 23832"/>
                  <a:gd name="connsiteY7" fmla="*/ 52457 h 52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832" h="52457">
                    <a:moveTo>
                      <a:pt x="11916" y="52457"/>
                    </a:moveTo>
                    <a:lnTo>
                      <a:pt x="23832" y="52457"/>
                    </a:lnTo>
                    <a:lnTo>
                      <a:pt x="23832" y="0"/>
                    </a:lnTo>
                    <a:lnTo>
                      <a:pt x="15490" y="0"/>
                    </a:lnTo>
                    <a:lnTo>
                      <a:pt x="0" y="10730"/>
                    </a:lnTo>
                    <a:lnTo>
                      <a:pt x="0" y="17883"/>
                    </a:lnTo>
                    <a:lnTo>
                      <a:pt x="11916" y="13114"/>
                    </a:lnTo>
                    <a:lnTo>
                      <a:pt x="11916" y="52457"/>
                    </a:lnTo>
                    <a:close/>
                  </a:path>
                </a:pathLst>
              </a:custGeom>
              <a:solidFill>
                <a:srgbClr val="2D5967"/>
              </a:solidFill>
              <a:ln w="6417" cap="flat">
                <a:noFill/>
                <a:prstDash val="solid"/>
                <a:miter/>
              </a:ln>
            </p:spPr>
            <p:txBody>
              <a:bodyPr rtlCol="0" anchor="ctr"/>
              <a:lstStyle/>
              <a:p>
                <a:endParaRPr lang="en-US"/>
              </a:p>
            </p:txBody>
          </p:sp>
          <p:sp>
            <p:nvSpPr>
              <p:cNvPr id="77" name="Freeform: Shape 99">
                <a:extLst>
                  <a:ext uri="{FF2B5EF4-FFF2-40B4-BE49-F238E27FC236}">
                    <a16:creationId xmlns:a16="http://schemas.microsoft.com/office/drawing/2014/main" id="{D32607DA-E6E0-B545-1FC6-1A9A8A657C05}"/>
                  </a:ext>
                </a:extLst>
              </p:cNvPr>
              <p:cNvSpPr/>
              <p:nvPr/>
            </p:nvSpPr>
            <p:spPr>
              <a:xfrm>
                <a:off x="2098211" y="2464645"/>
                <a:ext cx="11916" cy="10725"/>
              </a:xfrm>
              <a:custGeom>
                <a:avLst/>
                <a:gdLst>
                  <a:gd name="connsiteX0" fmla="*/ 11916 w 11916"/>
                  <a:gd name="connsiteY0" fmla="*/ 0 h 10725"/>
                  <a:gd name="connsiteX1" fmla="*/ 0 w 11916"/>
                  <a:gd name="connsiteY1" fmla="*/ 0 h 10725"/>
                  <a:gd name="connsiteX2" fmla="*/ 0 w 11916"/>
                  <a:gd name="connsiteY2" fmla="*/ 10726 h 10725"/>
                  <a:gd name="connsiteX3" fmla="*/ 11916 w 11916"/>
                  <a:gd name="connsiteY3" fmla="*/ 10726 h 10725"/>
                  <a:gd name="connsiteX4" fmla="*/ 11916 w 11916"/>
                  <a:gd name="connsiteY4" fmla="*/ 0 h 10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16" h="10725">
                    <a:moveTo>
                      <a:pt x="11916" y="0"/>
                    </a:moveTo>
                    <a:lnTo>
                      <a:pt x="0" y="0"/>
                    </a:lnTo>
                    <a:lnTo>
                      <a:pt x="0" y="10726"/>
                    </a:lnTo>
                    <a:lnTo>
                      <a:pt x="11916" y="10726"/>
                    </a:lnTo>
                    <a:lnTo>
                      <a:pt x="11916" y="0"/>
                    </a:lnTo>
                    <a:close/>
                  </a:path>
                </a:pathLst>
              </a:custGeom>
              <a:solidFill>
                <a:srgbClr val="2D5967"/>
              </a:solidFill>
              <a:ln w="6417" cap="flat">
                <a:noFill/>
                <a:prstDash val="solid"/>
                <a:miter/>
              </a:ln>
            </p:spPr>
            <p:txBody>
              <a:bodyPr rtlCol="0" anchor="ctr"/>
              <a:lstStyle/>
              <a:p>
                <a:endParaRPr lang="en-US"/>
              </a:p>
            </p:txBody>
          </p:sp>
          <p:sp>
            <p:nvSpPr>
              <p:cNvPr id="78" name="Freeform: Shape 100">
                <a:extLst>
                  <a:ext uri="{FF2B5EF4-FFF2-40B4-BE49-F238E27FC236}">
                    <a16:creationId xmlns:a16="http://schemas.microsoft.com/office/drawing/2014/main" id="{90D67308-7DCB-CDF8-892F-18270A3B4E4D}"/>
                  </a:ext>
                </a:extLst>
              </p:cNvPr>
              <p:cNvSpPr/>
              <p:nvPr/>
            </p:nvSpPr>
            <p:spPr>
              <a:xfrm>
                <a:off x="2098211" y="2436031"/>
                <a:ext cx="11916" cy="10725"/>
              </a:xfrm>
              <a:custGeom>
                <a:avLst/>
                <a:gdLst>
                  <a:gd name="connsiteX0" fmla="*/ 11916 w 11916"/>
                  <a:gd name="connsiteY0" fmla="*/ 0 h 10725"/>
                  <a:gd name="connsiteX1" fmla="*/ 0 w 11916"/>
                  <a:gd name="connsiteY1" fmla="*/ 0 h 10725"/>
                  <a:gd name="connsiteX2" fmla="*/ 0 w 11916"/>
                  <a:gd name="connsiteY2" fmla="*/ 10726 h 10725"/>
                  <a:gd name="connsiteX3" fmla="*/ 11916 w 11916"/>
                  <a:gd name="connsiteY3" fmla="*/ 10726 h 10725"/>
                  <a:gd name="connsiteX4" fmla="*/ 11916 w 11916"/>
                  <a:gd name="connsiteY4" fmla="*/ 0 h 10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16" h="10725">
                    <a:moveTo>
                      <a:pt x="11916" y="0"/>
                    </a:moveTo>
                    <a:lnTo>
                      <a:pt x="0" y="0"/>
                    </a:lnTo>
                    <a:lnTo>
                      <a:pt x="0" y="10726"/>
                    </a:lnTo>
                    <a:lnTo>
                      <a:pt x="11916" y="10726"/>
                    </a:lnTo>
                    <a:lnTo>
                      <a:pt x="11916" y="0"/>
                    </a:lnTo>
                    <a:close/>
                  </a:path>
                </a:pathLst>
              </a:custGeom>
              <a:solidFill>
                <a:srgbClr val="2D5967"/>
              </a:solidFill>
              <a:ln w="6417" cap="flat">
                <a:noFill/>
                <a:prstDash val="solid"/>
                <a:miter/>
              </a:ln>
            </p:spPr>
            <p:txBody>
              <a:bodyPr rtlCol="0" anchor="ctr"/>
              <a:lstStyle/>
              <a:p>
                <a:endParaRPr lang="en-US"/>
              </a:p>
            </p:txBody>
          </p:sp>
          <p:sp>
            <p:nvSpPr>
              <p:cNvPr id="79" name="Freeform: Shape 101">
                <a:extLst>
                  <a:ext uri="{FF2B5EF4-FFF2-40B4-BE49-F238E27FC236}">
                    <a16:creationId xmlns:a16="http://schemas.microsoft.com/office/drawing/2014/main" id="{DB665001-5D2D-DE72-F989-BBFD4A1ADF17}"/>
                  </a:ext>
                </a:extLst>
              </p:cNvPr>
              <p:cNvSpPr/>
              <p:nvPr/>
            </p:nvSpPr>
            <p:spPr>
              <a:xfrm>
                <a:off x="2130378" y="2421725"/>
                <a:ext cx="48857" cy="53648"/>
              </a:xfrm>
              <a:custGeom>
                <a:avLst/>
                <a:gdLst>
                  <a:gd name="connsiteX0" fmla="*/ 11916 w 48857"/>
                  <a:gd name="connsiteY0" fmla="*/ 53649 h 53648"/>
                  <a:gd name="connsiteX1" fmla="*/ 23832 w 48857"/>
                  <a:gd name="connsiteY1" fmla="*/ 33382 h 53648"/>
                  <a:gd name="connsiteX2" fmla="*/ 35748 w 48857"/>
                  <a:gd name="connsiteY2" fmla="*/ 53649 h 53648"/>
                  <a:gd name="connsiteX3" fmla="*/ 48858 w 48857"/>
                  <a:gd name="connsiteY3" fmla="*/ 53649 h 53648"/>
                  <a:gd name="connsiteX4" fmla="*/ 32174 w 48857"/>
                  <a:gd name="connsiteY4" fmla="*/ 26228 h 53648"/>
                  <a:gd name="connsiteX5" fmla="*/ 47671 w 48857"/>
                  <a:gd name="connsiteY5" fmla="*/ 0 h 53648"/>
                  <a:gd name="connsiteX6" fmla="*/ 34561 w 48857"/>
                  <a:gd name="connsiteY6" fmla="*/ 0 h 53648"/>
                  <a:gd name="connsiteX7" fmla="*/ 23832 w 48857"/>
                  <a:gd name="connsiteY7" fmla="*/ 19075 h 53648"/>
                  <a:gd name="connsiteX8" fmla="*/ 13110 w 48857"/>
                  <a:gd name="connsiteY8" fmla="*/ 0 h 53648"/>
                  <a:gd name="connsiteX9" fmla="*/ 0 w 48857"/>
                  <a:gd name="connsiteY9" fmla="*/ 0 h 53648"/>
                  <a:gd name="connsiteX10" fmla="*/ 15490 w 48857"/>
                  <a:gd name="connsiteY10" fmla="*/ 26228 h 53648"/>
                  <a:gd name="connsiteX11" fmla="*/ 0 w 48857"/>
                  <a:gd name="connsiteY11" fmla="*/ 53649 h 53648"/>
                  <a:gd name="connsiteX12" fmla="*/ 11916 w 48857"/>
                  <a:gd name="connsiteY12" fmla="*/ 53649 h 5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857" h="53648">
                    <a:moveTo>
                      <a:pt x="11916" y="53649"/>
                    </a:moveTo>
                    <a:lnTo>
                      <a:pt x="23832" y="33382"/>
                    </a:lnTo>
                    <a:lnTo>
                      <a:pt x="35748" y="53649"/>
                    </a:lnTo>
                    <a:lnTo>
                      <a:pt x="48858" y="53649"/>
                    </a:lnTo>
                    <a:lnTo>
                      <a:pt x="32174" y="26228"/>
                    </a:lnTo>
                    <a:lnTo>
                      <a:pt x="47671" y="0"/>
                    </a:lnTo>
                    <a:lnTo>
                      <a:pt x="34561" y="0"/>
                    </a:lnTo>
                    <a:lnTo>
                      <a:pt x="23832" y="19075"/>
                    </a:lnTo>
                    <a:lnTo>
                      <a:pt x="13110" y="0"/>
                    </a:lnTo>
                    <a:lnTo>
                      <a:pt x="0" y="0"/>
                    </a:lnTo>
                    <a:lnTo>
                      <a:pt x="15490" y="26228"/>
                    </a:lnTo>
                    <a:lnTo>
                      <a:pt x="0" y="53649"/>
                    </a:lnTo>
                    <a:lnTo>
                      <a:pt x="11916" y="53649"/>
                    </a:lnTo>
                    <a:close/>
                  </a:path>
                </a:pathLst>
              </a:custGeom>
              <a:solidFill>
                <a:srgbClr val="2D5967"/>
              </a:solidFill>
              <a:ln w="6417" cap="flat">
                <a:noFill/>
                <a:prstDash val="solid"/>
                <a:miter/>
              </a:ln>
            </p:spPr>
            <p:txBody>
              <a:bodyPr rtlCol="0" anchor="ctr"/>
              <a:lstStyle/>
              <a:p>
                <a:endParaRPr lang="en-US"/>
              </a:p>
            </p:txBody>
          </p:sp>
          <p:sp>
            <p:nvSpPr>
              <p:cNvPr id="80" name="Freeform: Shape 102">
                <a:extLst>
                  <a:ext uri="{FF2B5EF4-FFF2-40B4-BE49-F238E27FC236}">
                    <a16:creationId xmlns:a16="http://schemas.microsoft.com/office/drawing/2014/main" id="{FB722E2F-89C6-A6D9-B837-57CD03B7B058}"/>
                  </a:ext>
                </a:extLst>
              </p:cNvPr>
              <p:cNvSpPr/>
              <p:nvPr/>
            </p:nvSpPr>
            <p:spPr>
              <a:xfrm>
                <a:off x="2192352" y="2420512"/>
                <a:ext cx="47670" cy="54840"/>
              </a:xfrm>
              <a:custGeom>
                <a:avLst/>
                <a:gdLst>
                  <a:gd name="connsiteX0" fmla="*/ 25026 w 47670"/>
                  <a:gd name="connsiteY0" fmla="*/ 0 h 54840"/>
                  <a:gd name="connsiteX1" fmla="*/ 7148 w 47670"/>
                  <a:gd name="connsiteY1" fmla="*/ 7154 h 54840"/>
                  <a:gd name="connsiteX2" fmla="*/ 0 w 47670"/>
                  <a:gd name="connsiteY2" fmla="*/ 27420 h 54840"/>
                  <a:gd name="connsiteX3" fmla="*/ 5961 w 47670"/>
                  <a:gd name="connsiteY3" fmla="*/ 47688 h 54840"/>
                  <a:gd name="connsiteX4" fmla="*/ 23832 w 47670"/>
                  <a:gd name="connsiteY4" fmla="*/ 54841 h 54840"/>
                  <a:gd name="connsiteX5" fmla="*/ 41709 w 47670"/>
                  <a:gd name="connsiteY5" fmla="*/ 47688 h 54840"/>
                  <a:gd name="connsiteX6" fmla="*/ 47671 w 47670"/>
                  <a:gd name="connsiteY6" fmla="*/ 27420 h 54840"/>
                  <a:gd name="connsiteX7" fmla="*/ 41709 w 47670"/>
                  <a:gd name="connsiteY7" fmla="*/ 7154 h 54840"/>
                  <a:gd name="connsiteX8" fmla="*/ 25026 w 47670"/>
                  <a:gd name="connsiteY8" fmla="*/ 0 h 54840"/>
                  <a:gd name="connsiteX9" fmla="*/ 35755 w 47670"/>
                  <a:gd name="connsiteY9" fmla="*/ 41727 h 54840"/>
                  <a:gd name="connsiteX10" fmla="*/ 26219 w 47670"/>
                  <a:gd name="connsiteY10" fmla="*/ 46496 h 54840"/>
                  <a:gd name="connsiteX11" fmla="*/ 15490 w 47670"/>
                  <a:gd name="connsiteY11" fmla="*/ 41727 h 54840"/>
                  <a:gd name="connsiteX12" fmla="*/ 11916 w 47670"/>
                  <a:gd name="connsiteY12" fmla="*/ 28613 h 54840"/>
                  <a:gd name="connsiteX13" fmla="*/ 15490 w 47670"/>
                  <a:gd name="connsiteY13" fmla="*/ 15499 h 54840"/>
                  <a:gd name="connsiteX14" fmla="*/ 25026 w 47670"/>
                  <a:gd name="connsiteY14" fmla="*/ 10730 h 54840"/>
                  <a:gd name="connsiteX15" fmla="*/ 34561 w 47670"/>
                  <a:gd name="connsiteY15" fmla="*/ 15499 h 54840"/>
                  <a:gd name="connsiteX16" fmla="*/ 38135 w 47670"/>
                  <a:gd name="connsiteY16" fmla="*/ 28613 h 54840"/>
                  <a:gd name="connsiteX17" fmla="*/ 35755 w 47670"/>
                  <a:gd name="connsiteY17" fmla="*/ 41727 h 54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670" h="54840">
                    <a:moveTo>
                      <a:pt x="25026" y="0"/>
                    </a:moveTo>
                    <a:cubicBezTo>
                      <a:pt x="16684" y="0"/>
                      <a:pt x="10722" y="2385"/>
                      <a:pt x="7148" y="7154"/>
                    </a:cubicBezTo>
                    <a:cubicBezTo>
                      <a:pt x="2381" y="11922"/>
                      <a:pt x="0" y="19075"/>
                      <a:pt x="0" y="27420"/>
                    </a:cubicBezTo>
                    <a:cubicBezTo>
                      <a:pt x="0" y="35766"/>
                      <a:pt x="2381" y="42919"/>
                      <a:pt x="5961" y="47688"/>
                    </a:cubicBezTo>
                    <a:cubicBezTo>
                      <a:pt x="10722" y="52457"/>
                      <a:pt x="16684" y="54841"/>
                      <a:pt x="23832" y="54841"/>
                    </a:cubicBezTo>
                    <a:cubicBezTo>
                      <a:pt x="32174" y="54841"/>
                      <a:pt x="38135" y="52457"/>
                      <a:pt x="41709" y="47688"/>
                    </a:cubicBezTo>
                    <a:cubicBezTo>
                      <a:pt x="46477" y="42919"/>
                      <a:pt x="47671" y="35766"/>
                      <a:pt x="47671" y="27420"/>
                    </a:cubicBezTo>
                    <a:cubicBezTo>
                      <a:pt x="47671" y="19075"/>
                      <a:pt x="45284" y="11922"/>
                      <a:pt x="41709" y="7154"/>
                    </a:cubicBezTo>
                    <a:cubicBezTo>
                      <a:pt x="39329" y="2385"/>
                      <a:pt x="33367" y="0"/>
                      <a:pt x="25026" y="0"/>
                    </a:cubicBezTo>
                    <a:close/>
                    <a:moveTo>
                      <a:pt x="35755" y="41727"/>
                    </a:moveTo>
                    <a:cubicBezTo>
                      <a:pt x="33367" y="45304"/>
                      <a:pt x="29793" y="46496"/>
                      <a:pt x="26219" y="46496"/>
                    </a:cubicBezTo>
                    <a:cubicBezTo>
                      <a:pt x="22645" y="46496"/>
                      <a:pt x="17877" y="44111"/>
                      <a:pt x="15490" y="41727"/>
                    </a:cubicBezTo>
                    <a:cubicBezTo>
                      <a:pt x="13110" y="39342"/>
                      <a:pt x="11916" y="34574"/>
                      <a:pt x="11916" y="28613"/>
                    </a:cubicBezTo>
                    <a:cubicBezTo>
                      <a:pt x="11916" y="22652"/>
                      <a:pt x="13110" y="17883"/>
                      <a:pt x="15490" y="15499"/>
                    </a:cubicBezTo>
                    <a:cubicBezTo>
                      <a:pt x="17877" y="11922"/>
                      <a:pt x="21451" y="10730"/>
                      <a:pt x="25026" y="10730"/>
                    </a:cubicBezTo>
                    <a:cubicBezTo>
                      <a:pt x="28600" y="10730"/>
                      <a:pt x="32174" y="11922"/>
                      <a:pt x="34561" y="15499"/>
                    </a:cubicBezTo>
                    <a:cubicBezTo>
                      <a:pt x="36942" y="19075"/>
                      <a:pt x="38135" y="22652"/>
                      <a:pt x="38135" y="28613"/>
                    </a:cubicBezTo>
                    <a:cubicBezTo>
                      <a:pt x="38135" y="33382"/>
                      <a:pt x="36942" y="38151"/>
                      <a:pt x="35755" y="41727"/>
                    </a:cubicBezTo>
                    <a:close/>
                  </a:path>
                </a:pathLst>
              </a:custGeom>
              <a:solidFill>
                <a:srgbClr val="2D5967"/>
              </a:solidFill>
              <a:ln w="6417" cap="flat">
                <a:noFill/>
                <a:prstDash val="solid"/>
                <a:miter/>
              </a:ln>
            </p:spPr>
            <p:txBody>
              <a:bodyPr rtlCol="0" anchor="ctr"/>
              <a:lstStyle/>
              <a:p>
                <a:endParaRPr lang="en-US"/>
              </a:p>
            </p:txBody>
          </p:sp>
          <p:sp>
            <p:nvSpPr>
              <p:cNvPr id="81" name="Freeform: Shape 103">
                <a:extLst>
                  <a:ext uri="{FF2B5EF4-FFF2-40B4-BE49-F238E27FC236}">
                    <a16:creationId xmlns:a16="http://schemas.microsoft.com/office/drawing/2014/main" id="{7AEF0F01-A544-9951-1168-4D0D94E39210}"/>
                  </a:ext>
                </a:extLst>
              </p:cNvPr>
              <p:cNvSpPr/>
              <p:nvPr/>
            </p:nvSpPr>
            <p:spPr>
              <a:xfrm>
                <a:off x="2256720" y="2421725"/>
                <a:ext cx="47670" cy="53648"/>
              </a:xfrm>
              <a:custGeom>
                <a:avLst/>
                <a:gdLst>
                  <a:gd name="connsiteX0" fmla="*/ 47671 w 47670"/>
                  <a:gd name="connsiteY0" fmla="*/ 0 h 53648"/>
                  <a:gd name="connsiteX1" fmla="*/ 34561 w 47670"/>
                  <a:gd name="connsiteY1" fmla="*/ 0 h 53648"/>
                  <a:gd name="connsiteX2" fmla="*/ 23839 w 47670"/>
                  <a:gd name="connsiteY2" fmla="*/ 17883 h 53648"/>
                  <a:gd name="connsiteX3" fmla="*/ 13110 w 47670"/>
                  <a:gd name="connsiteY3" fmla="*/ 0 h 53648"/>
                  <a:gd name="connsiteX4" fmla="*/ 0 w 47670"/>
                  <a:gd name="connsiteY4" fmla="*/ 0 h 53648"/>
                  <a:gd name="connsiteX5" fmla="*/ 15497 w 47670"/>
                  <a:gd name="connsiteY5" fmla="*/ 26228 h 53648"/>
                  <a:gd name="connsiteX6" fmla="*/ 0 w 47670"/>
                  <a:gd name="connsiteY6" fmla="*/ 53649 h 53648"/>
                  <a:gd name="connsiteX7" fmla="*/ 11923 w 47670"/>
                  <a:gd name="connsiteY7" fmla="*/ 53649 h 53648"/>
                  <a:gd name="connsiteX8" fmla="*/ 13110 w 47670"/>
                  <a:gd name="connsiteY8" fmla="*/ 52456 h 53648"/>
                  <a:gd name="connsiteX9" fmla="*/ 23839 w 47670"/>
                  <a:gd name="connsiteY9" fmla="*/ 33382 h 53648"/>
                  <a:gd name="connsiteX10" fmla="*/ 29793 w 47670"/>
                  <a:gd name="connsiteY10" fmla="*/ 42919 h 53648"/>
                  <a:gd name="connsiteX11" fmla="*/ 40522 w 47670"/>
                  <a:gd name="connsiteY11" fmla="*/ 38150 h 53648"/>
                  <a:gd name="connsiteX12" fmla="*/ 33374 w 47670"/>
                  <a:gd name="connsiteY12" fmla="*/ 25036 h 53648"/>
                  <a:gd name="connsiteX13" fmla="*/ 47671 w 47670"/>
                  <a:gd name="connsiteY13" fmla="*/ 0 h 5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670" h="53648">
                    <a:moveTo>
                      <a:pt x="47671" y="0"/>
                    </a:moveTo>
                    <a:lnTo>
                      <a:pt x="34561" y="0"/>
                    </a:lnTo>
                    <a:lnTo>
                      <a:pt x="23839" y="17883"/>
                    </a:lnTo>
                    <a:lnTo>
                      <a:pt x="13110" y="0"/>
                    </a:lnTo>
                    <a:lnTo>
                      <a:pt x="0" y="0"/>
                    </a:lnTo>
                    <a:lnTo>
                      <a:pt x="15497" y="26228"/>
                    </a:lnTo>
                    <a:lnTo>
                      <a:pt x="0" y="53649"/>
                    </a:lnTo>
                    <a:lnTo>
                      <a:pt x="11923" y="53649"/>
                    </a:lnTo>
                    <a:cubicBezTo>
                      <a:pt x="11923" y="53649"/>
                      <a:pt x="13110" y="53649"/>
                      <a:pt x="13110" y="52456"/>
                    </a:cubicBezTo>
                    <a:lnTo>
                      <a:pt x="23839" y="33382"/>
                    </a:lnTo>
                    <a:lnTo>
                      <a:pt x="29793" y="42919"/>
                    </a:lnTo>
                    <a:cubicBezTo>
                      <a:pt x="33374" y="41727"/>
                      <a:pt x="36948" y="39342"/>
                      <a:pt x="40522" y="38150"/>
                    </a:cubicBezTo>
                    <a:lnTo>
                      <a:pt x="33374" y="25036"/>
                    </a:lnTo>
                    <a:lnTo>
                      <a:pt x="47671" y="0"/>
                    </a:lnTo>
                    <a:close/>
                  </a:path>
                </a:pathLst>
              </a:custGeom>
              <a:solidFill>
                <a:srgbClr val="2D5967"/>
              </a:solidFill>
              <a:ln w="6417" cap="flat">
                <a:noFill/>
                <a:prstDash val="solid"/>
                <a:miter/>
              </a:ln>
            </p:spPr>
            <p:txBody>
              <a:bodyPr rtlCol="0" anchor="ctr"/>
              <a:lstStyle/>
              <a:p>
                <a:endParaRPr lang="en-US"/>
              </a:p>
            </p:txBody>
          </p:sp>
          <p:sp>
            <p:nvSpPr>
              <p:cNvPr id="82" name="Freeform: Shape 104">
                <a:extLst>
                  <a:ext uri="{FF2B5EF4-FFF2-40B4-BE49-F238E27FC236}">
                    <a16:creationId xmlns:a16="http://schemas.microsoft.com/office/drawing/2014/main" id="{225AD25D-6313-32DF-61B2-8E2841386D51}"/>
                  </a:ext>
                </a:extLst>
              </p:cNvPr>
              <p:cNvSpPr/>
              <p:nvPr/>
            </p:nvSpPr>
            <p:spPr>
              <a:xfrm>
                <a:off x="2321061" y="2420512"/>
                <a:ext cx="48864" cy="32177"/>
              </a:xfrm>
              <a:custGeom>
                <a:avLst/>
                <a:gdLst>
                  <a:gd name="connsiteX0" fmla="*/ 41716 w 48864"/>
                  <a:gd name="connsiteY0" fmla="*/ 7150 h 32177"/>
                  <a:gd name="connsiteX1" fmla="*/ 23839 w 48864"/>
                  <a:gd name="connsiteY1" fmla="*/ 0 h 32177"/>
                  <a:gd name="connsiteX2" fmla="*/ 5961 w 48864"/>
                  <a:gd name="connsiteY2" fmla="*/ 7150 h 32177"/>
                  <a:gd name="connsiteX3" fmla="*/ 0 w 48864"/>
                  <a:gd name="connsiteY3" fmla="*/ 27410 h 32177"/>
                  <a:gd name="connsiteX4" fmla="*/ 0 w 48864"/>
                  <a:gd name="connsiteY4" fmla="*/ 32177 h 32177"/>
                  <a:gd name="connsiteX5" fmla="*/ 10729 w 48864"/>
                  <a:gd name="connsiteY5" fmla="*/ 30986 h 32177"/>
                  <a:gd name="connsiteX6" fmla="*/ 10729 w 48864"/>
                  <a:gd name="connsiteY6" fmla="*/ 28602 h 32177"/>
                  <a:gd name="connsiteX7" fmla="*/ 14303 w 48864"/>
                  <a:gd name="connsiteY7" fmla="*/ 15493 h 32177"/>
                  <a:gd name="connsiteX8" fmla="*/ 23839 w 48864"/>
                  <a:gd name="connsiteY8" fmla="*/ 10726 h 32177"/>
                  <a:gd name="connsiteX9" fmla="*/ 33374 w 48864"/>
                  <a:gd name="connsiteY9" fmla="*/ 15493 h 32177"/>
                  <a:gd name="connsiteX10" fmla="*/ 36948 w 48864"/>
                  <a:gd name="connsiteY10" fmla="*/ 28602 h 32177"/>
                  <a:gd name="connsiteX11" fmla="*/ 36948 w 48864"/>
                  <a:gd name="connsiteY11" fmla="*/ 29794 h 32177"/>
                  <a:gd name="connsiteX12" fmla="*/ 48864 w 48864"/>
                  <a:gd name="connsiteY12" fmla="*/ 29794 h 32177"/>
                  <a:gd name="connsiteX13" fmla="*/ 48864 w 48864"/>
                  <a:gd name="connsiteY13" fmla="*/ 28602 h 32177"/>
                  <a:gd name="connsiteX14" fmla="*/ 41716 w 48864"/>
                  <a:gd name="connsiteY14" fmla="*/ 7150 h 32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864" h="32177">
                    <a:moveTo>
                      <a:pt x="41716" y="7150"/>
                    </a:moveTo>
                    <a:cubicBezTo>
                      <a:pt x="36948" y="2383"/>
                      <a:pt x="30987" y="0"/>
                      <a:pt x="23839" y="0"/>
                    </a:cubicBezTo>
                    <a:cubicBezTo>
                      <a:pt x="15497" y="0"/>
                      <a:pt x="9536" y="2383"/>
                      <a:pt x="5961" y="7150"/>
                    </a:cubicBezTo>
                    <a:cubicBezTo>
                      <a:pt x="1194" y="11917"/>
                      <a:pt x="0" y="19068"/>
                      <a:pt x="0" y="27410"/>
                    </a:cubicBezTo>
                    <a:cubicBezTo>
                      <a:pt x="0" y="29794"/>
                      <a:pt x="0" y="30986"/>
                      <a:pt x="0" y="32177"/>
                    </a:cubicBezTo>
                    <a:cubicBezTo>
                      <a:pt x="2387" y="32177"/>
                      <a:pt x="5961" y="30986"/>
                      <a:pt x="10729" y="30986"/>
                    </a:cubicBezTo>
                    <a:cubicBezTo>
                      <a:pt x="10729" y="29794"/>
                      <a:pt x="10729" y="28602"/>
                      <a:pt x="10729" y="28602"/>
                    </a:cubicBezTo>
                    <a:cubicBezTo>
                      <a:pt x="10729" y="22643"/>
                      <a:pt x="11923" y="17876"/>
                      <a:pt x="14303" y="15493"/>
                    </a:cubicBezTo>
                    <a:cubicBezTo>
                      <a:pt x="16684" y="11917"/>
                      <a:pt x="20265" y="10726"/>
                      <a:pt x="23839" y="10726"/>
                    </a:cubicBezTo>
                    <a:cubicBezTo>
                      <a:pt x="27413" y="10726"/>
                      <a:pt x="30987" y="11917"/>
                      <a:pt x="33374" y="15493"/>
                    </a:cubicBezTo>
                    <a:cubicBezTo>
                      <a:pt x="35755" y="19068"/>
                      <a:pt x="36948" y="22643"/>
                      <a:pt x="36948" y="28602"/>
                    </a:cubicBezTo>
                    <a:lnTo>
                      <a:pt x="36948" y="29794"/>
                    </a:lnTo>
                    <a:cubicBezTo>
                      <a:pt x="40522" y="29794"/>
                      <a:pt x="45290" y="29794"/>
                      <a:pt x="48864" y="29794"/>
                    </a:cubicBezTo>
                    <a:lnTo>
                      <a:pt x="48864" y="28602"/>
                    </a:lnTo>
                    <a:cubicBezTo>
                      <a:pt x="47671" y="19068"/>
                      <a:pt x="46477" y="11917"/>
                      <a:pt x="41716" y="7150"/>
                    </a:cubicBezTo>
                    <a:close/>
                  </a:path>
                </a:pathLst>
              </a:custGeom>
              <a:solidFill>
                <a:srgbClr val="2D5967"/>
              </a:solidFill>
              <a:ln w="6417" cap="flat">
                <a:noFill/>
                <a:prstDash val="solid"/>
                <a:miter/>
              </a:ln>
            </p:spPr>
            <p:txBody>
              <a:bodyPr rtlCol="0" anchor="ctr"/>
              <a:lstStyle/>
              <a:p>
                <a:endParaRPr lang="en-US"/>
              </a:p>
            </p:txBody>
          </p:sp>
          <p:sp>
            <p:nvSpPr>
              <p:cNvPr id="83" name="Freeform: Shape 105">
                <a:extLst>
                  <a:ext uri="{FF2B5EF4-FFF2-40B4-BE49-F238E27FC236}">
                    <a16:creationId xmlns:a16="http://schemas.microsoft.com/office/drawing/2014/main" id="{42E4A773-36CB-E6F4-5FC3-88DF88B6AD68}"/>
                  </a:ext>
                </a:extLst>
              </p:cNvPr>
              <p:cNvSpPr/>
              <p:nvPr/>
            </p:nvSpPr>
            <p:spPr>
              <a:xfrm>
                <a:off x="2384235" y="2421725"/>
                <a:ext cx="47670" cy="44111"/>
              </a:xfrm>
              <a:custGeom>
                <a:avLst/>
                <a:gdLst>
                  <a:gd name="connsiteX0" fmla="*/ 47671 w 47670"/>
                  <a:gd name="connsiteY0" fmla="*/ 0 h 44111"/>
                  <a:gd name="connsiteX1" fmla="*/ 34561 w 47670"/>
                  <a:gd name="connsiteY1" fmla="*/ 0 h 44111"/>
                  <a:gd name="connsiteX2" fmla="*/ 23839 w 47670"/>
                  <a:gd name="connsiteY2" fmla="*/ 17883 h 44111"/>
                  <a:gd name="connsiteX3" fmla="*/ 13110 w 47670"/>
                  <a:gd name="connsiteY3" fmla="*/ 0 h 44111"/>
                  <a:gd name="connsiteX4" fmla="*/ 0 w 47670"/>
                  <a:gd name="connsiteY4" fmla="*/ 0 h 44111"/>
                  <a:gd name="connsiteX5" fmla="*/ 15497 w 47670"/>
                  <a:gd name="connsiteY5" fmla="*/ 26228 h 44111"/>
                  <a:gd name="connsiteX6" fmla="*/ 11916 w 47670"/>
                  <a:gd name="connsiteY6" fmla="*/ 33382 h 44111"/>
                  <a:gd name="connsiteX7" fmla="*/ 22645 w 47670"/>
                  <a:gd name="connsiteY7" fmla="*/ 35766 h 44111"/>
                  <a:gd name="connsiteX8" fmla="*/ 23839 w 47670"/>
                  <a:gd name="connsiteY8" fmla="*/ 33382 h 44111"/>
                  <a:gd name="connsiteX9" fmla="*/ 26219 w 47670"/>
                  <a:gd name="connsiteY9" fmla="*/ 36958 h 44111"/>
                  <a:gd name="connsiteX10" fmla="*/ 42903 w 47670"/>
                  <a:gd name="connsiteY10" fmla="*/ 44111 h 44111"/>
                  <a:gd name="connsiteX11" fmla="*/ 32181 w 47670"/>
                  <a:gd name="connsiteY11" fmla="*/ 26228 h 44111"/>
                  <a:gd name="connsiteX12" fmla="*/ 47671 w 47670"/>
                  <a:gd name="connsiteY12" fmla="*/ 0 h 44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670" h="44111">
                    <a:moveTo>
                      <a:pt x="47671" y="0"/>
                    </a:moveTo>
                    <a:lnTo>
                      <a:pt x="34561" y="0"/>
                    </a:lnTo>
                    <a:lnTo>
                      <a:pt x="23839" y="17883"/>
                    </a:lnTo>
                    <a:lnTo>
                      <a:pt x="13110" y="0"/>
                    </a:lnTo>
                    <a:lnTo>
                      <a:pt x="0" y="0"/>
                    </a:lnTo>
                    <a:lnTo>
                      <a:pt x="15497" y="26228"/>
                    </a:lnTo>
                    <a:lnTo>
                      <a:pt x="11916" y="33382"/>
                    </a:lnTo>
                    <a:cubicBezTo>
                      <a:pt x="15497" y="34573"/>
                      <a:pt x="19071" y="35766"/>
                      <a:pt x="22645" y="35766"/>
                    </a:cubicBezTo>
                    <a:lnTo>
                      <a:pt x="23839" y="33382"/>
                    </a:lnTo>
                    <a:lnTo>
                      <a:pt x="26219" y="36958"/>
                    </a:lnTo>
                    <a:cubicBezTo>
                      <a:pt x="32181" y="39342"/>
                      <a:pt x="38135" y="41727"/>
                      <a:pt x="42903" y="44111"/>
                    </a:cubicBezTo>
                    <a:lnTo>
                      <a:pt x="32181" y="26228"/>
                    </a:lnTo>
                    <a:lnTo>
                      <a:pt x="47671" y="0"/>
                    </a:lnTo>
                    <a:close/>
                  </a:path>
                </a:pathLst>
              </a:custGeom>
              <a:solidFill>
                <a:srgbClr val="2D5967"/>
              </a:solidFill>
              <a:ln w="6417" cap="flat">
                <a:noFill/>
                <a:prstDash val="solid"/>
                <a:miter/>
              </a:ln>
            </p:spPr>
            <p:txBody>
              <a:bodyPr rtlCol="0" anchor="ctr"/>
              <a:lstStyle/>
              <a:p>
                <a:endParaRPr lang="en-US"/>
              </a:p>
            </p:txBody>
          </p:sp>
          <p:sp>
            <p:nvSpPr>
              <p:cNvPr id="84" name="Freeform: Shape 106">
                <a:extLst>
                  <a:ext uri="{FF2B5EF4-FFF2-40B4-BE49-F238E27FC236}">
                    <a16:creationId xmlns:a16="http://schemas.microsoft.com/office/drawing/2014/main" id="{C2EC9CBD-705A-3011-6B63-A804D9FC1B78}"/>
                  </a:ext>
                </a:extLst>
              </p:cNvPr>
              <p:cNvSpPr/>
              <p:nvPr/>
            </p:nvSpPr>
            <p:spPr>
              <a:xfrm>
                <a:off x="2055301" y="2518292"/>
                <a:ext cx="33373" cy="52457"/>
              </a:xfrm>
              <a:custGeom>
                <a:avLst/>
                <a:gdLst>
                  <a:gd name="connsiteX0" fmla="*/ 20264 w 33373"/>
                  <a:gd name="connsiteY0" fmla="*/ 35766 h 52457"/>
                  <a:gd name="connsiteX1" fmla="*/ 27413 w 33373"/>
                  <a:gd name="connsiteY1" fmla="*/ 27421 h 52457"/>
                  <a:gd name="connsiteX2" fmla="*/ 30987 w 33373"/>
                  <a:gd name="connsiteY2" fmla="*/ 20268 h 52457"/>
                  <a:gd name="connsiteX3" fmla="*/ 33374 w 33373"/>
                  <a:gd name="connsiteY3" fmla="*/ 14306 h 52457"/>
                  <a:gd name="connsiteX4" fmla="*/ 28606 w 33373"/>
                  <a:gd name="connsiteY4" fmla="*/ 3577 h 52457"/>
                  <a:gd name="connsiteX5" fmla="*/ 15497 w 33373"/>
                  <a:gd name="connsiteY5" fmla="*/ 0 h 52457"/>
                  <a:gd name="connsiteX6" fmla="*/ 7155 w 33373"/>
                  <a:gd name="connsiteY6" fmla="*/ 1192 h 52457"/>
                  <a:gd name="connsiteX7" fmla="*/ 0 w 33373"/>
                  <a:gd name="connsiteY7" fmla="*/ 3577 h 52457"/>
                  <a:gd name="connsiteX8" fmla="*/ 0 w 33373"/>
                  <a:gd name="connsiteY8" fmla="*/ 13115 h 52457"/>
                  <a:gd name="connsiteX9" fmla="*/ 13110 w 33373"/>
                  <a:gd name="connsiteY9" fmla="*/ 9538 h 52457"/>
                  <a:gd name="connsiteX10" fmla="*/ 21451 w 33373"/>
                  <a:gd name="connsiteY10" fmla="*/ 16691 h 52457"/>
                  <a:gd name="connsiteX11" fmla="*/ 21451 w 33373"/>
                  <a:gd name="connsiteY11" fmla="*/ 19075 h 52457"/>
                  <a:gd name="connsiteX12" fmla="*/ 19071 w 33373"/>
                  <a:gd name="connsiteY12" fmla="*/ 23844 h 52457"/>
                  <a:gd name="connsiteX13" fmla="*/ 13110 w 33373"/>
                  <a:gd name="connsiteY13" fmla="*/ 30997 h 52457"/>
                  <a:gd name="connsiteX14" fmla="*/ 0 w 33373"/>
                  <a:gd name="connsiteY14" fmla="*/ 45304 h 52457"/>
                  <a:gd name="connsiteX15" fmla="*/ 0 w 33373"/>
                  <a:gd name="connsiteY15" fmla="*/ 52457 h 52457"/>
                  <a:gd name="connsiteX16" fmla="*/ 33374 w 33373"/>
                  <a:gd name="connsiteY16" fmla="*/ 52457 h 52457"/>
                  <a:gd name="connsiteX17" fmla="*/ 33374 w 33373"/>
                  <a:gd name="connsiteY17" fmla="*/ 42920 h 52457"/>
                  <a:gd name="connsiteX18" fmla="*/ 13110 w 33373"/>
                  <a:gd name="connsiteY18" fmla="*/ 42920 h 52457"/>
                  <a:gd name="connsiteX19" fmla="*/ 20264 w 33373"/>
                  <a:gd name="connsiteY19" fmla="*/ 35766 h 52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3373" h="52457">
                    <a:moveTo>
                      <a:pt x="20264" y="35766"/>
                    </a:moveTo>
                    <a:cubicBezTo>
                      <a:pt x="22645" y="32189"/>
                      <a:pt x="25032" y="29805"/>
                      <a:pt x="27413" y="27421"/>
                    </a:cubicBezTo>
                    <a:cubicBezTo>
                      <a:pt x="29793" y="25037"/>
                      <a:pt x="30987" y="22652"/>
                      <a:pt x="30987" y="20268"/>
                    </a:cubicBezTo>
                    <a:cubicBezTo>
                      <a:pt x="32180" y="17883"/>
                      <a:pt x="33374" y="16691"/>
                      <a:pt x="33374" y="14306"/>
                    </a:cubicBezTo>
                    <a:cubicBezTo>
                      <a:pt x="33374" y="9538"/>
                      <a:pt x="32180" y="5961"/>
                      <a:pt x="28606" y="3577"/>
                    </a:cubicBezTo>
                    <a:cubicBezTo>
                      <a:pt x="25032" y="1192"/>
                      <a:pt x="21451" y="0"/>
                      <a:pt x="15497" y="0"/>
                    </a:cubicBezTo>
                    <a:cubicBezTo>
                      <a:pt x="13110" y="0"/>
                      <a:pt x="10729" y="0"/>
                      <a:pt x="7155" y="1192"/>
                    </a:cubicBezTo>
                    <a:cubicBezTo>
                      <a:pt x="4768" y="2384"/>
                      <a:pt x="2387" y="2384"/>
                      <a:pt x="0" y="3577"/>
                    </a:cubicBezTo>
                    <a:lnTo>
                      <a:pt x="0" y="13115"/>
                    </a:lnTo>
                    <a:cubicBezTo>
                      <a:pt x="4768" y="10730"/>
                      <a:pt x="9535" y="9538"/>
                      <a:pt x="13110" y="9538"/>
                    </a:cubicBezTo>
                    <a:cubicBezTo>
                      <a:pt x="19071" y="9538"/>
                      <a:pt x="21451" y="11923"/>
                      <a:pt x="21451" y="16691"/>
                    </a:cubicBezTo>
                    <a:cubicBezTo>
                      <a:pt x="21451" y="16691"/>
                      <a:pt x="21451" y="17883"/>
                      <a:pt x="21451" y="19075"/>
                    </a:cubicBezTo>
                    <a:cubicBezTo>
                      <a:pt x="21451" y="20268"/>
                      <a:pt x="20264" y="21460"/>
                      <a:pt x="19071" y="23844"/>
                    </a:cubicBezTo>
                    <a:cubicBezTo>
                      <a:pt x="17877" y="25037"/>
                      <a:pt x="15497" y="27421"/>
                      <a:pt x="13110" y="30997"/>
                    </a:cubicBezTo>
                    <a:lnTo>
                      <a:pt x="0" y="45304"/>
                    </a:lnTo>
                    <a:lnTo>
                      <a:pt x="0" y="52457"/>
                    </a:lnTo>
                    <a:lnTo>
                      <a:pt x="33374" y="52457"/>
                    </a:lnTo>
                    <a:lnTo>
                      <a:pt x="33374" y="42920"/>
                    </a:lnTo>
                    <a:lnTo>
                      <a:pt x="13110" y="42920"/>
                    </a:lnTo>
                    <a:lnTo>
                      <a:pt x="20264" y="35766"/>
                    </a:lnTo>
                    <a:close/>
                  </a:path>
                </a:pathLst>
              </a:custGeom>
              <a:solidFill>
                <a:srgbClr val="2D5967"/>
              </a:solidFill>
              <a:ln w="6417" cap="flat">
                <a:noFill/>
                <a:prstDash val="solid"/>
                <a:miter/>
              </a:ln>
            </p:spPr>
            <p:txBody>
              <a:bodyPr rtlCol="0" anchor="ctr"/>
              <a:lstStyle/>
              <a:p>
                <a:endParaRPr lang="en-US"/>
              </a:p>
            </p:txBody>
          </p:sp>
          <p:sp>
            <p:nvSpPr>
              <p:cNvPr id="85" name="Freeform: Shape 107">
                <a:extLst>
                  <a:ext uri="{FF2B5EF4-FFF2-40B4-BE49-F238E27FC236}">
                    <a16:creationId xmlns:a16="http://schemas.microsoft.com/office/drawing/2014/main" id="{D5AE846D-269D-7BD7-FAA5-B4F9445E623A}"/>
                  </a:ext>
                </a:extLst>
              </p:cNvPr>
              <p:cNvSpPr/>
              <p:nvPr/>
            </p:nvSpPr>
            <p:spPr>
              <a:xfrm>
                <a:off x="2098211" y="2560028"/>
                <a:ext cx="11916" cy="10725"/>
              </a:xfrm>
              <a:custGeom>
                <a:avLst/>
                <a:gdLst>
                  <a:gd name="connsiteX0" fmla="*/ 11916 w 11916"/>
                  <a:gd name="connsiteY0" fmla="*/ 0 h 10725"/>
                  <a:gd name="connsiteX1" fmla="*/ 0 w 11916"/>
                  <a:gd name="connsiteY1" fmla="*/ 0 h 10725"/>
                  <a:gd name="connsiteX2" fmla="*/ 0 w 11916"/>
                  <a:gd name="connsiteY2" fmla="*/ 10726 h 10725"/>
                  <a:gd name="connsiteX3" fmla="*/ 11916 w 11916"/>
                  <a:gd name="connsiteY3" fmla="*/ 10726 h 10725"/>
                  <a:gd name="connsiteX4" fmla="*/ 11916 w 11916"/>
                  <a:gd name="connsiteY4" fmla="*/ 0 h 10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16" h="10725">
                    <a:moveTo>
                      <a:pt x="11916" y="0"/>
                    </a:moveTo>
                    <a:lnTo>
                      <a:pt x="0" y="0"/>
                    </a:lnTo>
                    <a:lnTo>
                      <a:pt x="0" y="10726"/>
                    </a:lnTo>
                    <a:lnTo>
                      <a:pt x="11916" y="10726"/>
                    </a:lnTo>
                    <a:lnTo>
                      <a:pt x="11916" y="0"/>
                    </a:lnTo>
                    <a:close/>
                  </a:path>
                </a:pathLst>
              </a:custGeom>
              <a:solidFill>
                <a:srgbClr val="2D5967"/>
              </a:solidFill>
              <a:ln w="6417" cap="flat">
                <a:noFill/>
                <a:prstDash val="solid"/>
                <a:miter/>
              </a:ln>
            </p:spPr>
            <p:txBody>
              <a:bodyPr rtlCol="0" anchor="ctr"/>
              <a:lstStyle/>
              <a:p>
                <a:endParaRPr lang="en-US"/>
              </a:p>
            </p:txBody>
          </p:sp>
          <p:sp>
            <p:nvSpPr>
              <p:cNvPr id="86" name="Freeform: Shape 108">
                <a:extLst>
                  <a:ext uri="{FF2B5EF4-FFF2-40B4-BE49-F238E27FC236}">
                    <a16:creationId xmlns:a16="http://schemas.microsoft.com/office/drawing/2014/main" id="{D3FE3B29-80C2-7C3B-8548-EB11331C9092}"/>
                  </a:ext>
                </a:extLst>
              </p:cNvPr>
              <p:cNvSpPr/>
              <p:nvPr/>
            </p:nvSpPr>
            <p:spPr>
              <a:xfrm>
                <a:off x="2098211" y="2532598"/>
                <a:ext cx="11916" cy="10725"/>
              </a:xfrm>
              <a:custGeom>
                <a:avLst/>
                <a:gdLst>
                  <a:gd name="connsiteX0" fmla="*/ 11916 w 11916"/>
                  <a:gd name="connsiteY0" fmla="*/ 0 h 10725"/>
                  <a:gd name="connsiteX1" fmla="*/ 0 w 11916"/>
                  <a:gd name="connsiteY1" fmla="*/ 0 h 10725"/>
                  <a:gd name="connsiteX2" fmla="*/ 0 w 11916"/>
                  <a:gd name="connsiteY2" fmla="*/ 10726 h 10725"/>
                  <a:gd name="connsiteX3" fmla="*/ 11916 w 11916"/>
                  <a:gd name="connsiteY3" fmla="*/ 10726 h 10725"/>
                  <a:gd name="connsiteX4" fmla="*/ 11916 w 11916"/>
                  <a:gd name="connsiteY4" fmla="*/ 0 h 10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16" h="10725">
                    <a:moveTo>
                      <a:pt x="11916" y="0"/>
                    </a:moveTo>
                    <a:lnTo>
                      <a:pt x="0" y="0"/>
                    </a:lnTo>
                    <a:lnTo>
                      <a:pt x="0" y="10726"/>
                    </a:lnTo>
                    <a:lnTo>
                      <a:pt x="11916" y="10726"/>
                    </a:lnTo>
                    <a:lnTo>
                      <a:pt x="11916" y="0"/>
                    </a:lnTo>
                    <a:close/>
                  </a:path>
                </a:pathLst>
              </a:custGeom>
              <a:solidFill>
                <a:srgbClr val="2D5967"/>
              </a:solidFill>
              <a:ln w="6417" cap="flat">
                <a:noFill/>
                <a:prstDash val="solid"/>
                <a:miter/>
              </a:ln>
            </p:spPr>
            <p:txBody>
              <a:bodyPr rtlCol="0" anchor="ctr"/>
              <a:lstStyle/>
              <a:p>
                <a:endParaRPr lang="en-US"/>
              </a:p>
            </p:txBody>
          </p:sp>
          <p:sp>
            <p:nvSpPr>
              <p:cNvPr id="87" name="Freeform: Shape 109">
                <a:extLst>
                  <a:ext uri="{FF2B5EF4-FFF2-40B4-BE49-F238E27FC236}">
                    <a16:creationId xmlns:a16="http://schemas.microsoft.com/office/drawing/2014/main" id="{4D143731-241C-E0E7-42A1-1DE37DBFF0EC}"/>
                  </a:ext>
                </a:extLst>
              </p:cNvPr>
              <p:cNvSpPr/>
              <p:nvPr/>
            </p:nvSpPr>
            <p:spPr>
              <a:xfrm>
                <a:off x="2131572" y="2518292"/>
                <a:ext cx="48864" cy="52457"/>
              </a:xfrm>
              <a:custGeom>
                <a:avLst/>
                <a:gdLst>
                  <a:gd name="connsiteX0" fmla="*/ 47671 w 48864"/>
                  <a:gd name="connsiteY0" fmla="*/ 0 h 52457"/>
                  <a:gd name="connsiteX1" fmla="*/ 34561 w 48864"/>
                  <a:gd name="connsiteY1" fmla="*/ 0 h 52457"/>
                  <a:gd name="connsiteX2" fmla="*/ 23839 w 48864"/>
                  <a:gd name="connsiteY2" fmla="*/ 17883 h 52457"/>
                  <a:gd name="connsiteX3" fmla="*/ 13110 w 48864"/>
                  <a:gd name="connsiteY3" fmla="*/ 0 h 52457"/>
                  <a:gd name="connsiteX4" fmla="*/ 0 w 48864"/>
                  <a:gd name="connsiteY4" fmla="*/ 0 h 52457"/>
                  <a:gd name="connsiteX5" fmla="*/ 15497 w 48864"/>
                  <a:gd name="connsiteY5" fmla="*/ 25037 h 52457"/>
                  <a:gd name="connsiteX6" fmla="*/ 0 w 48864"/>
                  <a:gd name="connsiteY6" fmla="*/ 52457 h 52457"/>
                  <a:gd name="connsiteX7" fmla="*/ 11916 w 48864"/>
                  <a:gd name="connsiteY7" fmla="*/ 52457 h 52457"/>
                  <a:gd name="connsiteX8" fmla="*/ 23839 w 48864"/>
                  <a:gd name="connsiteY8" fmla="*/ 33382 h 52457"/>
                  <a:gd name="connsiteX9" fmla="*/ 35755 w 48864"/>
                  <a:gd name="connsiteY9" fmla="*/ 52457 h 52457"/>
                  <a:gd name="connsiteX10" fmla="*/ 48864 w 48864"/>
                  <a:gd name="connsiteY10" fmla="*/ 52457 h 52457"/>
                  <a:gd name="connsiteX11" fmla="*/ 32181 w 48864"/>
                  <a:gd name="connsiteY11" fmla="*/ 25037 h 52457"/>
                  <a:gd name="connsiteX12" fmla="*/ 47671 w 48864"/>
                  <a:gd name="connsiteY12" fmla="*/ 0 h 52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864" h="52457">
                    <a:moveTo>
                      <a:pt x="47671" y="0"/>
                    </a:moveTo>
                    <a:lnTo>
                      <a:pt x="34561" y="0"/>
                    </a:lnTo>
                    <a:lnTo>
                      <a:pt x="23839" y="17883"/>
                    </a:lnTo>
                    <a:lnTo>
                      <a:pt x="13110" y="0"/>
                    </a:lnTo>
                    <a:lnTo>
                      <a:pt x="0" y="0"/>
                    </a:lnTo>
                    <a:lnTo>
                      <a:pt x="15497" y="25037"/>
                    </a:lnTo>
                    <a:lnTo>
                      <a:pt x="0" y="52457"/>
                    </a:lnTo>
                    <a:lnTo>
                      <a:pt x="11916" y="52457"/>
                    </a:lnTo>
                    <a:lnTo>
                      <a:pt x="23839" y="33382"/>
                    </a:lnTo>
                    <a:lnTo>
                      <a:pt x="35755" y="52457"/>
                    </a:lnTo>
                    <a:lnTo>
                      <a:pt x="48864" y="52457"/>
                    </a:lnTo>
                    <a:lnTo>
                      <a:pt x="32181" y="25037"/>
                    </a:lnTo>
                    <a:lnTo>
                      <a:pt x="47671" y="0"/>
                    </a:lnTo>
                    <a:close/>
                  </a:path>
                </a:pathLst>
              </a:custGeom>
              <a:solidFill>
                <a:srgbClr val="2D5967"/>
              </a:solidFill>
              <a:ln w="6417" cap="flat">
                <a:noFill/>
                <a:prstDash val="solid"/>
                <a:miter/>
              </a:ln>
            </p:spPr>
            <p:txBody>
              <a:bodyPr rtlCol="0" anchor="ctr"/>
              <a:lstStyle/>
              <a:p>
                <a:endParaRPr lang="en-US"/>
              </a:p>
            </p:txBody>
          </p:sp>
          <p:sp>
            <p:nvSpPr>
              <p:cNvPr id="88" name="Freeform: Shape 110">
                <a:extLst>
                  <a:ext uri="{FF2B5EF4-FFF2-40B4-BE49-F238E27FC236}">
                    <a16:creationId xmlns:a16="http://schemas.microsoft.com/office/drawing/2014/main" id="{5938534D-055B-5CF6-E8E2-80909315A10E}"/>
                  </a:ext>
                </a:extLst>
              </p:cNvPr>
              <p:cNvSpPr/>
              <p:nvPr/>
            </p:nvSpPr>
            <p:spPr>
              <a:xfrm>
                <a:off x="2193539" y="2515909"/>
                <a:ext cx="29793" cy="48880"/>
              </a:xfrm>
              <a:custGeom>
                <a:avLst/>
                <a:gdLst>
                  <a:gd name="connsiteX0" fmla="*/ 7155 w 29793"/>
                  <a:gd name="connsiteY0" fmla="*/ 8345 h 48880"/>
                  <a:gd name="connsiteX1" fmla="*/ 0 w 29793"/>
                  <a:gd name="connsiteY1" fmla="*/ 28613 h 48880"/>
                  <a:gd name="connsiteX2" fmla="*/ 5961 w 29793"/>
                  <a:gd name="connsiteY2" fmla="*/ 48880 h 48880"/>
                  <a:gd name="connsiteX3" fmla="*/ 10729 w 29793"/>
                  <a:gd name="connsiteY3" fmla="*/ 33382 h 48880"/>
                  <a:gd name="connsiteX4" fmla="*/ 10729 w 29793"/>
                  <a:gd name="connsiteY4" fmla="*/ 27420 h 48880"/>
                  <a:gd name="connsiteX5" fmla="*/ 14303 w 29793"/>
                  <a:gd name="connsiteY5" fmla="*/ 14306 h 48880"/>
                  <a:gd name="connsiteX6" fmla="*/ 23839 w 29793"/>
                  <a:gd name="connsiteY6" fmla="*/ 9537 h 48880"/>
                  <a:gd name="connsiteX7" fmla="*/ 29793 w 29793"/>
                  <a:gd name="connsiteY7" fmla="*/ 0 h 48880"/>
                  <a:gd name="connsiteX8" fmla="*/ 23839 w 29793"/>
                  <a:gd name="connsiteY8" fmla="*/ 0 h 48880"/>
                  <a:gd name="connsiteX9" fmla="*/ 7155 w 29793"/>
                  <a:gd name="connsiteY9" fmla="*/ 8345 h 48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93" h="48880">
                    <a:moveTo>
                      <a:pt x="7155" y="8345"/>
                    </a:moveTo>
                    <a:cubicBezTo>
                      <a:pt x="2387" y="13114"/>
                      <a:pt x="0" y="20268"/>
                      <a:pt x="0" y="28613"/>
                    </a:cubicBezTo>
                    <a:cubicBezTo>
                      <a:pt x="0" y="36958"/>
                      <a:pt x="2387" y="44111"/>
                      <a:pt x="5961" y="48880"/>
                    </a:cubicBezTo>
                    <a:cubicBezTo>
                      <a:pt x="7155" y="44111"/>
                      <a:pt x="9535" y="38151"/>
                      <a:pt x="10729" y="33382"/>
                    </a:cubicBezTo>
                    <a:cubicBezTo>
                      <a:pt x="10729" y="32189"/>
                      <a:pt x="10729" y="29805"/>
                      <a:pt x="10729" y="27420"/>
                    </a:cubicBezTo>
                    <a:cubicBezTo>
                      <a:pt x="10729" y="21460"/>
                      <a:pt x="11923" y="16691"/>
                      <a:pt x="14303" y="14306"/>
                    </a:cubicBezTo>
                    <a:cubicBezTo>
                      <a:pt x="16684" y="11922"/>
                      <a:pt x="19071" y="9537"/>
                      <a:pt x="23839" y="9537"/>
                    </a:cubicBezTo>
                    <a:cubicBezTo>
                      <a:pt x="26219" y="5961"/>
                      <a:pt x="27413" y="3577"/>
                      <a:pt x="29793" y="0"/>
                    </a:cubicBezTo>
                    <a:cubicBezTo>
                      <a:pt x="28606" y="0"/>
                      <a:pt x="26219" y="0"/>
                      <a:pt x="23839" y="0"/>
                    </a:cubicBezTo>
                    <a:cubicBezTo>
                      <a:pt x="17877" y="1192"/>
                      <a:pt x="11923" y="3577"/>
                      <a:pt x="7155" y="8345"/>
                    </a:cubicBezTo>
                    <a:close/>
                  </a:path>
                </a:pathLst>
              </a:custGeom>
              <a:solidFill>
                <a:srgbClr val="2D5967"/>
              </a:solidFill>
              <a:ln w="6417" cap="flat">
                <a:noFill/>
                <a:prstDash val="solid"/>
                <a:miter/>
              </a:ln>
            </p:spPr>
            <p:txBody>
              <a:bodyPr rtlCol="0" anchor="ctr"/>
              <a:lstStyle/>
              <a:p>
                <a:endParaRPr lang="en-US"/>
              </a:p>
            </p:txBody>
          </p:sp>
          <p:sp>
            <p:nvSpPr>
              <p:cNvPr id="89" name="Freeform: Shape 111">
                <a:extLst>
                  <a:ext uri="{FF2B5EF4-FFF2-40B4-BE49-F238E27FC236}">
                    <a16:creationId xmlns:a16="http://schemas.microsoft.com/office/drawing/2014/main" id="{326BB073-35C2-98E6-0ABB-08744B80FC25}"/>
                  </a:ext>
                </a:extLst>
              </p:cNvPr>
              <p:cNvSpPr/>
              <p:nvPr/>
            </p:nvSpPr>
            <p:spPr>
              <a:xfrm>
                <a:off x="2125611" y="2703081"/>
                <a:ext cx="140631" cy="138295"/>
              </a:xfrm>
              <a:custGeom>
                <a:avLst/>
                <a:gdLst>
                  <a:gd name="connsiteX0" fmla="*/ 127522 w 140631"/>
                  <a:gd name="connsiteY0" fmla="*/ 33380 h 138295"/>
                  <a:gd name="connsiteX1" fmla="*/ 104877 w 140631"/>
                  <a:gd name="connsiteY1" fmla="*/ 61993 h 138295"/>
                  <a:gd name="connsiteX2" fmla="*/ 77464 w 140631"/>
                  <a:gd name="connsiteY2" fmla="*/ 94186 h 138295"/>
                  <a:gd name="connsiteX3" fmla="*/ 57206 w 140631"/>
                  <a:gd name="connsiteY3" fmla="*/ 114451 h 138295"/>
                  <a:gd name="connsiteX4" fmla="*/ 23839 w 140631"/>
                  <a:gd name="connsiteY4" fmla="*/ 82264 h 138295"/>
                  <a:gd name="connsiteX5" fmla="*/ 44097 w 140631"/>
                  <a:gd name="connsiteY5" fmla="*/ 61993 h 138295"/>
                  <a:gd name="connsiteX6" fmla="*/ 76277 w 140631"/>
                  <a:gd name="connsiteY6" fmla="*/ 34574 h 138295"/>
                  <a:gd name="connsiteX7" fmla="*/ 106070 w 140631"/>
                  <a:gd name="connsiteY7" fmla="*/ 13116 h 138295"/>
                  <a:gd name="connsiteX8" fmla="*/ 95341 w 140631"/>
                  <a:gd name="connsiteY8" fmla="*/ 0 h 138295"/>
                  <a:gd name="connsiteX9" fmla="*/ 65548 w 140631"/>
                  <a:gd name="connsiteY9" fmla="*/ 21458 h 138295"/>
                  <a:gd name="connsiteX10" fmla="*/ 32180 w 140631"/>
                  <a:gd name="connsiteY10" fmla="*/ 50071 h 138295"/>
                  <a:gd name="connsiteX11" fmla="*/ 0 w 140631"/>
                  <a:gd name="connsiteY11" fmla="*/ 82264 h 138295"/>
                  <a:gd name="connsiteX12" fmla="*/ 56013 w 140631"/>
                  <a:gd name="connsiteY12" fmla="*/ 138296 h 138295"/>
                  <a:gd name="connsiteX13" fmla="*/ 88193 w 140631"/>
                  <a:gd name="connsiteY13" fmla="*/ 106109 h 138295"/>
                  <a:gd name="connsiteX14" fmla="*/ 116793 w 140631"/>
                  <a:gd name="connsiteY14" fmla="*/ 72722 h 138295"/>
                  <a:gd name="connsiteX15" fmla="*/ 140631 w 140631"/>
                  <a:gd name="connsiteY15" fmla="*/ 44109 h 138295"/>
                  <a:gd name="connsiteX16" fmla="*/ 127522 w 140631"/>
                  <a:gd name="connsiteY16" fmla="*/ 33380 h 13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0631" h="138295">
                    <a:moveTo>
                      <a:pt x="127522" y="33380"/>
                    </a:moveTo>
                    <a:lnTo>
                      <a:pt x="104877" y="61993"/>
                    </a:lnTo>
                    <a:cubicBezTo>
                      <a:pt x="96535" y="72722"/>
                      <a:pt x="86999" y="83457"/>
                      <a:pt x="77464" y="94186"/>
                    </a:cubicBezTo>
                    <a:lnTo>
                      <a:pt x="57206" y="114451"/>
                    </a:lnTo>
                    <a:lnTo>
                      <a:pt x="23839" y="82264"/>
                    </a:lnTo>
                    <a:lnTo>
                      <a:pt x="44097" y="61993"/>
                    </a:lnTo>
                    <a:cubicBezTo>
                      <a:pt x="53632" y="52458"/>
                      <a:pt x="64354" y="42922"/>
                      <a:pt x="76277" y="34574"/>
                    </a:cubicBezTo>
                    <a:lnTo>
                      <a:pt x="106070" y="13116"/>
                    </a:lnTo>
                    <a:cubicBezTo>
                      <a:pt x="102496" y="8348"/>
                      <a:pt x="98916" y="4768"/>
                      <a:pt x="95341" y="0"/>
                    </a:cubicBezTo>
                    <a:lnTo>
                      <a:pt x="65548" y="21458"/>
                    </a:lnTo>
                    <a:cubicBezTo>
                      <a:pt x="53632" y="29806"/>
                      <a:pt x="42903" y="40535"/>
                      <a:pt x="32180" y="50071"/>
                    </a:cubicBezTo>
                    <a:lnTo>
                      <a:pt x="0" y="82264"/>
                    </a:lnTo>
                    <a:lnTo>
                      <a:pt x="56013" y="138296"/>
                    </a:lnTo>
                    <a:lnTo>
                      <a:pt x="88193" y="106109"/>
                    </a:lnTo>
                    <a:cubicBezTo>
                      <a:pt x="98916" y="95374"/>
                      <a:pt x="108451" y="84645"/>
                      <a:pt x="116793" y="72722"/>
                    </a:cubicBezTo>
                    <a:lnTo>
                      <a:pt x="140631" y="44109"/>
                    </a:lnTo>
                    <a:cubicBezTo>
                      <a:pt x="137057" y="40535"/>
                      <a:pt x="132290" y="36961"/>
                      <a:pt x="127522" y="33380"/>
                    </a:cubicBezTo>
                    <a:close/>
                  </a:path>
                </a:pathLst>
              </a:custGeom>
              <a:solidFill>
                <a:srgbClr val="2D5967"/>
              </a:solidFill>
              <a:ln w="6417" cap="flat">
                <a:noFill/>
                <a:prstDash val="solid"/>
                <a:miter/>
              </a:ln>
            </p:spPr>
            <p:txBody>
              <a:bodyPr rtlCol="0" anchor="ctr"/>
              <a:lstStyle/>
              <a:p>
                <a:endParaRPr lang="en-US"/>
              </a:p>
            </p:txBody>
          </p:sp>
          <p:sp>
            <p:nvSpPr>
              <p:cNvPr id="90" name="Freeform: Shape 112">
                <a:extLst>
                  <a:ext uri="{FF2B5EF4-FFF2-40B4-BE49-F238E27FC236}">
                    <a16:creationId xmlns:a16="http://schemas.microsoft.com/office/drawing/2014/main" id="{C624DAF3-2520-2DD9-6688-3D3426248D95}"/>
                  </a:ext>
                </a:extLst>
              </p:cNvPr>
              <p:cNvSpPr/>
              <p:nvPr/>
            </p:nvSpPr>
            <p:spPr>
              <a:xfrm>
                <a:off x="2110127" y="2796068"/>
                <a:ext cx="61973" cy="60805"/>
              </a:xfrm>
              <a:custGeom>
                <a:avLst/>
                <a:gdLst>
                  <a:gd name="connsiteX0" fmla="*/ 5961 w 61973"/>
                  <a:gd name="connsiteY0" fmla="*/ 0 h 60805"/>
                  <a:gd name="connsiteX1" fmla="*/ 0 w 61973"/>
                  <a:gd name="connsiteY1" fmla="*/ 4768 h 60805"/>
                  <a:gd name="connsiteX2" fmla="*/ 5961 w 61973"/>
                  <a:gd name="connsiteY2" fmla="*/ 22651 h 60805"/>
                  <a:gd name="connsiteX3" fmla="*/ 39329 w 61973"/>
                  <a:gd name="connsiteY3" fmla="*/ 54845 h 60805"/>
                  <a:gd name="connsiteX4" fmla="*/ 56013 w 61973"/>
                  <a:gd name="connsiteY4" fmla="*/ 60806 h 60805"/>
                  <a:gd name="connsiteX5" fmla="*/ 61974 w 61973"/>
                  <a:gd name="connsiteY5" fmla="*/ 54845 h 60805"/>
                  <a:gd name="connsiteX6" fmla="*/ 5961 w 61973"/>
                  <a:gd name="connsiteY6" fmla="*/ 0 h 60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973" h="60805">
                    <a:moveTo>
                      <a:pt x="5961" y="0"/>
                    </a:moveTo>
                    <a:lnTo>
                      <a:pt x="0" y="4768"/>
                    </a:lnTo>
                    <a:lnTo>
                      <a:pt x="5961" y="22651"/>
                    </a:lnTo>
                    <a:lnTo>
                      <a:pt x="39329" y="54845"/>
                    </a:lnTo>
                    <a:lnTo>
                      <a:pt x="56013" y="60806"/>
                    </a:lnTo>
                    <a:lnTo>
                      <a:pt x="61974" y="54845"/>
                    </a:lnTo>
                    <a:lnTo>
                      <a:pt x="5961" y="0"/>
                    </a:lnTo>
                    <a:close/>
                  </a:path>
                </a:pathLst>
              </a:custGeom>
              <a:solidFill>
                <a:srgbClr val="2D5967"/>
              </a:solidFill>
              <a:ln w="6417" cap="flat">
                <a:noFill/>
                <a:prstDash val="solid"/>
                <a:miter/>
              </a:ln>
            </p:spPr>
            <p:txBody>
              <a:bodyPr rtlCol="0" anchor="ctr"/>
              <a:lstStyle/>
              <a:p>
                <a:endParaRPr lang="en-US"/>
              </a:p>
            </p:txBody>
          </p:sp>
          <p:sp>
            <p:nvSpPr>
              <p:cNvPr id="91" name="Freeform: Shape 113">
                <a:extLst>
                  <a:ext uri="{FF2B5EF4-FFF2-40B4-BE49-F238E27FC236}">
                    <a16:creationId xmlns:a16="http://schemas.microsoft.com/office/drawing/2014/main" id="{CA1117AE-0A30-59A6-51A0-BAA0793877A9}"/>
                  </a:ext>
                </a:extLst>
              </p:cNvPr>
              <p:cNvSpPr/>
              <p:nvPr/>
            </p:nvSpPr>
            <p:spPr>
              <a:xfrm>
                <a:off x="2206965" y="2461371"/>
                <a:ext cx="298535" cy="298942"/>
              </a:xfrm>
              <a:custGeom>
                <a:avLst/>
                <a:gdLst>
                  <a:gd name="connsiteX0" fmla="*/ 148670 w 298535"/>
                  <a:gd name="connsiteY0" fmla="*/ 298942 h 298942"/>
                  <a:gd name="connsiteX1" fmla="*/ 254741 w 298535"/>
                  <a:gd name="connsiteY1" fmla="*/ 254833 h 298942"/>
                  <a:gd name="connsiteX2" fmla="*/ 254741 w 298535"/>
                  <a:gd name="connsiteY2" fmla="*/ 43813 h 298942"/>
                  <a:gd name="connsiteX3" fmla="*/ 43800 w 298535"/>
                  <a:gd name="connsiteY3" fmla="*/ 43813 h 298942"/>
                  <a:gd name="connsiteX4" fmla="*/ 43800 w 298535"/>
                  <a:gd name="connsiteY4" fmla="*/ 254833 h 298942"/>
                  <a:gd name="connsiteX5" fmla="*/ 148670 w 298535"/>
                  <a:gd name="connsiteY5" fmla="*/ 298942 h 298942"/>
                  <a:gd name="connsiteX6" fmla="*/ 55716 w 298535"/>
                  <a:gd name="connsiteY6" fmla="*/ 55735 h 298942"/>
                  <a:gd name="connsiteX7" fmla="*/ 149864 w 298535"/>
                  <a:gd name="connsiteY7" fmla="*/ 16393 h 298942"/>
                  <a:gd name="connsiteX8" fmla="*/ 244012 w 298535"/>
                  <a:gd name="connsiteY8" fmla="*/ 55735 h 298942"/>
                  <a:gd name="connsiteX9" fmla="*/ 244012 w 298535"/>
                  <a:gd name="connsiteY9" fmla="*/ 242911 h 298942"/>
                  <a:gd name="connsiteX10" fmla="*/ 55716 w 298535"/>
                  <a:gd name="connsiteY10" fmla="*/ 242911 h 298942"/>
                  <a:gd name="connsiteX11" fmla="*/ 55716 w 298535"/>
                  <a:gd name="connsiteY11" fmla="*/ 55735 h 29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35" h="298942">
                    <a:moveTo>
                      <a:pt x="148670" y="298942"/>
                    </a:moveTo>
                    <a:cubicBezTo>
                      <a:pt x="186806" y="298942"/>
                      <a:pt x="224947" y="284639"/>
                      <a:pt x="254741" y="254833"/>
                    </a:cubicBezTo>
                    <a:cubicBezTo>
                      <a:pt x="313134" y="196415"/>
                      <a:pt x="313134" y="102231"/>
                      <a:pt x="254741" y="43813"/>
                    </a:cubicBezTo>
                    <a:cubicBezTo>
                      <a:pt x="196341" y="-14604"/>
                      <a:pt x="102193" y="-14604"/>
                      <a:pt x="43800" y="43813"/>
                    </a:cubicBezTo>
                    <a:cubicBezTo>
                      <a:pt x="-14600" y="102231"/>
                      <a:pt x="-14600" y="196415"/>
                      <a:pt x="43800" y="254833"/>
                    </a:cubicBezTo>
                    <a:cubicBezTo>
                      <a:pt x="72400" y="284639"/>
                      <a:pt x="110535" y="298942"/>
                      <a:pt x="148670" y="298942"/>
                    </a:cubicBezTo>
                    <a:close/>
                    <a:moveTo>
                      <a:pt x="55716" y="55735"/>
                    </a:moveTo>
                    <a:cubicBezTo>
                      <a:pt x="81935" y="29507"/>
                      <a:pt x="115303" y="16393"/>
                      <a:pt x="149864" y="16393"/>
                    </a:cubicBezTo>
                    <a:cubicBezTo>
                      <a:pt x="184425" y="16393"/>
                      <a:pt x="217792" y="29507"/>
                      <a:pt x="244012" y="55735"/>
                    </a:cubicBezTo>
                    <a:cubicBezTo>
                      <a:pt x="295257" y="107000"/>
                      <a:pt x="295257" y="191646"/>
                      <a:pt x="244012" y="242911"/>
                    </a:cubicBezTo>
                    <a:cubicBezTo>
                      <a:pt x="192767" y="294175"/>
                      <a:pt x="108154" y="294175"/>
                      <a:pt x="55716" y="242911"/>
                    </a:cubicBezTo>
                    <a:cubicBezTo>
                      <a:pt x="3277" y="191646"/>
                      <a:pt x="3277" y="108192"/>
                      <a:pt x="55716" y="55735"/>
                    </a:cubicBezTo>
                    <a:close/>
                  </a:path>
                </a:pathLst>
              </a:custGeom>
              <a:solidFill>
                <a:srgbClr val="2D5967"/>
              </a:solidFill>
              <a:ln w="6417" cap="flat">
                <a:noFill/>
                <a:prstDash val="solid"/>
                <a:miter/>
              </a:ln>
            </p:spPr>
            <p:txBody>
              <a:bodyPr rtlCol="0" anchor="ctr"/>
              <a:lstStyle/>
              <a:p>
                <a:endParaRPr lang="en-US"/>
              </a:p>
            </p:txBody>
          </p:sp>
          <p:sp>
            <p:nvSpPr>
              <p:cNvPr id="92" name="Freeform: Shape 114">
                <a:extLst>
                  <a:ext uri="{FF2B5EF4-FFF2-40B4-BE49-F238E27FC236}">
                    <a16:creationId xmlns:a16="http://schemas.microsoft.com/office/drawing/2014/main" id="{09926586-C6F9-9E5A-B0FC-E1852453BBA0}"/>
                  </a:ext>
                </a:extLst>
              </p:cNvPr>
              <p:cNvSpPr/>
              <p:nvPr/>
            </p:nvSpPr>
            <p:spPr>
              <a:xfrm>
                <a:off x="2267429" y="2562409"/>
                <a:ext cx="88193" cy="96568"/>
              </a:xfrm>
              <a:custGeom>
                <a:avLst/>
                <a:gdLst>
                  <a:gd name="connsiteX0" fmla="*/ 45290 w 88193"/>
                  <a:gd name="connsiteY0" fmla="*/ 96568 h 96568"/>
                  <a:gd name="connsiteX1" fmla="*/ 77464 w 88193"/>
                  <a:gd name="connsiteY1" fmla="*/ 84646 h 96568"/>
                  <a:gd name="connsiteX2" fmla="*/ 88193 w 88193"/>
                  <a:gd name="connsiteY2" fmla="*/ 48880 h 96568"/>
                  <a:gd name="connsiteX3" fmla="*/ 76271 w 88193"/>
                  <a:gd name="connsiteY3" fmla="*/ 13114 h 96568"/>
                  <a:gd name="connsiteX4" fmla="*/ 44097 w 88193"/>
                  <a:gd name="connsiteY4" fmla="*/ 0 h 96568"/>
                  <a:gd name="connsiteX5" fmla="*/ 11916 w 88193"/>
                  <a:gd name="connsiteY5" fmla="*/ 13114 h 96568"/>
                  <a:gd name="connsiteX6" fmla="*/ 0 w 88193"/>
                  <a:gd name="connsiteY6" fmla="*/ 48880 h 96568"/>
                  <a:gd name="connsiteX7" fmla="*/ 11916 w 88193"/>
                  <a:gd name="connsiteY7" fmla="*/ 84646 h 96568"/>
                  <a:gd name="connsiteX8" fmla="*/ 45290 w 88193"/>
                  <a:gd name="connsiteY8" fmla="*/ 96568 h 96568"/>
                  <a:gd name="connsiteX9" fmla="*/ 28600 w 88193"/>
                  <a:gd name="connsiteY9" fmla="*/ 25036 h 96568"/>
                  <a:gd name="connsiteX10" fmla="*/ 46477 w 88193"/>
                  <a:gd name="connsiteY10" fmla="*/ 16691 h 96568"/>
                  <a:gd name="connsiteX11" fmla="*/ 64355 w 88193"/>
                  <a:gd name="connsiteY11" fmla="*/ 25036 h 96568"/>
                  <a:gd name="connsiteX12" fmla="*/ 70316 w 88193"/>
                  <a:gd name="connsiteY12" fmla="*/ 47688 h 96568"/>
                  <a:gd name="connsiteX13" fmla="*/ 64355 w 88193"/>
                  <a:gd name="connsiteY13" fmla="*/ 71532 h 96568"/>
                  <a:gd name="connsiteX14" fmla="*/ 45290 w 88193"/>
                  <a:gd name="connsiteY14" fmla="*/ 79878 h 96568"/>
                  <a:gd name="connsiteX15" fmla="*/ 27413 w 88193"/>
                  <a:gd name="connsiteY15" fmla="*/ 71532 h 96568"/>
                  <a:gd name="connsiteX16" fmla="*/ 21452 w 88193"/>
                  <a:gd name="connsiteY16" fmla="*/ 47688 h 96568"/>
                  <a:gd name="connsiteX17" fmla="*/ 28600 w 88193"/>
                  <a:gd name="connsiteY17" fmla="*/ 25036 h 96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8193" h="96568">
                    <a:moveTo>
                      <a:pt x="45290" y="96568"/>
                    </a:moveTo>
                    <a:cubicBezTo>
                      <a:pt x="59587" y="96568"/>
                      <a:pt x="70316" y="91799"/>
                      <a:pt x="77464" y="84646"/>
                    </a:cubicBezTo>
                    <a:cubicBezTo>
                      <a:pt x="84613" y="76301"/>
                      <a:pt x="88193" y="64379"/>
                      <a:pt x="88193" y="48880"/>
                    </a:cubicBezTo>
                    <a:cubicBezTo>
                      <a:pt x="88193" y="33382"/>
                      <a:pt x="84613" y="21459"/>
                      <a:pt x="76271" y="13114"/>
                    </a:cubicBezTo>
                    <a:cubicBezTo>
                      <a:pt x="69122" y="4769"/>
                      <a:pt x="58400" y="0"/>
                      <a:pt x="44097" y="0"/>
                    </a:cubicBezTo>
                    <a:cubicBezTo>
                      <a:pt x="29793" y="0"/>
                      <a:pt x="20258" y="4769"/>
                      <a:pt x="11916" y="13114"/>
                    </a:cubicBezTo>
                    <a:cubicBezTo>
                      <a:pt x="4768" y="21459"/>
                      <a:pt x="0" y="33382"/>
                      <a:pt x="0" y="48880"/>
                    </a:cubicBezTo>
                    <a:cubicBezTo>
                      <a:pt x="0" y="64379"/>
                      <a:pt x="3574" y="76301"/>
                      <a:pt x="11916" y="84646"/>
                    </a:cubicBezTo>
                    <a:cubicBezTo>
                      <a:pt x="21452" y="91799"/>
                      <a:pt x="30987" y="96568"/>
                      <a:pt x="45290" y="96568"/>
                    </a:cubicBezTo>
                    <a:close/>
                    <a:moveTo>
                      <a:pt x="28600" y="25036"/>
                    </a:moveTo>
                    <a:cubicBezTo>
                      <a:pt x="32181" y="19075"/>
                      <a:pt x="38135" y="16691"/>
                      <a:pt x="46477" y="16691"/>
                    </a:cubicBezTo>
                    <a:cubicBezTo>
                      <a:pt x="53632" y="16691"/>
                      <a:pt x="59587" y="19075"/>
                      <a:pt x="64355" y="25036"/>
                    </a:cubicBezTo>
                    <a:cubicBezTo>
                      <a:pt x="67929" y="30997"/>
                      <a:pt x="70316" y="38150"/>
                      <a:pt x="70316" y="47688"/>
                    </a:cubicBezTo>
                    <a:cubicBezTo>
                      <a:pt x="70316" y="57225"/>
                      <a:pt x="67929" y="65571"/>
                      <a:pt x="64355" y="71532"/>
                    </a:cubicBezTo>
                    <a:cubicBezTo>
                      <a:pt x="60780" y="77493"/>
                      <a:pt x="53632" y="79878"/>
                      <a:pt x="45290" y="79878"/>
                    </a:cubicBezTo>
                    <a:cubicBezTo>
                      <a:pt x="38135" y="79878"/>
                      <a:pt x="32181" y="77493"/>
                      <a:pt x="27413" y="71532"/>
                    </a:cubicBezTo>
                    <a:cubicBezTo>
                      <a:pt x="23839" y="65571"/>
                      <a:pt x="21452" y="58418"/>
                      <a:pt x="21452" y="47688"/>
                    </a:cubicBezTo>
                    <a:cubicBezTo>
                      <a:pt x="22645" y="38150"/>
                      <a:pt x="23839" y="29805"/>
                      <a:pt x="28600" y="25036"/>
                    </a:cubicBezTo>
                    <a:close/>
                  </a:path>
                </a:pathLst>
              </a:custGeom>
              <a:solidFill>
                <a:srgbClr val="2D5967"/>
              </a:solidFill>
              <a:ln w="6417" cap="flat">
                <a:noFill/>
                <a:prstDash val="solid"/>
                <a:miter/>
              </a:ln>
            </p:spPr>
            <p:txBody>
              <a:bodyPr rtlCol="0" anchor="ctr"/>
              <a:lstStyle/>
              <a:p>
                <a:endParaRPr lang="en-US"/>
              </a:p>
            </p:txBody>
          </p:sp>
          <p:sp>
            <p:nvSpPr>
              <p:cNvPr id="93" name="Freeform: Shape 115">
                <a:extLst>
                  <a:ext uri="{FF2B5EF4-FFF2-40B4-BE49-F238E27FC236}">
                    <a16:creationId xmlns:a16="http://schemas.microsoft.com/office/drawing/2014/main" id="{B06083C6-3A7B-4418-0442-D7EFC23DB330}"/>
                  </a:ext>
                </a:extLst>
              </p:cNvPr>
              <p:cNvSpPr/>
              <p:nvPr/>
            </p:nvSpPr>
            <p:spPr>
              <a:xfrm>
                <a:off x="2367551" y="2562409"/>
                <a:ext cx="72702" cy="92991"/>
              </a:xfrm>
              <a:custGeom>
                <a:avLst/>
                <a:gdLst>
                  <a:gd name="connsiteX0" fmla="*/ 42903 w 72702"/>
                  <a:gd name="connsiteY0" fmla="*/ 33382 h 92991"/>
                  <a:gd name="connsiteX1" fmla="*/ 23839 w 72702"/>
                  <a:gd name="connsiteY1" fmla="*/ 1192 h 92991"/>
                  <a:gd name="connsiteX2" fmla="*/ 1193 w 72702"/>
                  <a:gd name="connsiteY2" fmla="*/ 1192 h 92991"/>
                  <a:gd name="connsiteX3" fmla="*/ 28606 w 72702"/>
                  <a:gd name="connsiteY3" fmla="*/ 45304 h 92991"/>
                  <a:gd name="connsiteX4" fmla="*/ 0 w 72702"/>
                  <a:gd name="connsiteY4" fmla="*/ 92992 h 92991"/>
                  <a:gd name="connsiteX5" fmla="*/ 21451 w 72702"/>
                  <a:gd name="connsiteY5" fmla="*/ 92992 h 92991"/>
                  <a:gd name="connsiteX6" fmla="*/ 41716 w 72702"/>
                  <a:gd name="connsiteY6" fmla="*/ 58418 h 92991"/>
                  <a:gd name="connsiteX7" fmla="*/ 61974 w 72702"/>
                  <a:gd name="connsiteY7" fmla="*/ 92992 h 92991"/>
                  <a:gd name="connsiteX8" fmla="*/ 64354 w 72702"/>
                  <a:gd name="connsiteY8" fmla="*/ 92992 h 92991"/>
                  <a:gd name="connsiteX9" fmla="*/ 72703 w 72702"/>
                  <a:gd name="connsiteY9" fmla="*/ 73916 h 92991"/>
                  <a:gd name="connsiteX10" fmla="*/ 54825 w 72702"/>
                  <a:gd name="connsiteY10" fmla="*/ 45304 h 92991"/>
                  <a:gd name="connsiteX11" fmla="*/ 71509 w 72702"/>
                  <a:gd name="connsiteY11" fmla="*/ 17883 h 92991"/>
                  <a:gd name="connsiteX12" fmla="*/ 63167 w 72702"/>
                  <a:gd name="connsiteY12" fmla="*/ 0 h 92991"/>
                  <a:gd name="connsiteX13" fmla="*/ 60780 w 72702"/>
                  <a:gd name="connsiteY13" fmla="*/ 0 h 92991"/>
                  <a:gd name="connsiteX14" fmla="*/ 42903 w 72702"/>
                  <a:gd name="connsiteY14" fmla="*/ 33382 h 9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702" h="92991">
                    <a:moveTo>
                      <a:pt x="42903" y="33382"/>
                    </a:moveTo>
                    <a:lnTo>
                      <a:pt x="23839" y="1192"/>
                    </a:lnTo>
                    <a:lnTo>
                      <a:pt x="1193" y="1192"/>
                    </a:lnTo>
                    <a:lnTo>
                      <a:pt x="28606" y="45304"/>
                    </a:lnTo>
                    <a:lnTo>
                      <a:pt x="0" y="92992"/>
                    </a:lnTo>
                    <a:lnTo>
                      <a:pt x="21451" y="92992"/>
                    </a:lnTo>
                    <a:lnTo>
                      <a:pt x="41716" y="58418"/>
                    </a:lnTo>
                    <a:lnTo>
                      <a:pt x="61974" y="92992"/>
                    </a:lnTo>
                    <a:lnTo>
                      <a:pt x="64354" y="92992"/>
                    </a:lnTo>
                    <a:cubicBezTo>
                      <a:pt x="67935" y="87030"/>
                      <a:pt x="70316" y="81070"/>
                      <a:pt x="72703" y="73916"/>
                    </a:cubicBezTo>
                    <a:lnTo>
                      <a:pt x="54825" y="45304"/>
                    </a:lnTo>
                    <a:lnTo>
                      <a:pt x="71509" y="17883"/>
                    </a:lnTo>
                    <a:cubicBezTo>
                      <a:pt x="69122" y="11922"/>
                      <a:pt x="66741" y="5961"/>
                      <a:pt x="63167" y="0"/>
                    </a:cubicBezTo>
                    <a:lnTo>
                      <a:pt x="60780" y="0"/>
                    </a:lnTo>
                    <a:lnTo>
                      <a:pt x="42903" y="33382"/>
                    </a:lnTo>
                    <a:close/>
                  </a:path>
                </a:pathLst>
              </a:custGeom>
              <a:solidFill>
                <a:srgbClr val="2D5967"/>
              </a:solidFill>
              <a:ln w="6417" cap="flat">
                <a:noFill/>
                <a:prstDash val="solid"/>
                <a:miter/>
              </a:ln>
            </p:spPr>
            <p:txBody>
              <a:bodyPr rtlCol="0" anchor="ctr"/>
              <a:lstStyle/>
              <a:p>
                <a:endParaRPr lang="en-US"/>
              </a:p>
            </p:txBody>
          </p:sp>
          <p:sp>
            <p:nvSpPr>
              <p:cNvPr id="94" name="Freeform: Shape 116">
                <a:extLst>
                  <a:ext uri="{FF2B5EF4-FFF2-40B4-BE49-F238E27FC236}">
                    <a16:creationId xmlns:a16="http://schemas.microsoft.com/office/drawing/2014/main" id="{B2C8A712-B262-F29B-8109-0791AE195C20}"/>
                  </a:ext>
                </a:extLst>
              </p:cNvPr>
              <p:cNvSpPr/>
              <p:nvPr/>
            </p:nvSpPr>
            <p:spPr>
              <a:xfrm>
                <a:off x="2237642" y="2492952"/>
                <a:ext cx="236263" cy="236354"/>
              </a:xfrm>
              <a:custGeom>
                <a:avLst/>
                <a:gdLst>
                  <a:gd name="connsiteX0" fmla="*/ 117987 w 236263"/>
                  <a:gd name="connsiteY0" fmla="*/ 236355 h 236354"/>
                  <a:gd name="connsiteX1" fmla="*/ 201406 w 236263"/>
                  <a:gd name="connsiteY1" fmla="*/ 201781 h 236354"/>
                  <a:gd name="connsiteX2" fmla="*/ 201406 w 236263"/>
                  <a:gd name="connsiteY2" fmla="*/ 34872 h 236354"/>
                  <a:gd name="connsiteX3" fmla="*/ 34561 w 236263"/>
                  <a:gd name="connsiteY3" fmla="*/ 34872 h 236354"/>
                  <a:gd name="connsiteX4" fmla="*/ 0 w 236263"/>
                  <a:gd name="connsiteY4" fmla="*/ 118326 h 236354"/>
                  <a:gd name="connsiteX5" fmla="*/ 34561 w 236263"/>
                  <a:gd name="connsiteY5" fmla="*/ 201781 h 236354"/>
                  <a:gd name="connsiteX6" fmla="*/ 117987 w 236263"/>
                  <a:gd name="connsiteY6" fmla="*/ 236355 h 236354"/>
                  <a:gd name="connsiteX7" fmla="*/ 46477 w 236263"/>
                  <a:gd name="connsiteY7" fmla="*/ 46794 h 236354"/>
                  <a:gd name="connsiteX8" fmla="*/ 117987 w 236263"/>
                  <a:gd name="connsiteY8" fmla="*/ 16989 h 236354"/>
                  <a:gd name="connsiteX9" fmla="*/ 189489 w 236263"/>
                  <a:gd name="connsiteY9" fmla="*/ 46794 h 236354"/>
                  <a:gd name="connsiteX10" fmla="*/ 189489 w 236263"/>
                  <a:gd name="connsiteY10" fmla="*/ 189858 h 236354"/>
                  <a:gd name="connsiteX11" fmla="*/ 46477 w 236263"/>
                  <a:gd name="connsiteY11" fmla="*/ 189858 h 236354"/>
                  <a:gd name="connsiteX12" fmla="*/ 16684 w 236263"/>
                  <a:gd name="connsiteY12" fmla="*/ 118326 h 236354"/>
                  <a:gd name="connsiteX13" fmla="*/ 46477 w 236263"/>
                  <a:gd name="connsiteY13" fmla="*/ 46794 h 23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6263" h="236354">
                    <a:moveTo>
                      <a:pt x="117987" y="236355"/>
                    </a:moveTo>
                    <a:cubicBezTo>
                      <a:pt x="147780" y="236355"/>
                      <a:pt x="178767" y="224432"/>
                      <a:pt x="201406" y="201781"/>
                    </a:cubicBezTo>
                    <a:cubicBezTo>
                      <a:pt x="247883" y="155284"/>
                      <a:pt x="247883" y="81368"/>
                      <a:pt x="201406" y="34872"/>
                    </a:cubicBezTo>
                    <a:cubicBezTo>
                      <a:pt x="154928" y="-11624"/>
                      <a:pt x="81038" y="-11624"/>
                      <a:pt x="34561" y="34872"/>
                    </a:cubicBezTo>
                    <a:cubicBezTo>
                      <a:pt x="11916" y="57523"/>
                      <a:pt x="0" y="87329"/>
                      <a:pt x="0" y="118326"/>
                    </a:cubicBezTo>
                    <a:cubicBezTo>
                      <a:pt x="0" y="149323"/>
                      <a:pt x="11916" y="179128"/>
                      <a:pt x="34561" y="201781"/>
                    </a:cubicBezTo>
                    <a:cubicBezTo>
                      <a:pt x="58400" y="224432"/>
                      <a:pt x="88193" y="236355"/>
                      <a:pt x="117987" y="236355"/>
                    </a:cubicBezTo>
                    <a:close/>
                    <a:moveTo>
                      <a:pt x="46477" y="46794"/>
                    </a:moveTo>
                    <a:cubicBezTo>
                      <a:pt x="66742" y="26526"/>
                      <a:pt x="91767" y="16989"/>
                      <a:pt x="117987" y="16989"/>
                    </a:cubicBezTo>
                    <a:cubicBezTo>
                      <a:pt x="144206" y="16989"/>
                      <a:pt x="170425" y="26526"/>
                      <a:pt x="189489" y="46794"/>
                    </a:cubicBezTo>
                    <a:cubicBezTo>
                      <a:pt x="228818" y="86137"/>
                      <a:pt x="228818" y="150516"/>
                      <a:pt x="189489" y="189858"/>
                    </a:cubicBezTo>
                    <a:cubicBezTo>
                      <a:pt x="150161" y="229200"/>
                      <a:pt x="85806" y="229200"/>
                      <a:pt x="46477" y="189858"/>
                    </a:cubicBezTo>
                    <a:cubicBezTo>
                      <a:pt x="27413" y="170783"/>
                      <a:pt x="16684" y="145747"/>
                      <a:pt x="16684" y="118326"/>
                    </a:cubicBezTo>
                    <a:cubicBezTo>
                      <a:pt x="16684" y="90905"/>
                      <a:pt x="27413" y="65869"/>
                      <a:pt x="46477" y="46794"/>
                    </a:cubicBezTo>
                    <a:close/>
                  </a:path>
                </a:pathLst>
              </a:custGeom>
              <a:solidFill>
                <a:srgbClr val="2D5967"/>
              </a:solidFill>
              <a:ln w="6417" cap="flat">
                <a:noFill/>
                <a:prstDash val="solid"/>
                <a:miter/>
              </a:ln>
            </p:spPr>
            <p:txBody>
              <a:bodyPr rtlCol="0" anchor="ctr"/>
              <a:lstStyle/>
              <a:p>
                <a:endParaRPr lang="en-US"/>
              </a:p>
            </p:txBody>
          </p:sp>
        </p:grpSp>
      </p:grpSp>
      <p:sp>
        <p:nvSpPr>
          <p:cNvPr id="97" name="TextBox 119">
            <a:extLst>
              <a:ext uri="{FF2B5EF4-FFF2-40B4-BE49-F238E27FC236}">
                <a16:creationId xmlns:a16="http://schemas.microsoft.com/office/drawing/2014/main" id="{21BB70BB-A9A7-D17F-F9A8-2FFCAB7AF4CB}"/>
              </a:ext>
            </a:extLst>
          </p:cNvPr>
          <p:cNvSpPr txBox="1"/>
          <p:nvPr/>
        </p:nvSpPr>
        <p:spPr>
          <a:xfrm>
            <a:off x="4266866" y="3569412"/>
            <a:ext cx="914400" cy="914400"/>
          </a:xfrm>
          <a:prstGeom prst="rect">
            <a:avLst/>
          </a:prstGeom>
          <a:noFill/>
        </p:spPr>
        <p:txBody>
          <a:bodyPr wrap="none" lIns="0" tIns="0" rIns="0" bIns="0" rtlCol="0">
            <a:noAutofit/>
          </a:bodyPr>
          <a:lstStyle/>
          <a:p>
            <a:pPr algn="ctr" defTabSz="228600">
              <a:spcAft>
                <a:spcPts val="1200"/>
              </a:spcAft>
            </a:pPr>
            <a:r>
              <a:rPr lang="de-CH" sz="1400" noProof="0" dirty="0">
                <a:solidFill>
                  <a:schemeClr val="bg1">
                    <a:lumMod val="50000"/>
                  </a:schemeClr>
                </a:solidFill>
              </a:rPr>
              <a:t>0.0.0.0/0</a:t>
            </a:r>
          </a:p>
        </p:txBody>
      </p:sp>
      <p:pic>
        <p:nvPicPr>
          <p:cNvPr id="98" name="Graphic 120" descr="Siren outline">
            <a:extLst>
              <a:ext uri="{FF2B5EF4-FFF2-40B4-BE49-F238E27FC236}">
                <a16:creationId xmlns:a16="http://schemas.microsoft.com/office/drawing/2014/main" id="{DBDDF4A7-D7E1-B5E4-F8E6-2F4F0068997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118465" y="3290257"/>
            <a:ext cx="616634" cy="616634"/>
          </a:xfrm>
          <a:prstGeom prst="rect">
            <a:avLst/>
          </a:prstGeom>
        </p:spPr>
      </p:pic>
      <p:sp>
        <p:nvSpPr>
          <p:cNvPr id="99" name="TextBox 121">
            <a:extLst>
              <a:ext uri="{FF2B5EF4-FFF2-40B4-BE49-F238E27FC236}">
                <a16:creationId xmlns:a16="http://schemas.microsoft.com/office/drawing/2014/main" id="{4D427D9D-B500-2C5D-7549-22BAA3745019}"/>
              </a:ext>
            </a:extLst>
          </p:cNvPr>
          <p:cNvSpPr txBox="1"/>
          <p:nvPr/>
        </p:nvSpPr>
        <p:spPr>
          <a:xfrm>
            <a:off x="6888873" y="2543700"/>
            <a:ext cx="914400" cy="914400"/>
          </a:xfrm>
          <a:prstGeom prst="rect">
            <a:avLst/>
          </a:prstGeom>
          <a:noFill/>
        </p:spPr>
        <p:txBody>
          <a:bodyPr wrap="none" lIns="0" tIns="0" rIns="0" bIns="0" rtlCol="0">
            <a:noAutofit/>
          </a:bodyPr>
          <a:lstStyle/>
          <a:p>
            <a:pPr algn="ctr" defTabSz="228600">
              <a:spcAft>
                <a:spcPts val="1200"/>
              </a:spcAft>
            </a:pPr>
            <a:r>
              <a:rPr lang="de-CH" sz="1400" noProof="0" dirty="0">
                <a:solidFill>
                  <a:schemeClr val="bg1">
                    <a:lumMod val="50000"/>
                  </a:schemeClr>
                </a:solidFill>
              </a:rPr>
              <a:t>Mail </a:t>
            </a:r>
            <a:r>
              <a:rPr lang="de-CH" sz="1400" noProof="0" dirty="0" err="1">
                <a:solidFill>
                  <a:schemeClr val="bg1">
                    <a:lumMod val="50000"/>
                  </a:schemeClr>
                </a:solidFill>
              </a:rPr>
              <a:t>Notification</a:t>
            </a:r>
            <a:endParaRPr lang="de-CH" sz="1400" noProof="0" dirty="0">
              <a:solidFill>
                <a:schemeClr val="bg1">
                  <a:lumMod val="50000"/>
                </a:schemeClr>
              </a:solidFill>
            </a:endParaRPr>
          </a:p>
        </p:txBody>
      </p:sp>
      <p:sp>
        <p:nvSpPr>
          <p:cNvPr id="100" name="TextBox 122">
            <a:extLst>
              <a:ext uri="{FF2B5EF4-FFF2-40B4-BE49-F238E27FC236}">
                <a16:creationId xmlns:a16="http://schemas.microsoft.com/office/drawing/2014/main" id="{0B4B1873-0018-5117-87C3-70826441CB25}"/>
              </a:ext>
            </a:extLst>
          </p:cNvPr>
          <p:cNvSpPr txBox="1"/>
          <p:nvPr/>
        </p:nvSpPr>
        <p:spPr>
          <a:xfrm>
            <a:off x="7074950" y="3532687"/>
            <a:ext cx="914400" cy="914400"/>
          </a:xfrm>
          <a:prstGeom prst="rect">
            <a:avLst/>
          </a:prstGeom>
          <a:noFill/>
        </p:spPr>
        <p:txBody>
          <a:bodyPr wrap="none" lIns="0" tIns="0" rIns="0" bIns="0" rtlCol="0">
            <a:noAutofit/>
          </a:bodyPr>
          <a:lstStyle/>
          <a:p>
            <a:pPr algn="ctr" defTabSz="228600">
              <a:spcAft>
                <a:spcPts val="1200"/>
              </a:spcAft>
            </a:pPr>
            <a:r>
              <a:rPr lang="de-CH" sz="1400" noProof="0" dirty="0">
                <a:solidFill>
                  <a:schemeClr val="bg1">
                    <a:lumMod val="50000"/>
                  </a:schemeClr>
                </a:solidFill>
              </a:rPr>
              <a:t>Stream Information</a:t>
            </a:r>
          </a:p>
        </p:txBody>
      </p:sp>
      <p:sp>
        <p:nvSpPr>
          <p:cNvPr id="101" name="TextBox 123">
            <a:extLst>
              <a:ext uri="{FF2B5EF4-FFF2-40B4-BE49-F238E27FC236}">
                <a16:creationId xmlns:a16="http://schemas.microsoft.com/office/drawing/2014/main" id="{9DA3CAC0-C770-8B4E-D557-AB4D7C2024C5}"/>
              </a:ext>
            </a:extLst>
          </p:cNvPr>
          <p:cNvSpPr txBox="1"/>
          <p:nvPr/>
        </p:nvSpPr>
        <p:spPr>
          <a:xfrm>
            <a:off x="9407666" y="4569701"/>
            <a:ext cx="1480557" cy="914400"/>
          </a:xfrm>
          <a:prstGeom prst="rect">
            <a:avLst/>
          </a:prstGeom>
          <a:noFill/>
        </p:spPr>
        <p:txBody>
          <a:bodyPr wrap="none" lIns="0" tIns="0" rIns="0" bIns="0" rtlCol="0">
            <a:noAutofit/>
          </a:bodyPr>
          <a:lstStyle/>
          <a:p>
            <a:pPr defTabSz="228600">
              <a:spcAft>
                <a:spcPts val="1200"/>
              </a:spcAft>
            </a:pPr>
            <a:r>
              <a:rPr lang="de-CH" sz="1400" noProof="0" dirty="0">
                <a:solidFill>
                  <a:schemeClr val="bg1">
                    <a:lumMod val="50000"/>
                  </a:schemeClr>
                </a:solidFill>
              </a:rPr>
              <a:t>Shutdown</a:t>
            </a:r>
          </a:p>
        </p:txBody>
      </p:sp>
      <p:pic>
        <p:nvPicPr>
          <p:cNvPr id="102" name="Graphic 124" descr="Clapper board outline">
            <a:extLst>
              <a:ext uri="{FF2B5EF4-FFF2-40B4-BE49-F238E27FC236}">
                <a16:creationId xmlns:a16="http://schemas.microsoft.com/office/drawing/2014/main" id="{3AAFAF5C-6350-01A1-F56B-3C4C3EFD95A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570728" y="3252590"/>
            <a:ext cx="602863" cy="602863"/>
          </a:xfrm>
          <a:prstGeom prst="rect">
            <a:avLst/>
          </a:prstGeom>
        </p:spPr>
      </p:pic>
      <p:grpSp>
        <p:nvGrpSpPr>
          <p:cNvPr id="103" name="Graphic 2">
            <a:extLst>
              <a:ext uri="{FF2B5EF4-FFF2-40B4-BE49-F238E27FC236}">
                <a16:creationId xmlns:a16="http://schemas.microsoft.com/office/drawing/2014/main" id="{60C5F8BF-780A-D916-0816-9BE16C470019}"/>
              </a:ext>
            </a:extLst>
          </p:cNvPr>
          <p:cNvGrpSpPr/>
          <p:nvPr/>
        </p:nvGrpSpPr>
        <p:grpSpPr>
          <a:xfrm>
            <a:off x="1025541" y="4474916"/>
            <a:ext cx="514566" cy="513347"/>
            <a:chOff x="1079107" y="3005488"/>
            <a:chExt cx="514566" cy="513347"/>
          </a:xfrm>
        </p:grpSpPr>
        <p:grpSp>
          <p:nvGrpSpPr>
            <p:cNvPr id="104" name="Graphic 2">
              <a:extLst>
                <a:ext uri="{FF2B5EF4-FFF2-40B4-BE49-F238E27FC236}">
                  <a16:creationId xmlns:a16="http://schemas.microsoft.com/office/drawing/2014/main" id="{70C58FDB-3207-FF6F-27D2-67E3B28EAAEA}"/>
                </a:ext>
              </a:extLst>
            </p:cNvPr>
            <p:cNvGrpSpPr/>
            <p:nvPr/>
          </p:nvGrpSpPr>
          <p:grpSpPr>
            <a:xfrm>
              <a:off x="1079107" y="3005488"/>
              <a:ext cx="514566" cy="513347"/>
              <a:chOff x="1079107" y="3005488"/>
              <a:chExt cx="514566" cy="513347"/>
            </a:xfrm>
            <a:solidFill>
              <a:srgbClr val="FFFFFF"/>
            </a:solidFill>
          </p:grpSpPr>
          <p:sp>
            <p:nvSpPr>
              <p:cNvPr id="113" name="Freeform: Shape 139">
                <a:extLst>
                  <a:ext uri="{FF2B5EF4-FFF2-40B4-BE49-F238E27FC236}">
                    <a16:creationId xmlns:a16="http://schemas.microsoft.com/office/drawing/2014/main" id="{31CA1E21-D98E-1A4E-74C4-B693246139C0}"/>
                  </a:ext>
                </a:extLst>
              </p:cNvPr>
              <p:cNvSpPr/>
              <p:nvPr/>
            </p:nvSpPr>
            <p:spPr>
              <a:xfrm>
                <a:off x="1085216" y="3011597"/>
                <a:ext cx="502348" cy="502348"/>
              </a:xfrm>
              <a:custGeom>
                <a:avLst/>
                <a:gdLst>
                  <a:gd name="connsiteX0" fmla="*/ 26893 w 502348"/>
                  <a:gd name="connsiteY0" fmla="*/ 501123 h 502348"/>
                  <a:gd name="connsiteX1" fmla="*/ 0 w 502348"/>
                  <a:gd name="connsiteY1" fmla="*/ 474236 h 502348"/>
                  <a:gd name="connsiteX2" fmla="*/ 0 w 502348"/>
                  <a:gd name="connsiteY2" fmla="*/ 26890 h 502348"/>
                  <a:gd name="connsiteX3" fmla="*/ 26893 w 502348"/>
                  <a:gd name="connsiteY3" fmla="*/ 0 h 502348"/>
                  <a:gd name="connsiteX4" fmla="*/ 475462 w 502348"/>
                  <a:gd name="connsiteY4" fmla="*/ 0 h 502348"/>
                  <a:gd name="connsiteX5" fmla="*/ 502349 w 502348"/>
                  <a:gd name="connsiteY5" fmla="*/ 26890 h 502348"/>
                  <a:gd name="connsiteX6" fmla="*/ 502349 w 502348"/>
                  <a:gd name="connsiteY6" fmla="*/ 475455 h 502348"/>
                  <a:gd name="connsiteX7" fmla="*/ 475462 w 502348"/>
                  <a:gd name="connsiteY7" fmla="*/ 502348 h 502348"/>
                  <a:gd name="connsiteX8" fmla="*/ 26893 w 502348"/>
                  <a:gd name="connsiteY8" fmla="*/ 501123 h 5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2348" h="502348">
                    <a:moveTo>
                      <a:pt x="26893" y="501123"/>
                    </a:moveTo>
                    <a:cubicBezTo>
                      <a:pt x="12224" y="501123"/>
                      <a:pt x="0" y="488905"/>
                      <a:pt x="0" y="474236"/>
                    </a:cubicBezTo>
                    <a:lnTo>
                      <a:pt x="0" y="26890"/>
                    </a:lnTo>
                    <a:cubicBezTo>
                      <a:pt x="0" y="12223"/>
                      <a:pt x="12224" y="0"/>
                      <a:pt x="26893" y="0"/>
                    </a:cubicBezTo>
                    <a:lnTo>
                      <a:pt x="475462" y="0"/>
                    </a:lnTo>
                    <a:cubicBezTo>
                      <a:pt x="490125" y="0"/>
                      <a:pt x="502349" y="12223"/>
                      <a:pt x="502349" y="26890"/>
                    </a:cubicBezTo>
                    <a:lnTo>
                      <a:pt x="502349" y="475455"/>
                    </a:lnTo>
                    <a:cubicBezTo>
                      <a:pt x="502349" y="490124"/>
                      <a:pt x="490125" y="502348"/>
                      <a:pt x="475462" y="502348"/>
                    </a:cubicBezTo>
                    <a:lnTo>
                      <a:pt x="26893" y="501123"/>
                    </a:lnTo>
                    <a:close/>
                  </a:path>
                </a:pathLst>
              </a:custGeom>
              <a:solidFill>
                <a:srgbClr val="FFFFFF"/>
              </a:solidFill>
              <a:ln w="6417" cap="flat">
                <a:noFill/>
                <a:prstDash val="solid"/>
                <a:miter/>
              </a:ln>
            </p:spPr>
            <p:txBody>
              <a:bodyPr rtlCol="0" anchor="ctr"/>
              <a:lstStyle/>
              <a:p>
                <a:endParaRPr lang="en-US"/>
              </a:p>
            </p:txBody>
          </p:sp>
          <p:sp>
            <p:nvSpPr>
              <p:cNvPr id="114" name="Freeform: Shape 140">
                <a:extLst>
                  <a:ext uri="{FF2B5EF4-FFF2-40B4-BE49-F238E27FC236}">
                    <a16:creationId xmlns:a16="http://schemas.microsoft.com/office/drawing/2014/main" id="{4157D19E-B9F8-5A38-89F3-C9BCBCE409EE}"/>
                  </a:ext>
                </a:extLst>
              </p:cNvPr>
              <p:cNvSpPr/>
              <p:nvPr/>
            </p:nvSpPr>
            <p:spPr>
              <a:xfrm>
                <a:off x="1079107" y="3005488"/>
                <a:ext cx="514566" cy="513347"/>
              </a:xfrm>
              <a:custGeom>
                <a:avLst/>
                <a:gdLst>
                  <a:gd name="connsiteX0" fmla="*/ 480346 w 514566"/>
                  <a:gd name="connsiteY0" fmla="*/ 12223 h 513347"/>
                  <a:gd name="connsiteX1" fmla="*/ 501123 w 514566"/>
                  <a:gd name="connsiteY1" fmla="*/ 33001 h 513347"/>
                  <a:gd name="connsiteX2" fmla="*/ 501123 w 514566"/>
                  <a:gd name="connsiteY2" fmla="*/ 481571 h 513347"/>
                  <a:gd name="connsiteX3" fmla="*/ 480346 w 514566"/>
                  <a:gd name="connsiteY3" fmla="*/ 502349 h 513347"/>
                  <a:gd name="connsiteX4" fmla="*/ 33002 w 514566"/>
                  <a:gd name="connsiteY4" fmla="*/ 502349 h 513347"/>
                  <a:gd name="connsiteX5" fmla="*/ 12224 w 514566"/>
                  <a:gd name="connsiteY5" fmla="*/ 480345 h 513347"/>
                  <a:gd name="connsiteX6" fmla="*/ 12224 w 514566"/>
                  <a:gd name="connsiteY6" fmla="*/ 33001 h 513347"/>
                  <a:gd name="connsiteX7" fmla="*/ 33002 w 514566"/>
                  <a:gd name="connsiteY7" fmla="*/ 12223 h 513347"/>
                  <a:gd name="connsiteX8" fmla="*/ 480346 w 514566"/>
                  <a:gd name="connsiteY8" fmla="*/ 12223 h 513347"/>
                  <a:gd name="connsiteX9" fmla="*/ 480346 w 514566"/>
                  <a:gd name="connsiteY9" fmla="*/ 0 h 513347"/>
                  <a:gd name="connsiteX10" fmla="*/ 33002 w 514566"/>
                  <a:gd name="connsiteY10" fmla="*/ 0 h 513347"/>
                  <a:gd name="connsiteX11" fmla="*/ 0 w 514566"/>
                  <a:gd name="connsiteY11" fmla="*/ 33001 h 513347"/>
                  <a:gd name="connsiteX12" fmla="*/ 0 w 514566"/>
                  <a:gd name="connsiteY12" fmla="*/ 481571 h 513347"/>
                  <a:gd name="connsiteX13" fmla="*/ 33002 w 514566"/>
                  <a:gd name="connsiteY13" fmla="*/ 513347 h 513347"/>
                  <a:gd name="connsiteX14" fmla="*/ 481571 w 514566"/>
                  <a:gd name="connsiteY14" fmla="*/ 513347 h 513347"/>
                  <a:gd name="connsiteX15" fmla="*/ 514567 w 514566"/>
                  <a:gd name="connsiteY15" fmla="*/ 480345 h 513347"/>
                  <a:gd name="connsiteX16" fmla="*/ 514567 w 514566"/>
                  <a:gd name="connsiteY16" fmla="*/ 33001 h 513347"/>
                  <a:gd name="connsiteX17" fmla="*/ 480346 w 514566"/>
                  <a:gd name="connsiteY17" fmla="*/ 0 h 51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4566" h="513347">
                    <a:moveTo>
                      <a:pt x="480346" y="12223"/>
                    </a:moveTo>
                    <a:cubicBezTo>
                      <a:pt x="491344" y="12223"/>
                      <a:pt x="501123" y="22001"/>
                      <a:pt x="501123" y="33001"/>
                    </a:cubicBezTo>
                    <a:lnTo>
                      <a:pt x="501123" y="481571"/>
                    </a:lnTo>
                    <a:cubicBezTo>
                      <a:pt x="501123" y="492570"/>
                      <a:pt x="491344" y="502349"/>
                      <a:pt x="480346" y="502349"/>
                    </a:cubicBezTo>
                    <a:lnTo>
                      <a:pt x="33002" y="502349"/>
                    </a:lnTo>
                    <a:cubicBezTo>
                      <a:pt x="22003" y="501123"/>
                      <a:pt x="12224" y="491344"/>
                      <a:pt x="12224" y="480345"/>
                    </a:cubicBezTo>
                    <a:lnTo>
                      <a:pt x="12224" y="33001"/>
                    </a:lnTo>
                    <a:cubicBezTo>
                      <a:pt x="12224" y="22001"/>
                      <a:pt x="22003" y="12223"/>
                      <a:pt x="33002" y="12223"/>
                    </a:cubicBezTo>
                    <a:lnTo>
                      <a:pt x="480346" y="12223"/>
                    </a:lnTo>
                    <a:close/>
                    <a:moveTo>
                      <a:pt x="480346" y="0"/>
                    </a:moveTo>
                    <a:lnTo>
                      <a:pt x="33002" y="0"/>
                    </a:lnTo>
                    <a:cubicBezTo>
                      <a:pt x="14669" y="0"/>
                      <a:pt x="0" y="14667"/>
                      <a:pt x="0" y="33001"/>
                    </a:cubicBezTo>
                    <a:lnTo>
                      <a:pt x="0" y="481571"/>
                    </a:lnTo>
                    <a:cubicBezTo>
                      <a:pt x="0" y="498678"/>
                      <a:pt x="14669" y="513347"/>
                      <a:pt x="33002" y="513347"/>
                    </a:cubicBezTo>
                    <a:lnTo>
                      <a:pt x="481571" y="513347"/>
                    </a:lnTo>
                    <a:cubicBezTo>
                      <a:pt x="499904" y="513347"/>
                      <a:pt x="514567" y="498678"/>
                      <a:pt x="514567" y="480345"/>
                    </a:cubicBezTo>
                    <a:lnTo>
                      <a:pt x="514567" y="33001"/>
                    </a:lnTo>
                    <a:cubicBezTo>
                      <a:pt x="513347" y="14667"/>
                      <a:pt x="498679" y="0"/>
                      <a:pt x="480346" y="0"/>
                    </a:cubicBezTo>
                    <a:close/>
                  </a:path>
                </a:pathLst>
              </a:custGeom>
              <a:solidFill>
                <a:srgbClr val="FFFFFF"/>
              </a:solidFill>
              <a:ln w="6417" cap="flat">
                <a:noFill/>
                <a:prstDash val="solid"/>
                <a:miter/>
              </a:ln>
            </p:spPr>
            <p:txBody>
              <a:bodyPr rtlCol="0" anchor="ctr"/>
              <a:lstStyle/>
              <a:p>
                <a:endParaRPr lang="en-US"/>
              </a:p>
            </p:txBody>
          </p:sp>
        </p:grpSp>
        <p:grpSp>
          <p:nvGrpSpPr>
            <p:cNvPr id="105" name="Graphic 2">
              <a:extLst>
                <a:ext uri="{FF2B5EF4-FFF2-40B4-BE49-F238E27FC236}">
                  <a16:creationId xmlns:a16="http://schemas.microsoft.com/office/drawing/2014/main" id="{4FD0AB42-064D-331F-8C77-499A9A09D089}"/>
                </a:ext>
              </a:extLst>
            </p:cNvPr>
            <p:cNvGrpSpPr/>
            <p:nvPr/>
          </p:nvGrpSpPr>
          <p:grpSpPr>
            <a:xfrm>
              <a:off x="1091331" y="3017710"/>
              <a:ext cx="490124" cy="488900"/>
              <a:chOff x="1091331" y="3017710"/>
              <a:chExt cx="490124" cy="488900"/>
            </a:xfrm>
            <a:solidFill>
              <a:srgbClr val="2D5967"/>
            </a:solidFill>
          </p:grpSpPr>
          <p:sp>
            <p:nvSpPr>
              <p:cNvPr id="106" name="Freeform: Shape 132">
                <a:extLst>
                  <a:ext uri="{FF2B5EF4-FFF2-40B4-BE49-F238E27FC236}">
                    <a16:creationId xmlns:a16="http://schemas.microsoft.com/office/drawing/2014/main" id="{39041F08-1084-09CC-1BD5-A44BC08F2642}"/>
                  </a:ext>
                </a:extLst>
              </p:cNvPr>
              <p:cNvSpPr/>
              <p:nvPr/>
            </p:nvSpPr>
            <p:spPr>
              <a:xfrm>
                <a:off x="1091331" y="3017710"/>
                <a:ext cx="490124" cy="488900"/>
              </a:xfrm>
              <a:custGeom>
                <a:avLst/>
                <a:gdLst>
                  <a:gd name="connsiteX0" fmla="*/ 468121 w 490124"/>
                  <a:gd name="connsiteY0" fmla="*/ 0 h 488900"/>
                  <a:gd name="connsiteX1" fmla="*/ 20778 w 490124"/>
                  <a:gd name="connsiteY1" fmla="*/ 0 h 488900"/>
                  <a:gd name="connsiteX2" fmla="*/ 0 w 490124"/>
                  <a:gd name="connsiteY2" fmla="*/ 20778 h 488900"/>
                  <a:gd name="connsiteX3" fmla="*/ 0 w 490124"/>
                  <a:gd name="connsiteY3" fmla="*/ 469348 h 488900"/>
                  <a:gd name="connsiteX4" fmla="*/ 20778 w 490124"/>
                  <a:gd name="connsiteY4" fmla="*/ 488900 h 488900"/>
                  <a:gd name="connsiteX5" fmla="*/ 469347 w 490124"/>
                  <a:gd name="connsiteY5" fmla="*/ 488900 h 488900"/>
                  <a:gd name="connsiteX6" fmla="*/ 490125 w 490124"/>
                  <a:gd name="connsiteY6" fmla="*/ 468123 h 488900"/>
                  <a:gd name="connsiteX7" fmla="*/ 490125 w 490124"/>
                  <a:gd name="connsiteY7" fmla="*/ 20778 h 488900"/>
                  <a:gd name="connsiteX8" fmla="*/ 468121 w 490124"/>
                  <a:gd name="connsiteY8" fmla="*/ 0 h 488900"/>
                  <a:gd name="connsiteX9" fmla="*/ 470566 w 490124"/>
                  <a:gd name="connsiteY9" fmla="*/ 468123 h 488900"/>
                  <a:gd name="connsiteX10" fmla="*/ 468121 w 490124"/>
                  <a:gd name="connsiteY10" fmla="*/ 470567 h 488900"/>
                  <a:gd name="connsiteX11" fmla="*/ 20778 w 490124"/>
                  <a:gd name="connsiteY11" fmla="*/ 470567 h 488900"/>
                  <a:gd name="connsiteX12" fmla="*/ 18333 w 490124"/>
                  <a:gd name="connsiteY12" fmla="*/ 468123 h 488900"/>
                  <a:gd name="connsiteX13" fmla="*/ 18333 w 490124"/>
                  <a:gd name="connsiteY13" fmla="*/ 20778 h 488900"/>
                  <a:gd name="connsiteX14" fmla="*/ 20778 w 490124"/>
                  <a:gd name="connsiteY14" fmla="*/ 18334 h 488900"/>
                  <a:gd name="connsiteX15" fmla="*/ 469347 w 490124"/>
                  <a:gd name="connsiteY15" fmla="*/ 18334 h 488900"/>
                  <a:gd name="connsiteX16" fmla="*/ 471792 w 490124"/>
                  <a:gd name="connsiteY16" fmla="*/ 20778 h 488900"/>
                  <a:gd name="connsiteX17" fmla="*/ 470566 w 490124"/>
                  <a:gd name="connsiteY17" fmla="*/ 468123 h 48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124" h="488900">
                    <a:moveTo>
                      <a:pt x="468121" y="0"/>
                    </a:moveTo>
                    <a:lnTo>
                      <a:pt x="20778" y="0"/>
                    </a:lnTo>
                    <a:cubicBezTo>
                      <a:pt x="9779" y="0"/>
                      <a:pt x="0" y="9778"/>
                      <a:pt x="0" y="20778"/>
                    </a:cubicBezTo>
                    <a:lnTo>
                      <a:pt x="0" y="469348"/>
                    </a:lnTo>
                    <a:cubicBezTo>
                      <a:pt x="0" y="479121"/>
                      <a:pt x="9779" y="488900"/>
                      <a:pt x="20778" y="488900"/>
                    </a:cubicBezTo>
                    <a:lnTo>
                      <a:pt x="469347" y="488900"/>
                    </a:lnTo>
                    <a:cubicBezTo>
                      <a:pt x="480346" y="488900"/>
                      <a:pt x="490125" y="479121"/>
                      <a:pt x="490125" y="468123"/>
                    </a:cubicBezTo>
                    <a:lnTo>
                      <a:pt x="490125" y="20778"/>
                    </a:lnTo>
                    <a:cubicBezTo>
                      <a:pt x="488899" y="9778"/>
                      <a:pt x="479120" y="0"/>
                      <a:pt x="468121" y="0"/>
                    </a:cubicBezTo>
                    <a:close/>
                    <a:moveTo>
                      <a:pt x="470566" y="468123"/>
                    </a:moveTo>
                    <a:cubicBezTo>
                      <a:pt x="470566" y="469348"/>
                      <a:pt x="469347" y="470567"/>
                      <a:pt x="468121" y="470567"/>
                    </a:cubicBezTo>
                    <a:lnTo>
                      <a:pt x="20778" y="470567"/>
                    </a:lnTo>
                    <a:cubicBezTo>
                      <a:pt x="19552" y="470567"/>
                      <a:pt x="18333" y="469348"/>
                      <a:pt x="18333" y="468123"/>
                    </a:cubicBezTo>
                    <a:lnTo>
                      <a:pt x="18333" y="20778"/>
                    </a:lnTo>
                    <a:cubicBezTo>
                      <a:pt x="18333" y="19556"/>
                      <a:pt x="19552" y="18334"/>
                      <a:pt x="20778" y="18334"/>
                    </a:cubicBezTo>
                    <a:lnTo>
                      <a:pt x="469347" y="18334"/>
                    </a:lnTo>
                    <a:cubicBezTo>
                      <a:pt x="470566" y="18334"/>
                      <a:pt x="471792" y="19556"/>
                      <a:pt x="471792" y="20778"/>
                    </a:cubicBezTo>
                    <a:lnTo>
                      <a:pt x="470566" y="468123"/>
                    </a:lnTo>
                    <a:close/>
                  </a:path>
                </a:pathLst>
              </a:custGeom>
              <a:solidFill>
                <a:srgbClr val="2D5967"/>
              </a:solidFill>
              <a:ln w="6417" cap="flat">
                <a:noFill/>
                <a:prstDash val="solid"/>
                <a:miter/>
              </a:ln>
            </p:spPr>
            <p:txBody>
              <a:bodyPr rtlCol="0" anchor="ctr"/>
              <a:lstStyle/>
              <a:p>
                <a:endParaRPr lang="en-US"/>
              </a:p>
            </p:txBody>
          </p:sp>
          <p:sp>
            <p:nvSpPr>
              <p:cNvPr id="107" name="Freeform: Shape 133">
                <a:extLst>
                  <a:ext uri="{FF2B5EF4-FFF2-40B4-BE49-F238E27FC236}">
                    <a16:creationId xmlns:a16="http://schemas.microsoft.com/office/drawing/2014/main" id="{344ABE48-E78C-1941-B0A9-6EDB28F8A2A8}"/>
                  </a:ext>
                </a:extLst>
              </p:cNvPr>
              <p:cNvSpPr/>
              <p:nvPr/>
            </p:nvSpPr>
            <p:spPr>
              <a:xfrm>
                <a:off x="1145111" y="3341608"/>
                <a:ext cx="380120" cy="108778"/>
              </a:xfrm>
              <a:custGeom>
                <a:avLst/>
                <a:gdLst>
                  <a:gd name="connsiteX0" fmla="*/ 0 w 380120"/>
                  <a:gd name="connsiteY0" fmla="*/ 108778 h 108778"/>
                  <a:gd name="connsiteX1" fmla="*/ 380121 w 380120"/>
                  <a:gd name="connsiteY1" fmla="*/ 108778 h 108778"/>
                  <a:gd name="connsiteX2" fmla="*/ 380121 w 380120"/>
                  <a:gd name="connsiteY2" fmla="*/ 0 h 108778"/>
                  <a:gd name="connsiteX3" fmla="*/ 0 w 380120"/>
                  <a:gd name="connsiteY3" fmla="*/ 0 h 108778"/>
                  <a:gd name="connsiteX4" fmla="*/ 0 w 380120"/>
                  <a:gd name="connsiteY4" fmla="*/ 108778 h 108778"/>
                  <a:gd name="connsiteX5" fmla="*/ 18333 w 380120"/>
                  <a:gd name="connsiteY5" fmla="*/ 18333 h 108778"/>
                  <a:gd name="connsiteX6" fmla="*/ 361788 w 380120"/>
                  <a:gd name="connsiteY6" fmla="*/ 18333 h 108778"/>
                  <a:gd name="connsiteX7" fmla="*/ 361788 w 380120"/>
                  <a:gd name="connsiteY7" fmla="*/ 90445 h 108778"/>
                  <a:gd name="connsiteX8" fmla="*/ 18333 w 380120"/>
                  <a:gd name="connsiteY8" fmla="*/ 90445 h 108778"/>
                  <a:gd name="connsiteX9" fmla="*/ 18333 w 380120"/>
                  <a:gd name="connsiteY9" fmla="*/ 18333 h 108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0120" h="108778">
                    <a:moveTo>
                      <a:pt x="0" y="108778"/>
                    </a:moveTo>
                    <a:lnTo>
                      <a:pt x="380121" y="108778"/>
                    </a:lnTo>
                    <a:lnTo>
                      <a:pt x="380121" y="0"/>
                    </a:lnTo>
                    <a:lnTo>
                      <a:pt x="0" y="0"/>
                    </a:lnTo>
                    <a:lnTo>
                      <a:pt x="0" y="108778"/>
                    </a:lnTo>
                    <a:close/>
                    <a:moveTo>
                      <a:pt x="18333" y="18333"/>
                    </a:moveTo>
                    <a:lnTo>
                      <a:pt x="361788" y="18333"/>
                    </a:lnTo>
                    <a:lnTo>
                      <a:pt x="361788" y="90445"/>
                    </a:lnTo>
                    <a:lnTo>
                      <a:pt x="18333" y="90445"/>
                    </a:lnTo>
                    <a:lnTo>
                      <a:pt x="18333" y="18333"/>
                    </a:lnTo>
                    <a:close/>
                  </a:path>
                </a:pathLst>
              </a:custGeom>
              <a:solidFill>
                <a:srgbClr val="2D5967"/>
              </a:solidFill>
              <a:ln w="6417" cap="flat">
                <a:noFill/>
                <a:prstDash val="solid"/>
                <a:miter/>
              </a:ln>
            </p:spPr>
            <p:txBody>
              <a:bodyPr rtlCol="0" anchor="ctr"/>
              <a:lstStyle/>
              <a:p>
                <a:endParaRPr lang="en-US"/>
              </a:p>
            </p:txBody>
          </p:sp>
          <p:sp>
            <p:nvSpPr>
              <p:cNvPr id="108" name="Freeform: Shape 134">
                <a:extLst>
                  <a:ext uri="{FF2B5EF4-FFF2-40B4-BE49-F238E27FC236}">
                    <a16:creationId xmlns:a16="http://schemas.microsoft.com/office/drawing/2014/main" id="{CD403BB9-0C16-5C2F-94EB-79B059C7656C}"/>
                  </a:ext>
                </a:extLst>
              </p:cNvPr>
              <p:cNvSpPr/>
              <p:nvPr/>
            </p:nvSpPr>
            <p:spPr>
              <a:xfrm>
                <a:off x="1453119" y="3381944"/>
                <a:ext cx="26886" cy="26886"/>
              </a:xfrm>
              <a:custGeom>
                <a:avLst/>
                <a:gdLst>
                  <a:gd name="connsiteX0" fmla="*/ 13443 w 26886"/>
                  <a:gd name="connsiteY0" fmla="*/ 26887 h 26886"/>
                  <a:gd name="connsiteX1" fmla="*/ 26887 w 26886"/>
                  <a:gd name="connsiteY1" fmla="*/ 13443 h 26886"/>
                  <a:gd name="connsiteX2" fmla="*/ 13443 w 26886"/>
                  <a:gd name="connsiteY2" fmla="*/ 0 h 26886"/>
                  <a:gd name="connsiteX3" fmla="*/ 0 w 26886"/>
                  <a:gd name="connsiteY3" fmla="*/ 13443 h 26886"/>
                  <a:gd name="connsiteX4" fmla="*/ 13443 w 26886"/>
                  <a:gd name="connsiteY4" fmla="*/ 26887 h 26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86" h="26886">
                    <a:moveTo>
                      <a:pt x="13443" y="26887"/>
                    </a:moveTo>
                    <a:cubicBezTo>
                      <a:pt x="20868" y="26887"/>
                      <a:pt x="26887" y="20868"/>
                      <a:pt x="26887" y="13443"/>
                    </a:cubicBezTo>
                    <a:cubicBezTo>
                      <a:pt x="26887" y="6019"/>
                      <a:pt x="20868" y="0"/>
                      <a:pt x="13443" y="0"/>
                    </a:cubicBezTo>
                    <a:cubicBezTo>
                      <a:pt x="6019" y="0"/>
                      <a:pt x="0" y="6019"/>
                      <a:pt x="0" y="13443"/>
                    </a:cubicBezTo>
                    <a:cubicBezTo>
                      <a:pt x="0" y="20868"/>
                      <a:pt x="6019" y="26887"/>
                      <a:pt x="13443" y="26887"/>
                    </a:cubicBezTo>
                    <a:close/>
                  </a:path>
                </a:pathLst>
              </a:custGeom>
              <a:solidFill>
                <a:srgbClr val="2D5967"/>
              </a:solidFill>
              <a:ln w="6417" cap="flat">
                <a:noFill/>
                <a:prstDash val="solid"/>
                <a:miter/>
              </a:ln>
            </p:spPr>
            <p:txBody>
              <a:bodyPr rtlCol="0" anchor="ctr"/>
              <a:lstStyle/>
              <a:p>
                <a:endParaRPr lang="en-US"/>
              </a:p>
            </p:txBody>
          </p:sp>
          <p:sp>
            <p:nvSpPr>
              <p:cNvPr id="109" name="Freeform: Shape 135">
                <a:extLst>
                  <a:ext uri="{FF2B5EF4-FFF2-40B4-BE49-F238E27FC236}">
                    <a16:creationId xmlns:a16="http://schemas.microsoft.com/office/drawing/2014/main" id="{6886C961-93DD-E500-510F-4CB2DA60AAB4}"/>
                  </a:ext>
                </a:extLst>
              </p:cNvPr>
              <p:cNvSpPr/>
              <p:nvPr/>
            </p:nvSpPr>
            <p:spPr>
              <a:xfrm>
                <a:off x="1145111" y="3071489"/>
                <a:ext cx="380120" cy="108780"/>
              </a:xfrm>
              <a:custGeom>
                <a:avLst/>
                <a:gdLst>
                  <a:gd name="connsiteX0" fmla="*/ 0 w 380120"/>
                  <a:gd name="connsiteY0" fmla="*/ 108781 h 108780"/>
                  <a:gd name="connsiteX1" fmla="*/ 380121 w 380120"/>
                  <a:gd name="connsiteY1" fmla="*/ 108781 h 108780"/>
                  <a:gd name="connsiteX2" fmla="*/ 380121 w 380120"/>
                  <a:gd name="connsiteY2" fmla="*/ 0 h 108780"/>
                  <a:gd name="connsiteX3" fmla="*/ 0 w 380120"/>
                  <a:gd name="connsiteY3" fmla="*/ 0 h 108780"/>
                  <a:gd name="connsiteX4" fmla="*/ 0 w 380120"/>
                  <a:gd name="connsiteY4" fmla="*/ 108781 h 108780"/>
                  <a:gd name="connsiteX5" fmla="*/ 18333 w 380120"/>
                  <a:gd name="connsiteY5" fmla="*/ 18334 h 108780"/>
                  <a:gd name="connsiteX6" fmla="*/ 361788 w 380120"/>
                  <a:gd name="connsiteY6" fmla="*/ 18334 h 108780"/>
                  <a:gd name="connsiteX7" fmla="*/ 361788 w 380120"/>
                  <a:gd name="connsiteY7" fmla="*/ 90447 h 108780"/>
                  <a:gd name="connsiteX8" fmla="*/ 18333 w 380120"/>
                  <a:gd name="connsiteY8" fmla="*/ 90447 h 108780"/>
                  <a:gd name="connsiteX9" fmla="*/ 18333 w 380120"/>
                  <a:gd name="connsiteY9" fmla="*/ 18334 h 108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0120" h="108780">
                    <a:moveTo>
                      <a:pt x="0" y="108781"/>
                    </a:moveTo>
                    <a:lnTo>
                      <a:pt x="380121" y="108781"/>
                    </a:lnTo>
                    <a:lnTo>
                      <a:pt x="380121" y="0"/>
                    </a:lnTo>
                    <a:lnTo>
                      <a:pt x="0" y="0"/>
                    </a:lnTo>
                    <a:lnTo>
                      <a:pt x="0" y="108781"/>
                    </a:lnTo>
                    <a:close/>
                    <a:moveTo>
                      <a:pt x="18333" y="18334"/>
                    </a:moveTo>
                    <a:lnTo>
                      <a:pt x="361788" y="18334"/>
                    </a:lnTo>
                    <a:lnTo>
                      <a:pt x="361788" y="90447"/>
                    </a:lnTo>
                    <a:lnTo>
                      <a:pt x="18333" y="90447"/>
                    </a:lnTo>
                    <a:lnTo>
                      <a:pt x="18333" y="18334"/>
                    </a:lnTo>
                    <a:close/>
                  </a:path>
                </a:pathLst>
              </a:custGeom>
              <a:solidFill>
                <a:srgbClr val="2D5967"/>
              </a:solidFill>
              <a:ln w="6417" cap="flat">
                <a:noFill/>
                <a:prstDash val="solid"/>
                <a:miter/>
              </a:ln>
            </p:spPr>
            <p:txBody>
              <a:bodyPr rtlCol="0" anchor="ctr"/>
              <a:lstStyle/>
              <a:p>
                <a:endParaRPr lang="en-US"/>
              </a:p>
            </p:txBody>
          </p:sp>
          <p:sp>
            <p:nvSpPr>
              <p:cNvPr id="110" name="Freeform: Shape 136">
                <a:extLst>
                  <a:ext uri="{FF2B5EF4-FFF2-40B4-BE49-F238E27FC236}">
                    <a16:creationId xmlns:a16="http://schemas.microsoft.com/office/drawing/2014/main" id="{44EFA7C8-F573-7D29-A6AA-CC09B5447B5C}"/>
                  </a:ext>
                </a:extLst>
              </p:cNvPr>
              <p:cNvSpPr/>
              <p:nvPr/>
            </p:nvSpPr>
            <p:spPr>
              <a:xfrm>
                <a:off x="1453119" y="3113048"/>
                <a:ext cx="26886" cy="26889"/>
              </a:xfrm>
              <a:custGeom>
                <a:avLst/>
                <a:gdLst>
                  <a:gd name="connsiteX0" fmla="*/ 13443 w 26886"/>
                  <a:gd name="connsiteY0" fmla="*/ 26890 h 26889"/>
                  <a:gd name="connsiteX1" fmla="*/ 26887 w 26886"/>
                  <a:gd name="connsiteY1" fmla="*/ 13445 h 26889"/>
                  <a:gd name="connsiteX2" fmla="*/ 13443 w 26886"/>
                  <a:gd name="connsiteY2" fmla="*/ 0 h 26889"/>
                  <a:gd name="connsiteX3" fmla="*/ 0 w 26886"/>
                  <a:gd name="connsiteY3" fmla="*/ 13445 h 26889"/>
                  <a:gd name="connsiteX4" fmla="*/ 13443 w 26886"/>
                  <a:gd name="connsiteY4" fmla="*/ 26890 h 26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86" h="26889">
                    <a:moveTo>
                      <a:pt x="13443" y="26890"/>
                    </a:moveTo>
                    <a:cubicBezTo>
                      <a:pt x="20868" y="26890"/>
                      <a:pt x="26887" y="20870"/>
                      <a:pt x="26887" y="13445"/>
                    </a:cubicBezTo>
                    <a:cubicBezTo>
                      <a:pt x="26887" y="6020"/>
                      <a:pt x="20868" y="0"/>
                      <a:pt x="13443" y="0"/>
                    </a:cubicBezTo>
                    <a:cubicBezTo>
                      <a:pt x="6019" y="0"/>
                      <a:pt x="0" y="6020"/>
                      <a:pt x="0" y="13445"/>
                    </a:cubicBezTo>
                    <a:cubicBezTo>
                      <a:pt x="0" y="20870"/>
                      <a:pt x="6019" y="26890"/>
                      <a:pt x="13443" y="26890"/>
                    </a:cubicBezTo>
                    <a:close/>
                  </a:path>
                </a:pathLst>
              </a:custGeom>
              <a:solidFill>
                <a:srgbClr val="2D5967"/>
              </a:solidFill>
              <a:ln w="6417" cap="flat">
                <a:noFill/>
                <a:prstDash val="solid"/>
                <a:miter/>
              </a:ln>
            </p:spPr>
            <p:txBody>
              <a:bodyPr rtlCol="0" anchor="ctr"/>
              <a:lstStyle/>
              <a:p>
                <a:endParaRPr lang="en-US"/>
              </a:p>
            </p:txBody>
          </p:sp>
          <p:sp>
            <p:nvSpPr>
              <p:cNvPr id="111" name="Freeform: Shape 137">
                <a:extLst>
                  <a:ext uri="{FF2B5EF4-FFF2-40B4-BE49-F238E27FC236}">
                    <a16:creationId xmlns:a16="http://schemas.microsoft.com/office/drawing/2014/main" id="{6F8B4784-ED4B-0C6D-5F0E-ECAEF60737FE}"/>
                  </a:ext>
                </a:extLst>
              </p:cNvPr>
              <p:cNvSpPr/>
              <p:nvPr/>
            </p:nvSpPr>
            <p:spPr>
              <a:xfrm>
                <a:off x="1145111" y="3207161"/>
                <a:ext cx="380120" cy="108780"/>
              </a:xfrm>
              <a:custGeom>
                <a:avLst/>
                <a:gdLst>
                  <a:gd name="connsiteX0" fmla="*/ 0 w 380120"/>
                  <a:gd name="connsiteY0" fmla="*/ 108781 h 108780"/>
                  <a:gd name="connsiteX1" fmla="*/ 380121 w 380120"/>
                  <a:gd name="connsiteY1" fmla="*/ 108781 h 108780"/>
                  <a:gd name="connsiteX2" fmla="*/ 380121 w 380120"/>
                  <a:gd name="connsiteY2" fmla="*/ 0 h 108780"/>
                  <a:gd name="connsiteX3" fmla="*/ 0 w 380120"/>
                  <a:gd name="connsiteY3" fmla="*/ 0 h 108780"/>
                  <a:gd name="connsiteX4" fmla="*/ 0 w 380120"/>
                  <a:gd name="connsiteY4" fmla="*/ 108781 h 108780"/>
                  <a:gd name="connsiteX5" fmla="*/ 18333 w 380120"/>
                  <a:gd name="connsiteY5" fmla="*/ 18334 h 108780"/>
                  <a:gd name="connsiteX6" fmla="*/ 361788 w 380120"/>
                  <a:gd name="connsiteY6" fmla="*/ 18334 h 108780"/>
                  <a:gd name="connsiteX7" fmla="*/ 361788 w 380120"/>
                  <a:gd name="connsiteY7" fmla="*/ 91669 h 108780"/>
                  <a:gd name="connsiteX8" fmla="*/ 18333 w 380120"/>
                  <a:gd name="connsiteY8" fmla="*/ 91669 h 108780"/>
                  <a:gd name="connsiteX9" fmla="*/ 18333 w 380120"/>
                  <a:gd name="connsiteY9" fmla="*/ 18334 h 108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0120" h="108780">
                    <a:moveTo>
                      <a:pt x="0" y="108781"/>
                    </a:moveTo>
                    <a:lnTo>
                      <a:pt x="380121" y="108781"/>
                    </a:lnTo>
                    <a:lnTo>
                      <a:pt x="380121" y="0"/>
                    </a:lnTo>
                    <a:lnTo>
                      <a:pt x="0" y="0"/>
                    </a:lnTo>
                    <a:lnTo>
                      <a:pt x="0" y="108781"/>
                    </a:lnTo>
                    <a:close/>
                    <a:moveTo>
                      <a:pt x="18333" y="18334"/>
                    </a:moveTo>
                    <a:lnTo>
                      <a:pt x="361788" y="18334"/>
                    </a:lnTo>
                    <a:lnTo>
                      <a:pt x="361788" y="91669"/>
                    </a:lnTo>
                    <a:lnTo>
                      <a:pt x="18333" y="91669"/>
                    </a:lnTo>
                    <a:lnTo>
                      <a:pt x="18333" y="18334"/>
                    </a:lnTo>
                    <a:close/>
                  </a:path>
                </a:pathLst>
              </a:custGeom>
              <a:solidFill>
                <a:srgbClr val="2D5967"/>
              </a:solidFill>
              <a:ln w="6417" cap="flat">
                <a:noFill/>
                <a:prstDash val="solid"/>
                <a:miter/>
              </a:ln>
            </p:spPr>
            <p:txBody>
              <a:bodyPr rtlCol="0" anchor="ctr"/>
              <a:lstStyle/>
              <a:p>
                <a:endParaRPr lang="en-US"/>
              </a:p>
            </p:txBody>
          </p:sp>
          <p:sp>
            <p:nvSpPr>
              <p:cNvPr id="112" name="Freeform: Shape 138">
                <a:extLst>
                  <a:ext uri="{FF2B5EF4-FFF2-40B4-BE49-F238E27FC236}">
                    <a16:creationId xmlns:a16="http://schemas.microsoft.com/office/drawing/2014/main" id="{0DC35247-12C8-33FE-5FD0-18FC82686AE7}"/>
                  </a:ext>
                </a:extLst>
              </p:cNvPr>
              <p:cNvSpPr/>
              <p:nvPr/>
            </p:nvSpPr>
            <p:spPr>
              <a:xfrm>
                <a:off x="1453119" y="3248717"/>
                <a:ext cx="26886" cy="26889"/>
              </a:xfrm>
              <a:custGeom>
                <a:avLst/>
                <a:gdLst>
                  <a:gd name="connsiteX0" fmla="*/ 13443 w 26886"/>
                  <a:gd name="connsiteY0" fmla="*/ 26890 h 26889"/>
                  <a:gd name="connsiteX1" fmla="*/ 26887 w 26886"/>
                  <a:gd name="connsiteY1" fmla="*/ 13445 h 26889"/>
                  <a:gd name="connsiteX2" fmla="*/ 13443 w 26886"/>
                  <a:gd name="connsiteY2" fmla="*/ 0 h 26889"/>
                  <a:gd name="connsiteX3" fmla="*/ 0 w 26886"/>
                  <a:gd name="connsiteY3" fmla="*/ 13445 h 26889"/>
                  <a:gd name="connsiteX4" fmla="*/ 13443 w 26886"/>
                  <a:gd name="connsiteY4" fmla="*/ 26890 h 26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86" h="26889">
                    <a:moveTo>
                      <a:pt x="13443" y="26890"/>
                    </a:moveTo>
                    <a:cubicBezTo>
                      <a:pt x="20868" y="26890"/>
                      <a:pt x="26887" y="20870"/>
                      <a:pt x="26887" y="13445"/>
                    </a:cubicBezTo>
                    <a:cubicBezTo>
                      <a:pt x="26887" y="6020"/>
                      <a:pt x="20868" y="0"/>
                      <a:pt x="13443" y="0"/>
                    </a:cubicBezTo>
                    <a:cubicBezTo>
                      <a:pt x="6019" y="0"/>
                      <a:pt x="0" y="6020"/>
                      <a:pt x="0" y="13445"/>
                    </a:cubicBezTo>
                    <a:cubicBezTo>
                      <a:pt x="0" y="20870"/>
                      <a:pt x="6019" y="26890"/>
                      <a:pt x="13443" y="26890"/>
                    </a:cubicBezTo>
                    <a:close/>
                  </a:path>
                </a:pathLst>
              </a:custGeom>
              <a:solidFill>
                <a:srgbClr val="2D5967"/>
              </a:solidFill>
              <a:ln w="6417" cap="flat">
                <a:noFill/>
                <a:prstDash val="solid"/>
                <a:miter/>
              </a:ln>
            </p:spPr>
            <p:txBody>
              <a:bodyPr rtlCol="0" anchor="ctr"/>
              <a:lstStyle/>
              <a:p>
                <a:endParaRPr lang="en-US"/>
              </a:p>
            </p:txBody>
          </p:sp>
        </p:grpSp>
      </p:grpSp>
      <p:grpSp>
        <p:nvGrpSpPr>
          <p:cNvPr id="115" name="Graphic 2">
            <a:extLst>
              <a:ext uri="{FF2B5EF4-FFF2-40B4-BE49-F238E27FC236}">
                <a16:creationId xmlns:a16="http://schemas.microsoft.com/office/drawing/2014/main" id="{0B181470-8759-342B-670B-1BD87E5D9871}"/>
              </a:ext>
            </a:extLst>
          </p:cNvPr>
          <p:cNvGrpSpPr/>
          <p:nvPr/>
        </p:nvGrpSpPr>
        <p:grpSpPr>
          <a:xfrm>
            <a:off x="3619430" y="4504923"/>
            <a:ext cx="513348" cy="509067"/>
            <a:chOff x="2005263" y="2368071"/>
            <a:chExt cx="513348" cy="509067"/>
          </a:xfrm>
        </p:grpSpPr>
        <p:grpSp>
          <p:nvGrpSpPr>
            <p:cNvPr id="116" name="Graphic 2">
              <a:extLst>
                <a:ext uri="{FF2B5EF4-FFF2-40B4-BE49-F238E27FC236}">
                  <a16:creationId xmlns:a16="http://schemas.microsoft.com/office/drawing/2014/main" id="{5A731FD4-D6A9-523F-0F8F-AB58E2D77D47}"/>
                </a:ext>
              </a:extLst>
            </p:cNvPr>
            <p:cNvGrpSpPr/>
            <p:nvPr/>
          </p:nvGrpSpPr>
          <p:grpSpPr>
            <a:xfrm>
              <a:off x="2005263" y="2368071"/>
              <a:ext cx="513348" cy="509067"/>
              <a:chOff x="2005263" y="2368071"/>
              <a:chExt cx="513348" cy="509067"/>
            </a:xfrm>
            <a:solidFill>
              <a:srgbClr val="FFFFFF"/>
            </a:solidFill>
          </p:grpSpPr>
          <p:sp>
            <p:nvSpPr>
              <p:cNvPr id="139" name="Freeform: Shape 166">
                <a:extLst>
                  <a:ext uri="{FF2B5EF4-FFF2-40B4-BE49-F238E27FC236}">
                    <a16:creationId xmlns:a16="http://schemas.microsoft.com/office/drawing/2014/main" id="{33DC4330-8FDF-3948-1597-B4BB17BA30F4}"/>
                  </a:ext>
                </a:extLst>
              </p:cNvPr>
              <p:cNvSpPr/>
              <p:nvPr/>
            </p:nvSpPr>
            <p:spPr>
              <a:xfrm>
                <a:off x="2011230" y="2374040"/>
                <a:ext cx="500239" cy="492375"/>
              </a:xfrm>
              <a:custGeom>
                <a:avLst/>
                <a:gdLst>
                  <a:gd name="connsiteX0" fmla="*/ 151354 w 500239"/>
                  <a:gd name="connsiteY0" fmla="*/ 487608 h 492375"/>
                  <a:gd name="connsiteX1" fmla="*/ 134670 w 500239"/>
                  <a:gd name="connsiteY1" fmla="*/ 482840 h 492375"/>
                  <a:gd name="connsiteX2" fmla="*/ 115600 w 500239"/>
                  <a:gd name="connsiteY2" fmla="*/ 463763 h 492375"/>
                  <a:gd name="connsiteX3" fmla="*/ 25026 w 500239"/>
                  <a:gd name="connsiteY3" fmla="*/ 463763 h 492375"/>
                  <a:gd name="connsiteX4" fmla="*/ 0 w 500239"/>
                  <a:gd name="connsiteY4" fmla="*/ 438731 h 492375"/>
                  <a:gd name="connsiteX5" fmla="*/ 0 w 500239"/>
                  <a:gd name="connsiteY5" fmla="*/ 25037 h 492375"/>
                  <a:gd name="connsiteX6" fmla="*/ 25026 w 500239"/>
                  <a:gd name="connsiteY6" fmla="*/ 0 h 492375"/>
                  <a:gd name="connsiteX7" fmla="*/ 438566 w 500239"/>
                  <a:gd name="connsiteY7" fmla="*/ 0 h 492375"/>
                  <a:gd name="connsiteX8" fmla="*/ 463591 w 500239"/>
                  <a:gd name="connsiteY8" fmla="*/ 25037 h 492375"/>
                  <a:gd name="connsiteX9" fmla="*/ 463591 w 500239"/>
                  <a:gd name="connsiteY9" fmla="*/ 137103 h 492375"/>
                  <a:gd name="connsiteX10" fmla="*/ 463591 w 500239"/>
                  <a:gd name="connsiteY10" fmla="*/ 338583 h 492375"/>
                  <a:gd name="connsiteX11" fmla="*/ 463591 w 500239"/>
                  <a:gd name="connsiteY11" fmla="*/ 438731 h 492375"/>
                  <a:gd name="connsiteX12" fmla="*/ 438566 w 500239"/>
                  <a:gd name="connsiteY12" fmla="*/ 463763 h 492375"/>
                  <a:gd name="connsiteX13" fmla="*/ 183535 w 500239"/>
                  <a:gd name="connsiteY13" fmla="*/ 463763 h 492375"/>
                  <a:gd name="connsiteX14" fmla="*/ 154928 w 500239"/>
                  <a:gd name="connsiteY14" fmla="*/ 492376 h 492375"/>
                  <a:gd name="connsiteX15" fmla="*/ 151354 w 500239"/>
                  <a:gd name="connsiteY15" fmla="*/ 487608 h 492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9" h="492375">
                    <a:moveTo>
                      <a:pt x="151354" y="487608"/>
                    </a:moveTo>
                    <a:lnTo>
                      <a:pt x="134670" y="482840"/>
                    </a:lnTo>
                    <a:lnTo>
                      <a:pt x="115600" y="463763"/>
                    </a:lnTo>
                    <a:lnTo>
                      <a:pt x="25026" y="463763"/>
                    </a:lnTo>
                    <a:cubicBezTo>
                      <a:pt x="11923" y="463763"/>
                      <a:pt x="0" y="453034"/>
                      <a:pt x="0" y="438731"/>
                    </a:cubicBezTo>
                    <a:lnTo>
                      <a:pt x="0" y="25037"/>
                    </a:lnTo>
                    <a:cubicBezTo>
                      <a:pt x="0" y="11922"/>
                      <a:pt x="10729" y="0"/>
                      <a:pt x="25026" y="0"/>
                    </a:cubicBezTo>
                    <a:lnTo>
                      <a:pt x="438566" y="0"/>
                    </a:lnTo>
                    <a:cubicBezTo>
                      <a:pt x="452869" y="0"/>
                      <a:pt x="463591" y="10730"/>
                      <a:pt x="463591" y="25037"/>
                    </a:cubicBezTo>
                    <a:lnTo>
                      <a:pt x="463591" y="137103"/>
                    </a:lnTo>
                    <a:cubicBezTo>
                      <a:pt x="512455" y="194329"/>
                      <a:pt x="512455" y="280167"/>
                      <a:pt x="463591" y="338583"/>
                    </a:cubicBezTo>
                    <a:lnTo>
                      <a:pt x="463591" y="438731"/>
                    </a:lnTo>
                    <a:cubicBezTo>
                      <a:pt x="463591" y="453034"/>
                      <a:pt x="452869" y="463763"/>
                      <a:pt x="438566" y="463763"/>
                    </a:cubicBezTo>
                    <a:lnTo>
                      <a:pt x="183535" y="463763"/>
                    </a:lnTo>
                    <a:lnTo>
                      <a:pt x="154928" y="492376"/>
                    </a:lnTo>
                    <a:lnTo>
                      <a:pt x="151354" y="487608"/>
                    </a:lnTo>
                    <a:close/>
                  </a:path>
                </a:pathLst>
              </a:custGeom>
              <a:solidFill>
                <a:srgbClr val="FFFFFF"/>
              </a:solidFill>
              <a:ln w="6417" cap="flat">
                <a:noFill/>
                <a:prstDash val="solid"/>
                <a:miter/>
              </a:ln>
            </p:spPr>
            <p:txBody>
              <a:bodyPr rtlCol="0" anchor="ctr"/>
              <a:lstStyle/>
              <a:p>
                <a:endParaRPr lang="en-US" dirty="0"/>
              </a:p>
            </p:txBody>
          </p:sp>
          <p:sp>
            <p:nvSpPr>
              <p:cNvPr id="140" name="Freeform: Shape 167">
                <a:extLst>
                  <a:ext uri="{FF2B5EF4-FFF2-40B4-BE49-F238E27FC236}">
                    <a16:creationId xmlns:a16="http://schemas.microsoft.com/office/drawing/2014/main" id="{1826E7BA-F81E-DACF-0D11-CD1B10150E96}"/>
                  </a:ext>
                </a:extLst>
              </p:cNvPr>
              <p:cNvSpPr/>
              <p:nvPr/>
            </p:nvSpPr>
            <p:spPr>
              <a:xfrm>
                <a:off x="2005263" y="2368071"/>
                <a:ext cx="513348" cy="509067"/>
              </a:xfrm>
              <a:custGeom>
                <a:avLst/>
                <a:gdLst>
                  <a:gd name="connsiteX0" fmla="*/ 444527 w 513348"/>
                  <a:gd name="connsiteY0" fmla="*/ 11922 h 509067"/>
                  <a:gd name="connsiteX1" fmla="*/ 463591 w 513348"/>
                  <a:gd name="connsiteY1" fmla="*/ 30997 h 509067"/>
                  <a:gd name="connsiteX2" fmla="*/ 463591 w 513348"/>
                  <a:gd name="connsiteY2" fmla="*/ 145449 h 509067"/>
                  <a:gd name="connsiteX3" fmla="*/ 463591 w 513348"/>
                  <a:gd name="connsiteY3" fmla="*/ 342159 h 509067"/>
                  <a:gd name="connsiteX4" fmla="*/ 463591 w 513348"/>
                  <a:gd name="connsiteY4" fmla="*/ 444694 h 509067"/>
                  <a:gd name="connsiteX5" fmla="*/ 444527 w 513348"/>
                  <a:gd name="connsiteY5" fmla="*/ 463764 h 509067"/>
                  <a:gd name="connsiteX6" fmla="*/ 185915 w 513348"/>
                  <a:gd name="connsiteY6" fmla="*/ 463764 h 509067"/>
                  <a:gd name="connsiteX7" fmla="*/ 160889 w 513348"/>
                  <a:gd name="connsiteY7" fmla="*/ 488803 h 509067"/>
                  <a:gd name="connsiteX8" fmla="*/ 144199 w 513348"/>
                  <a:gd name="connsiteY8" fmla="*/ 482842 h 509067"/>
                  <a:gd name="connsiteX9" fmla="*/ 123941 w 513348"/>
                  <a:gd name="connsiteY9" fmla="*/ 462571 h 509067"/>
                  <a:gd name="connsiteX10" fmla="*/ 30987 w 513348"/>
                  <a:gd name="connsiteY10" fmla="*/ 462571 h 509067"/>
                  <a:gd name="connsiteX11" fmla="*/ 11916 w 513348"/>
                  <a:gd name="connsiteY11" fmla="*/ 443500 h 509067"/>
                  <a:gd name="connsiteX12" fmla="*/ 11916 w 513348"/>
                  <a:gd name="connsiteY12" fmla="*/ 30997 h 509067"/>
                  <a:gd name="connsiteX13" fmla="*/ 30987 w 513348"/>
                  <a:gd name="connsiteY13" fmla="*/ 11922 h 509067"/>
                  <a:gd name="connsiteX14" fmla="*/ 444527 w 513348"/>
                  <a:gd name="connsiteY14" fmla="*/ 11922 h 509067"/>
                  <a:gd name="connsiteX15" fmla="*/ 444527 w 513348"/>
                  <a:gd name="connsiteY15" fmla="*/ 0 h 509067"/>
                  <a:gd name="connsiteX16" fmla="*/ 30987 w 513348"/>
                  <a:gd name="connsiteY16" fmla="*/ 0 h 509067"/>
                  <a:gd name="connsiteX17" fmla="*/ 0 w 513348"/>
                  <a:gd name="connsiteY17" fmla="*/ 30997 h 509067"/>
                  <a:gd name="connsiteX18" fmla="*/ 0 w 513348"/>
                  <a:gd name="connsiteY18" fmla="*/ 444694 h 509067"/>
                  <a:gd name="connsiteX19" fmla="*/ 30987 w 513348"/>
                  <a:gd name="connsiteY19" fmla="*/ 475687 h 509067"/>
                  <a:gd name="connsiteX20" fmla="*/ 119174 w 513348"/>
                  <a:gd name="connsiteY20" fmla="*/ 475687 h 509067"/>
                  <a:gd name="connsiteX21" fmla="*/ 135857 w 513348"/>
                  <a:gd name="connsiteY21" fmla="*/ 492377 h 509067"/>
                  <a:gd name="connsiteX22" fmla="*/ 138244 w 513348"/>
                  <a:gd name="connsiteY22" fmla="*/ 494764 h 509067"/>
                  <a:gd name="connsiteX23" fmla="*/ 140625 w 513348"/>
                  <a:gd name="connsiteY23" fmla="*/ 495958 h 509067"/>
                  <a:gd name="connsiteX24" fmla="*/ 153735 w 513348"/>
                  <a:gd name="connsiteY24" fmla="*/ 500725 h 509067"/>
                  <a:gd name="connsiteX25" fmla="*/ 159696 w 513348"/>
                  <a:gd name="connsiteY25" fmla="*/ 509067 h 509067"/>
                  <a:gd name="connsiteX26" fmla="*/ 170419 w 513348"/>
                  <a:gd name="connsiteY26" fmla="*/ 499532 h 509067"/>
                  <a:gd name="connsiteX27" fmla="*/ 193064 w 513348"/>
                  <a:gd name="connsiteY27" fmla="*/ 478074 h 509067"/>
                  <a:gd name="connsiteX28" fmla="*/ 445714 w 513348"/>
                  <a:gd name="connsiteY28" fmla="*/ 478074 h 509067"/>
                  <a:gd name="connsiteX29" fmla="*/ 476701 w 513348"/>
                  <a:gd name="connsiteY29" fmla="*/ 447074 h 509067"/>
                  <a:gd name="connsiteX30" fmla="*/ 476701 w 513348"/>
                  <a:gd name="connsiteY30" fmla="*/ 345739 h 509067"/>
                  <a:gd name="connsiteX31" fmla="*/ 476701 w 513348"/>
                  <a:gd name="connsiteY31" fmla="*/ 140680 h 509067"/>
                  <a:gd name="connsiteX32" fmla="*/ 476701 w 513348"/>
                  <a:gd name="connsiteY32" fmla="*/ 30997 h 509067"/>
                  <a:gd name="connsiteX33" fmla="*/ 444527 w 513348"/>
                  <a:gd name="connsiteY33" fmla="*/ 0 h 509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13348" h="509067">
                    <a:moveTo>
                      <a:pt x="444527" y="11922"/>
                    </a:moveTo>
                    <a:cubicBezTo>
                      <a:pt x="455249" y="11922"/>
                      <a:pt x="463591" y="20268"/>
                      <a:pt x="463591" y="30997"/>
                    </a:cubicBezTo>
                    <a:lnTo>
                      <a:pt x="463591" y="145449"/>
                    </a:lnTo>
                    <a:cubicBezTo>
                      <a:pt x="512455" y="201482"/>
                      <a:pt x="512455" y="286128"/>
                      <a:pt x="463591" y="342159"/>
                    </a:cubicBezTo>
                    <a:lnTo>
                      <a:pt x="463591" y="444694"/>
                    </a:lnTo>
                    <a:cubicBezTo>
                      <a:pt x="463591" y="455423"/>
                      <a:pt x="455249" y="463764"/>
                      <a:pt x="444527" y="463764"/>
                    </a:cubicBezTo>
                    <a:lnTo>
                      <a:pt x="185915" y="463764"/>
                    </a:lnTo>
                    <a:lnTo>
                      <a:pt x="160889" y="488803"/>
                    </a:lnTo>
                    <a:lnTo>
                      <a:pt x="144199" y="482842"/>
                    </a:lnTo>
                    <a:lnTo>
                      <a:pt x="123941" y="462571"/>
                    </a:lnTo>
                    <a:lnTo>
                      <a:pt x="30987" y="462571"/>
                    </a:lnTo>
                    <a:cubicBezTo>
                      <a:pt x="20258" y="462571"/>
                      <a:pt x="11916" y="454229"/>
                      <a:pt x="11916" y="443500"/>
                    </a:cubicBezTo>
                    <a:lnTo>
                      <a:pt x="11916" y="30997"/>
                    </a:lnTo>
                    <a:cubicBezTo>
                      <a:pt x="11916" y="20268"/>
                      <a:pt x="20258" y="11922"/>
                      <a:pt x="30987" y="11922"/>
                    </a:cubicBezTo>
                    <a:lnTo>
                      <a:pt x="444527" y="11922"/>
                    </a:lnTo>
                    <a:close/>
                    <a:moveTo>
                      <a:pt x="444527" y="0"/>
                    </a:moveTo>
                    <a:lnTo>
                      <a:pt x="30987" y="0"/>
                    </a:lnTo>
                    <a:cubicBezTo>
                      <a:pt x="14303" y="0"/>
                      <a:pt x="0" y="14306"/>
                      <a:pt x="0" y="30997"/>
                    </a:cubicBezTo>
                    <a:lnTo>
                      <a:pt x="0" y="444694"/>
                    </a:lnTo>
                    <a:cubicBezTo>
                      <a:pt x="0" y="461384"/>
                      <a:pt x="14303" y="475687"/>
                      <a:pt x="30987" y="475687"/>
                    </a:cubicBezTo>
                    <a:lnTo>
                      <a:pt x="119174" y="475687"/>
                    </a:lnTo>
                    <a:lnTo>
                      <a:pt x="135857" y="492377"/>
                    </a:lnTo>
                    <a:lnTo>
                      <a:pt x="138244" y="494764"/>
                    </a:lnTo>
                    <a:lnTo>
                      <a:pt x="140625" y="495958"/>
                    </a:lnTo>
                    <a:lnTo>
                      <a:pt x="153735" y="500725"/>
                    </a:lnTo>
                    <a:lnTo>
                      <a:pt x="159696" y="509067"/>
                    </a:lnTo>
                    <a:lnTo>
                      <a:pt x="170419" y="499532"/>
                    </a:lnTo>
                    <a:lnTo>
                      <a:pt x="193064" y="478074"/>
                    </a:lnTo>
                    <a:lnTo>
                      <a:pt x="445714" y="478074"/>
                    </a:lnTo>
                    <a:cubicBezTo>
                      <a:pt x="462398" y="478074"/>
                      <a:pt x="476701" y="463764"/>
                      <a:pt x="476701" y="447074"/>
                    </a:cubicBezTo>
                    <a:lnTo>
                      <a:pt x="476701" y="345739"/>
                    </a:lnTo>
                    <a:cubicBezTo>
                      <a:pt x="525565" y="286128"/>
                      <a:pt x="525565" y="199098"/>
                      <a:pt x="476701" y="140680"/>
                    </a:cubicBezTo>
                    <a:lnTo>
                      <a:pt x="476701" y="30997"/>
                    </a:lnTo>
                    <a:cubicBezTo>
                      <a:pt x="475507" y="14306"/>
                      <a:pt x="461211" y="0"/>
                      <a:pt x="444527" y="0"/>
                    </a:cubicBezTo>
                    <a:close/>
                  </a:path>
                </a:pathLst>
              </a:custGeom>
              <a:solidFill>
                <a:srgbClr val="FFFFFF"/>
              </a:solidFill>
              <a:ln w="6417" cap="flat">
                <a:noFill/>
                <a:prstDash val="solid"/>
                <a:miter/>
              </a:ln>
            </p:spPr>
            <p:txBody>
              <a:bodyPr rtlCol="0" anchor="ctr"/>
              <a:lstStyle/>
              <a:p>
                <a:endParaRPr lang="en-US"/>
              </a:p>
            </p:txBody>
          </p:sp>
        </p:grpSp>
        <p:grpSp>
          <p:nvGrpSpPr>
            <p:cNvPr id="117" name="Graphic 2">
              <a:extLst>
                <a:ext uri="{FF2B5EF4-FFF2-40B4-BE49-F238E27FC236}">
                  <a16:creationId xmlns:a16="http://schemas.microsoft.com/office/drawing/2014/main" id="{3A1FFE43-427B-CA8C-C70F-1E566A4F414B}"/>
                </a:ext>
              </a:extLst>
            </p:cNvPr>
            <p:cNvGrpSpPr/>
            <p:nvPr/>
          </p:nvGrpSpPr>
          <p:grpSpPr>
            <a:xfrm>
              <a:off x="2017179" y="2381069"/>
              <a:ext cx="488321" cy="475804"/>
              <a:chOff x="2017179" y="2381069"/>
              <a:chExt cx="488321" cy="475804"/>
            </a:xfrm>
            <a:solidFill>
              <a:srgbClr val="2D5967"/>
            </a:solidFill>
          </p:grpSpPr>
          <p:sp>
            <p:nvSpPr>
              <p:cNvPr id="118" name="Freeform: Shape 145">
                <a:extLst>
                  <a:ext uri="{FF2B5EF4-FFF2-40B4-BE49-F238E27FC236}">
                    <a16:creationId xmlns:a16="http://schemas.microsoft.com/office/drawing/2014/main" id="{9F197713-1C0F-A991-7C87-8A57A5A2B84B}"/>
                  </a:ext>
                </a:extLst>
              </p:cNvPr>
              <p:cNvSpPr/>
              <p:nvPr/>
            </p:nvSpPr>
            <p:spPr>
              <a:xfrm>
                <a:off x="2210223" y="2728126"/>
                <a:ext cx="258611" cy="103721"/>
              </a:xfrm>
              <a:custGeom>
                <a:avLst/>
                <a:gdLst>
                  <a:gd name="connsiteX0" fmla="*/ 241928 w 258611"/>
                  <a:gd name="connsiteY0" fmla="*/ 84651 h 103721"/>
                  <a:gd name="connsiteX1" fmla="*/ 239541 w 258611"/>
                  <a:gd name="connsiteY1" fmla="*/ 87032 h 103721"/>
                  <a:gd name="connsiteX2" fmla="*/ 16684 w 258611"/>
                  <a:gd name="connsiteY2" fmla="*/ 87032 h 103721"/>
                  <a:gd name="connsiteX3" fmla="*/ 13110 w 258611"/>
                  <a:gd name="connsiteY3" fmla="*/ 90612 h 103721"/>
                  <a:gd name="connsiteX4" fmla="*/ 0 w 258611"/>
                  <a:gd name="connsiteY4" fmla="*/ 103722 h 103721"/>
                  <a:gd name="connsiteX5" fmla="*/ 239541 w 258611"/>
                  <a:gd name="connsiteY5" fmla="*/ 103722 h 103721"/>
                  <a:gd name="connsiteX6" fmla="*/ 258612 w 258611"/>
                  <a:gd name="connsiteY6" fmla="*/ 84651 h 103721"/>
                  <a:gd name="connsiteX7" fmla="*/ 258612 w 258611"/>
                  <a:gd name="connsiteY7" fmla="*/ 0 h 103721"/>
                  <a:gd name="connsiteX8" fmla="*/ 241928 w 258611"/>
                  <a:gd name="connsiteY8" fmla="*/ 14310 h 103721"/>
                  <a:gd name="connsiteX9" fmla="*/ 241928 w 258611"/>
                  <a:gd name="connsiteY9" fmla="*/ 84651 h 103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8611" h="103721">
                    <a:moveTo>
                      <a:pt x="241928" y="84651"/>
                    </a:moveTo>
                    <a:cubicBezTo>
                      <a:pt x="241928" y="85838"/>
                      <a:pt x="240734" y="87032"/>
                      <a:pt x="239541" y="87032"/>
                    </a:cubicBezTo>
                    <a:lnTo>
                      <a:pt x="16684" y="87032"/>
                    </a:lnTo>
                    <a:cubicBezTo>
                      <a:pt x="15497" y="88225"/>
                      <a:pt x="14303" y="89419"/>
                      <a:pt x="13110" y="90612"/>
                    </a:cubicBezTo>
                    <a:lnTo>
                      <a:pt x="0" y="103722"/>
                    </a:lnTo>
                    <a:lnTo>
                      <a:pt x="239541" y="103722"/>
                    </a:lnTo>
                    <a:cubicBezTo>
                      <a:pt x="250270" y="103722"/>
                      <a:pt x="258612" y="95380"/>
                      <a:pt x="258612" y="84651"/>
                    </a:cubicBezTo>
                    <a:lnTo>
                      <a:pt x="258612" y="0"/>
                    </a:lnTo>
                    <a:cubicBezTo>
                      <a:pt x="253844" y="4774"/>
                      <a:pt x="247883" y="9542"/>
                      <a:pt x="241928" y="14310"/>
                    </a:cubicBezTo>
                    <a:lnTo>
                      <a:pt x="241928" y="84651"/>
                    </a:lnTo>
                    <a:close/>
                  </a:path>
                </a:pathLst>
              </a:custGeom>
              <a:solidFill>
                <a:srgbClr val="2D5967"/>
              </a:solidFill>
              <a:ln w="6417" cap="flat">
                <a:noFill/>
                <a:prstDash val="solid"/>
                <a:miter/>
              </a:ln>
            </p:spPr>
            <p:txBody>
              <a:bodyPr rtlCol="0" anchor="ctr"/>
              <a:lstStyle/>
              <a:p>
                <a:endParaRPr lang="en-US"/>
              </a:p>
            </p:txBody>
          </p:sp>
          <p:sp>
            <p:nvSpPr>
              <p:cNvPr id="119" name="Freeform: Shape 146">
                <a:extLst>
                  <a:ext uri="{FF2B5EF4-FFF2-40B4-BE49-F238E27FC236}">
                    <a16:creationId xmlns:a16="http://schemas.microsoft.com/office/drawing/2014/main" id="{34AAF0FC-D1BA-792D-A9E5-5FF009EB19A0}"/>
                  </a:ext>
                </a:extLst>
              </p:cNvPr>
              <p:cNvSpPr/>
              <p:nvPr/>
            </p:nvSpPr>
            <p:spPr>
              <a:xfrm>
                <a:off x="2017179" y="2381069"/>
                <a:ext cx="451668" cy="450765"/>
              </a:xfrm>
              <a:custGeom>
                <a:avLst/>
                <a:gdLst>
                  <a:gd name="connsiteX0" fmla="*/ 88187 w 451668"/>
                  <a:gd name="connsiteY0" fmla="*/ 443611 h 450765"/>
                  <a:gd name="connsiteX1" fmla="*/ 86993 w 451668"/>
                  <a:gd name="connsiteY1" fmla="*/ 441230 h 450765"/>
                  <a:gd name="connsiteX2" fmla="*/ 84613 w 451668"/>
                  <a:gd name="connsiteY2" fmla="*/ 434076 h 450765"/>
                  <a:gd name="connsiteX3" fmla="*/ 19064 w 451668"/>
                  <a:gd name="connsiteY3" fmla="*/ 434076 h 450765"/>
                  <a:gd name="connsiteX4" fmla="*/ 16684 w 451668"/>
                  <a:gd name="connsiteY4" fmla="*/ 431689 h 450765"/>
                  <a:gd name="connsiteX5" fmla="*/ 16684 w 451668"/>
                  <a:gd name="connsiteY5" fmla="*/ 17997 h 450765"/>
                  <a:gd name="connsiteX6" fmla="*/ 19064 w 451668"/>
                  <a:gd name="connsiteY6" fmla="*/ 15612 h 450765"/>
                  <a:gd name="connsiteX7" fmla="*/ 432604 w 451668"/>
                  <a:gd name="connsiteY7" fmla="*/ 15612 h 450765"/>
                  <a:gd name="connsiteX8" fmla="*/ 434985 w 451668"/>
                  <a:gd name="connsiteY8" fmla="*/ 17997 h 450765"/>
                  <a:gd name="connsiteX9" fmla="*/ 434985 w 451668"/>
                  <a:gd name="connsiteY9" fmla="*/ 100258 h 450765"/>
                  <a:gd name="connsiteX10" fmla="*/ 451669 w 451668"/>
                  <a:gd name="connsiteY10" fmla="*/ 114564 h 450765"/>
                  <a:gd name="connsiteX11" fmla="*/ 451669 w 451668"/>
                  <a:gd name="connsiteY11" fmla="*/ 19189 h 450765"/>
                  <a:gd name="connsiteX12" fmla="*/ 432604 w 451668"/>
                  <a:gd name="connsiteY12" fmla="*/ 114 h 450765"/>
                  <a:gd name="connsiteX13" fmla="*/ 19064 w 451668"/>
                  <a:gd name="connsiteY13" fmla="*/ 114 h 450765"/>
                  <a:gd name="connsiteX14" fmla="*/ 0 w 451668"/>
                  <a:gd name="connsiteY14" fmla="*/ 17997 h 450765"/>
                  <a:gd name="connsiteX15" fmla="*/ 0 w 451668"/>
                  <a:gd name="connsiteY15" fmla="*/ 431689 h 450765"/>
                  <a:gd name="connsiteX16" fmla="*/ 19064 w 451668"/>
                  <a:gd name="connsiteY16" fmla="*/ 450766 h 450765"/>
                  <a:gd name="connsiteX17" fmla="*/ 95335 w 451668"/>
                  <a:gd name="connsiteY17" fmla="*/ 450766 h 450765"/>
                  <a:gd name="connsiteX18" fmla="*/ 90567 w 451668"/>
                  <a:gd name="connsiteY18" fmla="*/ 445998 h 450765"/>
                  <a:gd name="connsiteX19" fmla="*/ 88187 w 451668"/>
                  <a:gd name="connsiteY19" fmla="*/ 443611 h 450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1668" h="450765">
                    <a:moveTo>
                      <a:pt x="88187" y="443611"/>
                    </a:moveTo>
                    <a:lnTo>
                      <a:pt x="86993" y="441230"/>
                    </a:lnTo>
                    <a:lnTo>
                      <a:pt x="84613" y="434076"/>
                    </a:lnTo>
                    <a:lnTo>
                      <a:pt x="19064" y="434076"/>
                    </a:lnTo>
                    <a:cubicBezTo>
                      <a:pt x="17871" y="434076"/>
                      <a:pt x="16684" y="432882"/>
                      <a:pt x="16684" y="431689"/>
                    </a:cubicBezTo>
                    <a:lnTo>
                      <a:pt x="16684" y="17997"/>
                    </a:lnTo>
                    <a:cubicBezTo>
                      <a:pt x="16684" y="16804"/>
                      <a:pt x="17871" y="15612"/>
                      <a:pt x="19064" y="15612"/>
                    </a:cubicBezTo>
                    <a:lnTo>
                      <a:pt x="432604" y="15612"/>
                    </a:lnTo>
                    <a:cubicBezTo>
                      <a:pt x="433798" y="15612"/>
                      <a:pt x="434985" y="16804"/>
                      <a:pt x="434985" y="17997"/>
                    </a:cubicBezTo>
                    <a:lnTo>
                      <a:pt x="434985" y="100258"/>
                    </a:lnTo>
                    <a:cubicBezTo>
                      <a:pt x="440946" y="105027"/>
                      <a:pt x="446907" y="109796"/>
                      <a:pt x="451669" y="114564"/>
                    </a:cubicBezTo>
                    <a:lnTo>
                      <a:pt x="451669" y="19189"/>
                    </a:lnTo>
                    <a:cubicBezTo>
                      <a:pt x="451669" y="8459"/>
                      <a:pt x="443327" y="114"/>
                      <a:pt x="432604" y="114"/>
                    </a:cubicBezTo>
                    <a:lnTo>
                      <a:pt x="19064" y="114"/>
                    </a:lnTo>
                    <a:cubicBezTo>
                      <a:pt x="8342" y="-1079"/>
                      <a:pt x="0" y="7266"/>
                      <a:pt x="0" y="17997"/>
                    </a:cubicBezTo>
                    <a:lnTo>
                      <a:pt x="0" y="431689"/>
                    </a:lnTo>
                    <a:cubicBezTo>
                      <a:pt x="0" y="442418"/>
                      <a:pt x="8342" y="450766"/>
                      <a:pt x="19064" y="450766"/>
                    </a:cubicBezTo>
                    <a:lnTo>
                      <a:pt x="95335" y="450766"/>
                    </a:lnTo>
                    <a:lnTo>
                      <a:pt x="90567" y="445998"/>
                    </a:lnTo>
                    <a:lnTo>
                      <a:pt x="88187" y="443611"/>
                    </a:lnTo>
                    <a:close/>
                  </a:path>
                </a:pathLst>
              </a:custGeom>
              <a:solidFill>
                <a:srgbClr val="2D5967"/>
              </a:solidFill>
              <a:ln w="6417" cap="flat">
                <a:noFill/>
                <a:prstDash val="solid"/>
                <a:miter/>
              </a:ln>
            </p:spPr>
            <p:txBody>
              <a:bodyPr rtlCol="0" anchor="ctr"/>
              <a:lstStyle/>
              <a:p>
                <a:endParaRPr lang="en-US"/>
              </a:p>
            </p:txBody>
          </p:sp>
          <p:sp>
            <p:nvSpPr>
              <p:cNvPr id="120" name="Freeform: Shape 147">
                <a:extLst>
                  <a:ext uri="{FF2B5EF4-FFF2-40B4-BE49-F238E27FC236}">
                    <a16:creationId xmlns:a16="http://schemas.microsoft.com/office/drawing/2014/main" id="{68362F5B-82AD-3961-5161-9129CDE9AA76}"/>
                  </a:ext>
                </a:extLst>
              </p:cNvPr>
              <p:cNvSpPr/>
              <p:nvPr/>
            </p:nvSpPr>
            <p:spPr>
              <a:xfrm>
                <a:off x="2054121" y="2422921"/>
                <a:ext cx="23832" cy="52457"/>
              </a:xfrm>
              <a:custGeom>
                <a:avLst/>
                <a:gdLst>
                  <a:gd name="connsiteX0" fmla="*/ 11916 w 23832"/>
                  <a:gd name="connsiteY0" fmla="*/ 52457 h 52457"/>
                  <a:gd name="connsiteX1" fmla="*/ 23832 w 23832"/>
                  <a:gd name="connsiteY1" fmla="*/ 52457 h 52457"/>
                  <a:gd name="connsiteX2" fmla="*/ 23832 w 23832"/>
                  <a:gd name="connsiteY2" fmla="*/ 0 h 52457"/>
                  <a:gd name="connsiteX3" fmla="*/ 15490 w 23832"/>
                  <a:gd name="connsiteY3" fmla="*/ 0 h 52457"/>
                  <a:gd name="connsiteX4" fmla="*/ 0 w 23832"/>
                  <a:gd name="connsiteY4" fmla="*/ 10730 h 52457"/>
                  <a:gd name="connsiteX5" fmla="*/ 0 w 23832"/>
                  <a:gd name="connsiteY5" fmla="*/ 17883 h 52457"/>
                  <a:gd name="connsiteX6" fmla="*/ 11916 w 23832"/>
                  <a:gd name="connsiteY6" fmla="*/ 13114 h 52457"/>
                  <a:gd name="connsiteX7" fmla="*/ 11916 w 23832"/>
                  <a:gd name="connsiteY7" fmla="*/ 52457 h 52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832" h="52457">
                    <a:moveTo>
                      <a:pt x="11916" y="52457"/>
                    </a:moveTo>
                    <a:lnTo>
                      <a:pt x="23832" y="52457"/>
                    </a:lnTo>
                    <a:lnTo>
                      <a:pt x="23832" y="0"/>
                    </a:lnTo>
                    <a:lnTo>
                      <a:pt x="15490" y="0"/>
                    </a:lnTo>
                    <a:lnTo>
                      <a:pt x="0" y="10730"/>
                    </a:lnTo>
                    <a:lnTo>
                      <a:pt x="0" y="17883"/>
                    </a:lnTo>
                    <a:lnTo>
                      <a:pt x="11916" y="13114"/>
                    </a:lnTo>
                    <a:lnTo>
                      <a:pt x="11916" y="52457"/>
                    </a:lnTo>
                    <a:close/>
                  </a:path>
                </a:pathLst>
              </a:custGeom>
              <a:solidFill>
                <a:srgbClr val="2D5967"/>
              </a:solidFill>
              <a:ln w="6417" cap="flat">
                <a:noFill/>
                <a:prstDash val="solid"/>
                <a:miter/>
              </a:ln>
            </p:spPr>
            <p:txBody>
              <a:bodyPr rtlCol="0" anchor="ctr"/>
              <a:lstStyle/>
              <a:p>
                <a:endParaRPr lang="en-US"/>
              </a:p>
            </p:txBody>
          </p:sp>
          <p:sp>
            <p:nvSpPr>
              <p:cNvPr id="121" name="Freeform: Shape 148">
                <a:extLst>
                  <a:ext uri="{FF2B5EF4-FFF2-40B4-BE49-F238E27FC236}">
                    <a16:creationId xmlns:a16="http://schemas.microsoft.com/office/drawing/2014/main" id="{50AB0070-B5F3-3C75-C53F-3C21980E80CA}"/>
                  </a:ext>
                </a:extLst>
              </p:cNvPr>
              <p:cNvSpPr/>
              <p:nvPr/>
            </p:nvSpPr>
            <p:spPr>
              <a:xfrm>
                <a:off x="2098211" y="2464645"/>
                <a:ext cx="11916" cy="10725"/>
              </a:xfrm>
              <a:custGeom>
                <a:avLst/>
                <a:gdLst>
                  <a:gd name="connsiteX0" fmla="*/ 11916 w 11916"/>
                  <a:gd name="connsiteY0" fmla="*/ 0 h 10725"/>
                  <a:gd name="connsiteX1" fmla="*/ 0 w 11916"/>
                  <a:gd name="connsiteY1" fmla="*/ 0 h 10725"/>
                  <a:gd name="connsiteX2" fmla="*/ 0 w 11916"/>
                  <a:gd name="connsiteY2" fmla="*/ 10726 h 10725"/>
                  <a:gd name="connsiteX3" fmla="*/ 11916 w 11916"/>
                  <a:gd name="connsiteY3" fmla="*/ 10726 h 10725"/>
                  <a:gd name="connsiteX4" fmla="*/ 11916 w 11916"/>
                  <a:gd name="connsiteY4" fmla="*/ 0 h 10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16" h="10725">
                    <a:moveTo>
                      <a:pt x="11916" y="0"/>
                    </a:moveTo>
                    <a:lnTo>
                      <a:pt x="0" y="0"/>
                    </a:lnTo>
                    <a:lnTo>
                      <a:pt x="0" y="10726"/>
                    </a:lnTo>
                    <a:lnTo>
                      <a:pt x="11916" y="10726"/>
                    </a:lnTo>
                    <a:lnTo>
                      <a:pt x="11916" y="0"/>
                    </a:lnTo>
                    <a:close/>
                  </a:path>
                </a:pathLst>
              </a:custGeom>
              <a:solidFill>
                <a:srgbClr val="2D5967"/>
              </a:solidFill>
              <a:ln w="6417" cap="flat">
                <a:noFill/>
                <a:prstDash val="solid"/>
                <a:miter/>
              </a:ln>
            </p:spPr>
            <p:txBody>
              <a:bodyPr rtlCol="0" anchor="ctr"/>
              <a:lstStyle/>
              <a:p>
                <a:endParaRPr lang="en-US"/>
              </a:p>
            </p:txBody>
          </p:sp>
          <p:sp>
            <p:nvSpPr>
              <p:cNvPr id="122" name="Freeform: Shape 149">
                <a:extLst>
                  <a:ext uri="{FF2B5EF4-FFF2-40B4-BE49-F238E27FC236}">
                    <a16:creationId xmlns:a16="http://schemas.microsoft.com/office/drawing/2014/main" id="{ABD86339-6C7A-078F-56A1-26E9AC1B4D8C}"/>
                  </a:ext>
                </a:extLst>
              </p:cNvPr>
              <p:cNvSpPr/>
              <p:nvPr/>
            </p:nvSpPr>
            <p:spPr>
              <a:xfrm>
                <a:off x="2098211" y="2436031"/>
                <a:ext cx="11916" cy="10725"/>
              </a:xfrm>
              <a:custGeom>
                <a:avLst/>
                <a:gdLst>
                  <a:gd name="connsiteX0" fmla="*/ 11916 w 11916"/>
                  <a:gd name="connsiteY0" fmla="*/ 0 h 10725"/>
                  <a:gd name="connsiteX1" fmla="*/ 0 w 11916"/>
                  <a:gd name="connsiteY1" fmla="*/ 0 h 10725"/>
                  <a:gd name="connsiteX2" fmla="*/ 0 w 11916"/>
                  <a:gd name="connsiteY2" fmla="*/ 10726 h 10725"/>
                  <a:gd name="connsiteX3" fmla="*/ 11916 w 11916"/>
                  <a:gd name="connsiteY3" fmla="*/ 10726 h 10725"/>
                  <a:gd name="connsiteX4" fmla="*/ 11916 w 11916"/>
                  <a:gd name="connsiteY4" fmla="*/ 0 h 10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16" h="10725">
                    <a:moveTo>
                      <a:pt x="11916" y="0"/>
                    </a:moveTo>
                    <a:lnTo>
                      <a:pt x="0" y="0"/>
                    </a:lnTo>
                    <a:lnTo>
                      <a:pt x="0" y="10726"/>
                    </a:lnTo>
                    <a:lnTo>
                      <a:pt x="11916" y="10726"/>
                    </a:lnTo>
                    <a:lnTo>
                      <a:pt x="11916" y="0"/>
                    </a:lnTo>
                    <a:close/>
                  </a:path>
                </a:pathLst>
              </a:custGeom>
              <a:solidFill>
                <a:srgbClr val="2D5967"/>
              </a:solidFill>
              <a:ln w="6417" cap="flat">
                <a:noFill/>
                <a:prstDash val="solid"/>
                <a:miter/>
              </a:ln>
            </p:spPr>
            <p:txBody>
              <a:bodyPr rtlCol="0" anchor="ctr"/>
              <a:lstStyle/>
              <a:p>
                <a:endParaRPr lang="en-US"/>
              </a:p>
            </p:txBody>
          </p:sp>
          <p:sp>
            <p:nvSpPr>
              <p:cNvPr id="123" name="Freeform: Shape 150">
                <a:extLst>
                  <a:ext uri="{FF2B5EF4-FFF2-40B4-BE49-F238E27FC236}">
                    <a16:creationId xmlns:a16="http://schemas.microsoft.com/office/drawing/2014/main" id="{B3E9F362-2EC0-395C-F87A-FB9468E7B595}"/>
                  </a:ext>
                </a:extLst>
              </p:cNvPr>
              <p:cNvSpPr/>
              <p:nvPr/>
            </p:nvSpPr>
            <p:spPr>
              <a:xfrm>
                <a:off x="2130378" y="2421725"/>
                <a:ext cx="48857" cy="53648"/>
              </a:xfrm>
              <a:custGeom>
                <a:avLst/>
                <a:gdLst>
                  <a:gd name="connsiteX0" fmla="*/ 11916 w 48857"/>
                  <a:gd name="connsiteY0" fmla="*/ 53649 h 53648"/>
                  <a:gd name="connsiteX1" fmla="*/ 23832 w 48857"/>
                  <a:gd name="connsiteY1" fmla="*/ 33382 h 53648"/>
                  <a:gd name="connsiteX2" fmla="*/ 35748 w 48857"/>
                  <a:gd name="connsiteY2" fmla="*/ 53649 h 53648"/>
                  <a:gd name="connsiteX3" fmla="*/ 48858 w 48857"/>
                  <a:gd name="connsiteY3" fmla="*/ 53649 h 53648"/>
                  <a:gd name="connsiteX4" fmla="*/ 32174 w 48857"/>
                  <a:gd name="connsiteY4" fmla="*/ 26228 h 53648"/>
                  <a:gd name="connsiteX5" fmla="*/ 47671 w 48857"/>
                  <a:gd name="connsiteY5" fmla="*/ 0 h 53648"/>
                  <a:gd name="connsiteX6" fmla="*/ 34561 w 48857"/>
                  <a:gd name="connsiteY6" fmla="*/ 0 h 53648"/>
                  <a:gd name="connsiteX7" fmla="*/ 23832 w 48857"/>
                  <a:gd name="connsiteY7" fmla="*/ 19075 h 53648"/>
                  <a:gd name="connsiteX8" fmla="*/ 13110 w 48857"/>
                  <a:gd name="connsiteY8" fmla="*/ 0 h 53648"/>
                  <a:gd name="connsiteX9" fmla="*/ 0 w 48857"/>
                  <a:gd name="connsiteY9" fmla="*/ 0 h 53648"/>
                  <a:gd name="connsiteX10" fmla="*/ 15490 w 48857"/>
                  <a:gd name="connsiteY10" fmla="*/ 26228 h 53648"/>
                  <a:gd name="connsiteX11" fmla="*/ 0 w 48857"/>
                  <a:gd name="connsiteY11" fmla="*/ 53649 h 53648"/>
                  <a:gd name="connsiteX12" fmla="*/ 11916 w 48857"/>
                  <a:gd name="connsiteY12" fmla="*/ 53649 h 5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857" h="53648">
                    <a:moveTo>
                      <a:pt x="11916" y="53649"/>
                    </a:moveTo>
                    <a:lnTo>
                      <a:pt x="23832" y="33382"/>
                    </a:lnTo>
                    <a:lnTo>
                      <a:pt x="35748" y="53649"/>
                    </a:lnTo>
                    <a:lnTo>
                      <a:pt x="48858" y="53649"/>
                    </a:lnTo>
                    <a:lnTo>
                      <a:pt x="32174" y="26228"/>
                    </a:lnTo>
                    <a:lnTo>
                      <a:pt x="47671" y="0"/>
                    </a:lnTo>
                    <a:lnTo>
                      <a:pt x="34561" y="0"/>
                    </a:lnTo>
                    <a:lnTo>
                      <a:pt x="23832" y="19075"/>
                    </a:lnTo>
                    <a:lnTo>
                      <a:pt x="13110" y="0"/>
                    </a:lnTo>
                    <a:lnTo>
                      <a:pt x="0" y="0"/>
                    </a:lnTo>
                    <a:lnTo>
                      <a:pt x="15490" y="26228"/>
                    </a:lnTo>
                    <a:lnTo>
                      <a:pt x="0" y="53649"/>
                    </a:lnTo>
                    <a:lnTo>
                      <a:pt x="11916" y="53649"/>
                    </a:lnTo>
                    <a:close/>
                  </a:path>
                </a:pathLst>
              </a:custGeom>
              <a:solidFill>
                <a:srgbClr val="2D5967"/>
              </a:solidFill>
              <a:ln w="6417" cap="flat">
                <a:noFill/>
                <a:prstDash val="solid"/>
                <a:miter/>
              </a:ln>
            </p:spPr>
            <p:txBody>
              <a:bodyPr rtlCol="0" anchor="ctr"/>
              <a:lstStyle/>
              <a:p>
                <a:endParaRPr lang="en-US"/>
              </a:p>
            </p:txBody>
          </p:sp>
          <p:sp>
            <p:nvSpPr>
              <p:cNvPr id="124" name="Freeform: Shape 151">
                <a:extLst>
                  <a:ext uri="{FF2B5EF4-FFF2-40B4-BE49-F238E27FC236}">
                    <a16:creationId xmlns:a16="http://schemas.microsoft.com/office/drawing/2014/main" id="{FD55A831-FF36-2057-5D68-C7538A984447}"/>
                  </a:ext>
                </a:extLst>
              </p:cNvPr>
              <p:cNvSpPr/>
              <p:nvPr/>
            </p:nvSpPr>
            <p:spPr>
              <a:xfrm>
                <a:off x="2192352" y="2420512"/>
                <a:ext cx="47670" cy="54840"/>
              </a:xfrm>
              <a:custGeom>
                <a:avLst/>
                <a:gdLst>
                  <a:gd name="connsiteX0" fmla="*/ 25026 w 47670"/>
                  <a:gd name="connsiteY0" fmla="*/ 0 h 54840"/>
                  <a:gd name="connsiteX1" fmla="*/ 7148 w 47670"/>
                  <a:gd name="connsiteY1" fmla="*/ 7154 h 54840"/>
                  <a:gd name="connsiteX2" fmla="*/ 0 w 47670"/>
                  <a:gd name="connsiteY2" fmla="*/ 27420 h 54840"/>
                  <a:gd name="connsiteX3" fmla="*/ 5961 w 47670"/>
                  <a:gd name="connsiteY3" fmla="*/ 47688 h 54840"/>
                  <a:gd name="connsiteX4" fmla="*/ 23832 w 47670"/>
                  <a:gd name="connsiteY4" fmla="*/ 54841 h 54840"/>
                  <a:gd name="connsiteX5" fmla="*/ 41709 w 47670"/>
                  <a:gd name="connsiteY5" fmla="*/ 47688 h 54840"/>
                  <a:gd name="connsiteX6" fmla="*/ 47671 w 47670"/>
                  <a:gd name="connsiteY6" fmla="*/ 27420 h 54840"/>
                  <a:gd name="connsiteX7" fmla="*/ 41709 w 47670"/>
                  <a:gd name="connsiteY7" fmla="*/ 7154 h 54840"/>
                  <a:gd name="connsiteX8" fmla="*/ 25026 w 47670"/>
                  <a:gd name="connsiteY8" fmla="*/ 0 h 54840"/>
                  <a:gd name="connsiteX9" fmla="*/ 35755 w 47670"/>
                  <a:gd name="connsiteY9" fmla="*/ 41727 h 54840"/>
                  <a:gd name="connsiteX10" fmla="*/ 26219 w 47670"/>
                  <a:gd name="connsiteY10" fmla="*/ 46496 h 54840"/>
                  <a:gd name="connsiteX11" fmla="*/ 15490 w 47670"/>
                  <a:gd name="connsiteY11" fmla="*/ 41727 h 54840"/>
                  <a:gd name="connsiteX12" fmla="*/ 11916 w 47670"/>
                  <a:gd name="connsiteY12" fmla="*/ 28613 h 54840"/>
                  <a:gd name="connsiteX13" fmla="*/ 15490 w 47670"/>
                  <a:gd name="connsiteY13" fmla="*/ 15499 h 54840"/>
                  <a:gd name="connsiteX14" fmla="*/ 25026 w 47670"/>
                  <a:gd name="connsiteY14" fmla="*/ 10730 h 54840"/>
                  <a:gd name="connsiteX15" fmla="*/ 34561 w 47670"/>
                  <a:gd name="connsiteY15" fmla="*/ 15499 h 54840"/>
                  <a:gd name="connsiteX16" fmla="*/ 38135 w 47670"/>
                  <a:gd name="connsiteY16" fmla="*/ 28613 h 54840"/>
                  <a:gd name="connsiteX17" fmla="*/ 35755 w 47670"/>
                  <a:gd name="connsiteY17" fmla="*/ 41727 h 54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670" h="54840">
                    <a:moveTo>
                      <a:pt x="25026" y="0"/>
                    </a:moveTo>
                    <a:cubicBezTo>
                      <a:pt x="16684" y="0"/>
                      <a:pt x="10722" y="2385"/>
                      <a:pt x="7148" y="7154"/>
                    </a:cubicBezTo>
                    <a:cubicBezTo>
                      <a:pt x="2381" y="11922"/>
                      <a:pt x="0" y="19075"/>
                      <a:pt x="0" y="27420"/>
                    </a:cubicBezTo>
                    <a:cubicBezTo>
                      <a:pt x="0" y="35766"/>
                      <a:pt x="2381" y="42919"/>
                      <a:pt x="5961" y="47688"/>
                    </a:cubicBezTo>
                    <a:cubicBezTo>
                      <a:pt x="10722" y="52457"/>
                      <a:pt x="16684" y="54841"/>
                      <a:pt x="23832" y="54841"/>
                    </a:cubicBezTo>
                    <a:cubicBezTo>
                      <a:pt x="32174" y="54841"/>
                      <a:pt x="38135" y="52457"/>
                      <a:pt x="41709" y="47688"/>
                    </a:cubicBezTo>
                    <a:cubicBezTo>
                      <a:pt x="46477" y="42919"/>
                      <a:pt x="47671" y="35766"/>
                      <a:pt x="47671" y="27420"/>
                    </a:cubicBezTo>
                    <a:cubicBezTo>
                      <a:pt x="47671" y="19075"/>
                      <a:pt x="45284" y="11922"/>
                      <a:pt x="41709" y="7154"/>
                    </a:cubicBezTo>
                    <a:cubicBezTo>
                      <a:pt x="39329" y="2385"/>
                      <a:pt x="33367" y="0"/>
                      <a:pt x="25026" y="0"/>
                    </a:cubicBezTo>
                    <a:close/>
                    <a:moveTo>
                      <a:pt x="35755" y="41727"/>
                    </a:moveTo>
                    <a:cubicBezTo>
                      <a:pt x="33367" y="45304"/>
                      <a:pt x="29793" y="46496"/>
                      <a:pt x="26219" y="46496"/>
                    </a:cubicBezTo>
                    <a:cubicBezTo>
                      <a:pt x="22645" y="46496"/>
                      <a:pt x="17877" y="44111"/>
                      <a:pt x="15490" y="41727"/>
                    </a:cubicBezTo>
                    <a:cubicBezTo>
                      <a:pt x="13110" y="39342"/>
                      <a:pt x="11916" y="34574"/>
                      <a:pt x="11916" y="28613"/>
                    </a:cubicBezTo>
                    <a:cubicBezTo>
                      <a:pt x="11916" y="22652"/>
                      <a:pt x="13110" y="17883"/>
                      <a:pt x="15490" y="15499"/>
                    </a:cubicBezTo>
                    <a:cubicBezTo>
                      <a:pt x="17877" y="11922"/>
                      <a:pt x="21451" y="10730"/>
                      <a:pt x="25026" y="10730"/>
                    </a:cubicBezTo>
                    <a:cubicBezTo>
                      <a:pt x="28600" y="10730"/>
                      <a:pt x="32174" y="11922"/>
                      <a:pt x="34561" y="15499"/>
                    </a:cubicBezTo>
                    <a:cubicBezTo>
                      <a:pt x="36942" y="19075"/>
                      <a:pt x="38135" y="22652"/>
                      <a:pt x="38135" y="28613"/>
                    </a:cubicBezTo>
                    <a:cubicBezTo>
                      <a:pt x="38135" y="33382"/>
                      <a:pt x="36942" y="38151"/>
                      <a:pt x="35755" y="41727"/>
                    </a:cubicBezTo>
                    <a:close/>
                  </a:path>
                </a:pathLst>
              </a:custGeom>
              <a:solidFill>
                <a:srgbClr val="2D5967"/>
              </a:solidFill>
              <a:ln w="6417" cap="flat">
                <a:noFill/>
                <a:prstDash val="solid"/>
                <a:miter/>
              </a:ln>
            </p:spPr>
            <p:txBody>
              <a:bodyPr rtlCol="0" anchor="ctr"/>
              <a:lstStyle/>
              <a:p>
                <a:endParaRPr lang="en-US"/>
              </a:p>
            </p:txBody>
          </p:sp>
          <p:sp>
            <p:nvSpPr>
              <p:cNvPr id="125" name="Freeform: Shape 152">
                <a:extLst>
                  <a:ext uri="{FF2B5EF4-FFF2-40B4-BE49-F238E27FC236}">
                    <a16:creationId xmlns:a16="http://schemas.microsoft.com/office/drawing/2014/main" id="{7257A245-F36E-AE33-0D27-9250BD63FBE9}"/>
                  </a:ext>
                </a:extLst>
              </p:cNvPr>
              <p:cNvSpPr/>
              <p:nvPr/>
            </p:nvSpPr>
            <p:spPr>
              <a:xfrm>
                <a:off x="2256720" y="2421725"/>
                <a:ext cx="47670" cy="53648"/>
              </a:xfrm>
              <a:custGeom>
                <a:avLst/>
                <a:gdLst>
                  <a:gd name="connsiteX0" fmla="*/ 47671 w 47670"/>
                  <a:gd name="connsiteY0" fmla="*/ 0 h 53648"/>
                  <a:gd name="connsiteX1" fmla="*/ 34561 w 47670"/>
                  <a:gd name="connsiteY1" fmla="*/ 0 h 53648"/>
                  <a:gd name="connsiteX2" fmla="*/ 23839 w 47670"/>
                  <a:gd name="connsiteY2" fmla="*/ 17883 h 53648"/>
                  <a:gd name="connsiteX3" fmla="*/ 13110 w 47670"/>
                  <a:gd name="connsiteY3" fmla="*/ 0 h 53648"/>
                  <a:gd name="connsiteX4" fmla="*/ 0 w 47670"/>
                  <a:gd name="connsiteY4" fmla="*/ 0 h 53648"/>
                  <a:gd name="connsiteX5" fmla="*/ 15497 w 47670"/>
                  <a:gd name="connsiteY5" fmla="*/ 26228 h 53648"/>
                  <a:gd name="connsiteX6" fmla="*/ 0 w 47670"/>
                  <a:gd name="connsiteY6" fmla="*/ 53649 h 53648"/>
                  <a:gd name="connsiteX7" fmla="*/ 11923 w 47670"/>
                  <a:gd name="connsiteY7" fmla="*/ 53649 h 53648"/>
                  <a:gd name="connsiteX8" fmla="*/ 13110 w 47670"/>
                  <a:gd name="connsiteY8" fmla="*/ 52456 h 53648"/>
                  <a:gd name="connsiteX9" fmla="*/ 23839 w 47670"/>
                  <a:gd name="connsiteY9" fmla="*/ 33382 h 53648"/>
                  <a:gd name="connsiteX10" fmla="*/ 29793 w 47670"/>
                  <a:gd name="connsiteY10" fmla="*/ 42919 h 53648"/>
                  <a:gd name="connsiteX11" fmla="*/ 40522 w 47670"/>
                  <a:gd name="connsiteY11" fmla="*/ 38150 h 53648"/>
                  <a:gd name="connsiteX12" fmla="*/ 33374 w 47670"/>
                  <a:gd name="connsiteY12" fmla="*/ 25036 h 53648"/>
                  <a:gd name="connsiteX13" fmla="*/ 47671 w 47670"/>
                  <a:gd name="connsiteY13" fmla="*/ 0 h 5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670" h="53648">
                    <a:moveTo>
                      <a:pt x="47671" y="0"/>
                    </a:moveTo>
                    <a:lnTo>
                      <a:pt x="34561" y="0"/>
                    </a:lnTo>
                    <a:lnTo>
                      <a:pt x="23839" y="17883"/>
                    </a:lnTo>
                    <a:lnTo>
                      <a:pt x="13110" y="0"/>
                    </a:lnTo>
                    <a:lnTo>
                      <a:pt x="0" y="0"/>
                    </a:lnTo>
                    <a:lnTo>
                      <a:pt x="15497" y="26228"/>
                    </a:lnTo>
                    <a:lnTo>
                      <a:pt x="0" y="53649"/>
                    </a:lnTo>
                    <a:lnTo>
                      <a:pt x="11923" y="53649"/>
                    </a:lnTo>
                    <a:cubicBezTo>
                      <a:pt x="11923" y="53649"/>
                      <a:pt x="13110" y="53649"/>
                      <a:pt x="13110" y="52456"/>
                    </a:cubicBezTo>
                    <a:lnTo>
                      <a:pt x="23839" y="33382"/>
                    </a:lnTo>
                    <a:lnTo>
                      <a:pt x="29793" y="42919"/>
                    </a:lnTo>
                    <a:cubicBezTo>
                      <a:pt x="33374" y="41727"/>
                      <a:pt x="36948" y="39342"/>
                      <a:pt x="40522" y="38150"/>
                    </a:cubicBezTo>
                    <a:lnTo>
                      <a:pt x="33374" y="25036"/>
                    </a:lnTo>
                    <a:lnTo>
                      <a:pt x="47671" y="0"/>
                    </a:lnTo>
                    <a:close/>
                  </a:path>
                </a:pathLst>
              </a:custGeom>
              <a:solidFill>
                <a:srgbClr val="2D5967"/>
              </a:solidFill>
              <a:ln w="6417" cap="flat">
                <a:noFill/>
                <a:prstDash val="solid"/>
                <a:miter/>
              </a:ln>
            </p:spPr>
            <p:txBody>
              <a:bodyPr rtlCol="0" anchor="ctr"/>
              <a:lstStyle/>
              <a:p>
                <a:endParaRPr lang="en-US"/>
              </a:p>
            </p:txBody>
          </p:sp>
          <p:sp>
            <p:nvSpPr>
              <p:cNvPr id="126" name="Freeform: Shape 153">
                <a:extLst>
                  <a:ext uri="{FF2B5EF4-FFF2-40B4-BE49-F238E27FC236}">
                    <a16:creationId xmlns:a16="http://schemas.microsoft.com/office/drawing/2014/main" id="{591F992F-AAFD-0DD7-B214-8F0A0B32690E}"/>
                  </a:ext>
                </a:extLst>
              </p:cNvPr>
              <p:cNvSpPr/>
              <p:nvPr/>
            </p:nvSpPr>
            <p:spPr>
              <a:xfrm>
                <a:off x="2321061" y="2420512"/>
                <a:ext cx="48864" cy="32177"/>
              </a:xfrm>
              <a:custGeom>
                <a:avLst/>
                <a:gdLst>
                  <a:gd name="connsiteX0" fmla="*/ 41716 w 48864"/>
                  <a:gd name="connsiteY0" fmla="*/ 7150 h 32177"/>
                  <a:gd name="connsiteX1" fmla="*/ 23839 w 48864"/>
                  <a:gd name="connsiteY1" fmla="*/ 0 h 32177"/>
                  <a:gd name="connsiteX2" fmla="*/ 5961 w 48864"/>
                  <a:gd name="connsiteY2" fmla="*/ 7150 h 32177"/>
                  <a:gd name="connsiteX3" fmla="*/ 0 w 48864"/>
                  <a:gd name="connsiteY3" fmla="*/ 27410 h 32177"/>
                  <a:gd name="connsiteX4" fmla="*/ 0 w 48864"/>
                  <a:gd name="connsiteY4" fmla="*/ 32177 h 32177"/>
                  <a:gd name="connsiteX5" fmla="*/ 10729 w 48864"/>
                  <a:gd name="connsiteY5" fmla="*/ 30986 h 32177"/>
                  <a:gd name="connsiteX6" fmla="*/ 10729 w 48864"/>
                  <a:gd name="connsiteY6" fmla="*/ 28602 h 32177"/>
                  <a:gd name="connsiteX7" fmla="*/ 14303 w 48864"/>
                  <a:gd name="connsiteY7" fmla="*/ 15493 h 32177"/>
                  <a:gd name="connsiteX8" fmla="*/ 23839 w 48864"/>
                  <a:gd name="connsiteY8" fmla="*/ 10726 h 32177"/>
                  <a:gd name="connsiteX9" fmla="*/ 33374 w 48864"/>
                  <a:gd name="connsiteY9" fmla="*/ 15493 h 32177"/>
                  <a:gd name="connsiteX10" fmla="*/ 36948 w 48864"/>
                  <a:gd name="connsiteY10" fmla="*/ 28602 h 32177"/>
                  <a:gd name="connsiteX11" fmla="*/ 36948 w 48864"/>
                  <a:gd name="connsiteY11" fmla="*/ 29794 h 32177"/>
                  <a:gd name="connsiteX12" fmla="*/ 48864 w 48864"/>
                  <a:gd name="connsiteY12" fmla="*/ 29794 h 32177"/>
                  <a:gd name="connsiteX13" fmla="*/ 48864 w 48864"/>
                  <a:gd name="connsiteY13" fmla="*/ 28602 h 32177"/>
                  <a:gd name="connsiteX14" fmla="*/ 41716 w 48864"/>
                  <a:gd name="connsiteY14" fmla="*/ 7150 h 32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864" h="32177">
                    <a:moveTo>
                      <a:pt x="41716" y="7150"/>
                    </a:moveTo>
                    <a:cubicBezTo>
                      <a:pt x="36948" y="2383"/>
                      <a:pt x="30987" y="0"/>
                      <a:pt x="23839" y="0"/>
                    </a:cubicBezTo>
                    <a:cubicBezTo>
                      <a:pt x="15497" y="0"/>
                      <a:pt x="9536" y="2383"/>
                      <a:pt x="5961" y="7150"/>
                    </a:cubicBezTo>
                    <a:cubicBezTo>
                      <a:pt x="1194" y="11917"/>
                      <a:pt x="0" y="19068"/>
                      <a:pt x="0" y="27410"/>
                    </a:cubicBezTo>
                    <a:cubicBezTo>
                      <a:pt x="0" y="29794"/>
                      <a:pt x="0" y="30986"/>
                      <a:pt x="0" y="32177"/>
                    </a:cubicBezTo>
                    <a:cubicBezTo>
                      <a:pt x="2387" y="32177"/>
                      <a:pt x="5961" y="30986"/>
                      <a:pt x="10729" y="30986"/>
                    </a:cubicBezTo>
                    <a:cubicBezTo>
                      <a:pt x="10729" y="29794"/>
                      <a:pt x="10729" y="28602"/>
                      <a:pt x="10729" y="28602"/>
                    </a:cubicBezTo>
                    <a:cubicBezTo>
                      <a:pt x="10729" y="22643"/>
                      <a:pt x="11923" y="17876"/>
                      <a:pt x="14303" y="15493"/>
                    </a:cubicBezTo>
                    <a:cubicBezTo>
                      <a:pt x="16684" y="11917"/>
                      <a:pt x="20265" y="10726"/>
                      <a:pt x="23839" y="10726"/>
                    </a:cubicBezTo>
                    <a:cubicBezTo>
                      <a:pt x="27413" y="10726"/>
                      <a:pt x="30987" y="11917"/>
                      <a:pt x="33374" y="15493"/>
                    </a:cubicBezTo>
                    <a:cubicBezTo>
                      <a:pt x="35755" y="19068"/>
                      <a:pt x="36948" y="22643"/>
                      <a:pt x="36948" y="28602"/>
                    </a:cubicBezTo>
                    <a:lnTo>
                      <a:pt x="36948" y="29794"/>
                    </a:lnTo>
                    <a:cubicBezTo>
                      <a:pt x="40522" y="29794"/>
                      <a:pt x="45290" y="29794"/>
                      <a:pt x="48864" y="29794"/>
                    </a:cubicBezTo>
                    <a:lnTo>
                      <a:pt x="48864" y="28602"/>
                    </a:lnTo>
                    <a:cubicBezTo>
                      <a:pt x="47671" y="19068"/>
                      <a:pt x="46477" y="11917"/>
                      <a:pt x="41716" y="7150"/>
                    </a:cubicBezTo>
                    <a:close/>
                  </a:path>
                </a:pathLst>
              </a:custGeom>
              <a:solidFill>
                <a:srgbClr val="2D5967"/>
              </a:solidFill>
              <a:ln w="6417" cap="flat">
                <a:noFill/>
                <a:prstDash val="solid"/>
                <a:miter/>
              </a:ln>
            </p:spPr>
            <p:txBody>
              <a:bodyPr rtlCol="0" anchor="ctr"/>
              <a:lstStyle/>
              <a:p>
                <a:endParaRPr lang="en-US"/>
              </a:p>
            </p:txBody>
          </p:sp>
          <p:sp>
            <p:nvSpPr>
              <p:cNvPr id="127" name="Freeform: Shape 154">
                <a:extLst>
                  <a:ext uri="{FF2B5EF4-FFF2-40B4-BE49-F238E27FC236}">
                    <a16:creationId xmlns:a16="http://schemas.microsoft.com/office/drawing/2014/main" id="{EC70A01F-4B36-378D-7088-55DAE55F3825}"/>
                  </a:ext>
                </a:extLst>
              </p:cNvPr>
              <p:cNvSpPr/>
              <p:nvPr/>
            </p:nvSpPr>
            <p:spPr>
              <a:xfrm>
                <a:off x="2384235" y="2421725"/>
                <a:ext cx="47670" cy="44111"/>
              </a:xfrm>
              <a:custGeom>
                <a:avLst/>
                <a:gdLst>
                  <a:gd name="connsiteX0" fmla="*/ 47671 w 47670"/>
                  <a:gd name="connsiteY0" fmla="*/ 0 h 44111"/>
                  <a:gd name="connsiteX1" fmla="*/ 34561 w 47670"/>
                  <a:gd name="connsiteY1" fmla="*/ 0 h 44111"/>
                  <a:gd name="connsiteX2" fmla="*/ 23839 w 47670"/>
                  <a:gd name="connsiteY2" fmla="*/ 17883 h 44111"/>
                  <a:gd name="connsiteX3" fmla="*/ 13110 w 47670"/>
                  <a:gd name="connsiteY3" fmla="*/ 0 h 44111"/>
                  <a:gd name="connsiteX4" fmla="*/ 0 w 47670"/>
                  <a:gd name="connsiteY4" fmla="*/ 0 h 44111"/>
                  <a:gd name="connsiteX5" fmla="*/ 15497 w 47670"/>
                  <a:gd name="connsiteY5" fmla="*/ 26228 h 44111"/>
                  <a:gd name="connsiteX6" fmla="*/ 11916 w 47670"/>
                  <a:gd name="connsiteY6" fmla="*/ 33382 h 44111"/>
                  <a:gd name="connsiteX7" fmla="*/ 22645 w 47670"/>
                  <a:gd name="connsiteY7" fmla="*/ 35766 h 44111"/>
                  <a:gd name="connsiteX8" fmla="*/ 23839 w 47670"/>
                  <a:gd name="connsiteY8" fmla="*/ 33382 h 44111"/>
                  <a:gd name="connsiteX9" fmla="*/ 26219 w 47670"/>
                  <a:gd name="connsiteY9" fmla="*/ 36958 h 44111"/>
                  <a:gd name="connsiteX10" fmla="*/ 42903 w 47670"/>
                  <a:gd name="connsiteY10" fmla="*/ 44111 h 44111"/>
                  <a:gd name="connsiteX11" fmla="*/ 32181 w 47670"/>
                  <a:gd name="connsiteY11" fmla="*/ 26228 h 44111"/>
                  <a:gd name="connsiteX12" fmla="*/ 47671 w 47670"/>
                  <a:gd name="connsiteY12" fmla="*/ 0 h 44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670" h="44111">
                    <a:moveTo>
                      <a:pt x="47671" y="0"/>
                    </a:moveTo>
                    <a:lnTo>
                      <a:pt x="34561" y="0"/>
                    </a:lnTo>
                    <a:lnTo>
                      <a:pt x="23839" y="17883"/>
                    </a:lnTo>
                    <a:lnTo>
                      <a:pt x="13110" y="0"/>
                    </a:lnTo>
                    <a:lnTo>
                      <a:pt x="0" y="0"/>
                    </a:lnTo>
                    <a:lnTo>
                      <a:pt x="15497" y="26228"/>
                    </a:lnTo>
                    <a:lnTo>
                      <a:pt x="11916" y="33382"/>
                    </a:lnTo>
                    <a:cubicBezTo>
                      <a:pt x="15497" y="34573"/>
                      <a:pt x="19071" y="35766"/>
                      <a:pt x="22645" y="35766"/>
                    </a:cubicBezTo>
                    <a:lnTo>
                      <a:pt x="23839" y="33382"/>
                    </a:lnTo>
                    <a:lnTo>
                      <a:pt x="26219" y="36958"/>
                    </a:lnTo>
                    <a:cubicBezTo>
                      <a:pt x="32181" y="39342"/>
                      <a:pt x="38135" y="41727"/>
                      <a:pt x="42903" y="44111"/>
                    </a:cubicBezTo>
                    <a:lnTo>
                      <a:pt x="32181" y="26228"/>
                    </a:lnTo>
                    <a:lnTo>
                      <a:pt x="47671" y="0"/>
                    </a:lnTo>
                    <a:close/>
                  </a:path>
                </a:pathLst>
              </a:custGeom>
              <a:solidFill>
                <a:srgbClr val="2D5967"/>
              </a:solidFill>
              <a:ln w="6417" cap="flat">
                <a:noFill/>
                <a:prstDash val="solid"/>
                <a:miter/>
              </a:ln>
            </p:spPr>
            <p:txBody>
              <a:bodyPr rtlCol="0" anchor="ctr"/>
              <a:lstStyle/>
              <a:p>
                <a:endParaRPr lang="en-US"/>
              </a:p>
            </p:txBody>
          </p:sp>
          <p:sp>
            <p:nvSpPr>
              <p:cNvPr id="128" name="Freeform: Shape 155">
                <a:extLst>
                  <a:ext uri="{FF2B5EF4-FFF2-40B4-BE49-F238E27FC236}">
                    <a16:creationId xmlns:a16="http://schemas.microsoft.com/office/drawing/2014/main" id="{EB98B30B-42B0-AC85-8865-18DF7A3F8D52}"/>
                  </a:ext>
                </a:extLst>
              </p:cNvPr>
              <p:cNvSpPr/>
              <p:nvPr/>
            </p:nvSpPr>
            <p:spPr>
              <a:xfrm>
                <a:off x="2055301" y="2518292"/>
                <a:ext cx="33373" cy="52457"/>
              </a:xfrm>
              <a:custGeom>
                <a:avLst/>
                <a:gdLst>
                  <a:gd name="connsiteX0" fmla="*/ 20264 w 33373"/>
                  <a:gd name="connsiteY0" fmla="*/ 35766 h 52457"/>
                  <a:gd name="connsiteX1" fmla="*/ 27413 w 33373"/>
                  <a:gd name="connsiteY1" fmla="*/ 27421 h 52457"/>
                  <a:gd name="connsiteX2" fmla="*/ 30987 w 33373"/>
                  <a:gd name="connsiteY2" fmla="*/ 20268 h 52457"/>
                  <a:gd name="connsiteX3" fmla="*/ 33374 w 33373"/>
                  <a:gd name="connsiteY3" fmla="*/ 14306 h 52457"/>
                  <a:gd name="connsiteX4" fmla="*/ 28606 w 33373"/>
                  <a:gd name="connsiteY4" fmla="*/ 3577 h 52457"/>
                  <a:gd name="connsiteX5" fmla="*/ 15497 w 33373"/>
                  <a:gd name="connsiteY5" fmla="*/ 0 h 52457"/>
                  <a:gd name="connsiteX6" fmla="*/ 7155 w 33373"/>
                  <a:gd name="connsiteY6" fmla="*/ 1192 h 52457"/>
                  <a:gd name="connsiteX7" fmla="*/ 0 w 33373"/>
                  <a:gd name="connsiteY7" fmla="*/ 3577 h 52457"/>
                  <a:gd name="connsiteX8" fmla="*/ 0 w 33373"/>
                  <a:gd name="connsiteY8" fmla="*/ 13115 h 52457"/>
                  <a:gd name="connsiteX9" fmla="*/ 13110 w 33373"/>
                  <a:gd name="connsiteY9" fmla="*/ 9538 h 52457"/>
                  <a:gd name="connsiteX10" fmla="*/ 21451 w 33373"/>
                  <a:gd name="connsiteY10" fmla="*/ 16691 h 52457"/>
                  <a:gd name="connsiteX11" fmla="*/ 21451 w 33373"/>
                  <a:gd name="connsiteY11" fmla="*/ 19075 h 52457"/>
                  <a:gd name="connsiteX12" fmla="*/ 19071 w 33373"/>
                  <a:gd name="connsiteY12" fmla="*/ 23844 h 52457"/>
                  <a:gd name="connsiteX13" fmla="*/ 13110 w 33373"/>
                  <a:gd name="connsiteY13" fmla="*/ 30997 h 52457"/>
                  <a:gd name="connsiteX14" fmla="*/ 0 w 33373"/>
                  <a:gd name="connsiteY14" fmla="*/ 45304 h 52457"/>
                  <a:gd name="connsiteX15" fmla="*/ 0 w 33373"/>
                  <a:gd name="connsiteY15" fmla="*/ 52457 h 52457"/>
                  <a:gd name="connsiteX16" fmla="*/ 33374 w 33373"/>
                  <a:gd name="connsiteY16" fmla="*/ 52457 h 52457"/>
                  <a:gd name="connsiteX17" fmla="*/ 33374 w 33373"/>
                  <a:gd name="connsiteY17" fmla="*/ 42920 h 52457"/>
                  <a:gd name="connsiteX18" fmla="*/ 13110 w 33373"/>
                  <a:gd name="connsiteY18" fmla="*/ 42920 h 52457"/>
                  <a:gd name="connsiteX19" fmla="*/ 20264 w 33373"/>
                  <a:gd name="connsiteY19" fmla="*/ 35766 h 52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3373" h="52457">
                    <a:moveTo>
                      <a:pt x="20264" y="35766"/>
                    </a:moveTo>
                    <a:cubicBezTo>
                      <a:pt x="22645" y="32189"/>
                      <a:pt x="25032" y="29805"/>
                      <a:pt x="27413" y="27421"/>
                    </a:cubicBezTo>
                    <a:cubicBezTo>
                      <a:pt x="29793" y="25037"/>
                      <a:pt x="30987" y="22652"/>
                      <a:pt x="30987" y="20268"/>
                    </a:cubicBezTo>
                    <a:cubicBezTo>
                      <a:pt x="32180" y="17883"/>
                      <a:pt x="33374" y="16691"/>
                      <a:pt x="33374" y="14306"/>
                    </a:cubicBezTo>
                    <a:cubicBezTo>
                      <a:pt x="33374" y="9538"/>
                      <a:pt x="32180" y="5961"/>
                      <a:pt x="28606" y="3577"/>
                    </a:cubicBezTo>
                    <a:cubicBezTo>
                      <a:pt x="25032" y="1192"/>
                      <a:pt x="21451" y="0"/>
                      <a:pt x="15497" y="0"/>
                    </a:cubicBezTo>
                    <a:cubicBezTo>
                      <a:pt x="13110" y="0"/>
                      <a:pt x="10729" y="0"/>
                      <a:pt x="7155" y="1192"/>
                    </a:cubicBezTo>
                    <a:cubicBezTo>
                      <a:pt x="4768" y="2384"/>
                      <a:pt x="2387" y="2384"/>
                      <a:pt x="0" y="3577"/>
                    </a:cubicBezTo>
                    <a:lnTo>
                      <a:pt x="0" y="13115"/>
                    </a:lnTo>
                    <a:cubicBezTo>
                      <a:pt x="4768" y="10730"/>
                      <a:pt x="9535" y="9538"/>
                      <a:pt x="13110" y="9538"/>
                    </a:cubicBezTo>
                    <a:cubicBezTo>
                      <a:pt x="19071" y="9538"/>
                      <a:pt x="21451" y="11923"/>
                      <a:pt x="21451" y="16691"/>
                    </a:cubicBezTo>
                    <a:cubicBezTo>
                      <a:pt x="21451" y="16691"/>
                      <a:pt x="21451" y="17883"/>
                      <a:pt x="21451" y="19075"/>
                    </a:cubicBezTo>
                    <a:cubicBezTo>
                      <a:pt x="21451" y="20268"/>
                      <a:pt x="20264" y="21460"/>
                      <a:pt x="19071" y="23844"/>
                    </a:cubicBezTo>
                    <a:cubicBezTo>
                      <a:pt x="17877" y="25037"/>
                      <a:pt x="15497" y="27421"/>
                      <a:pt x="13110" y="30997"/>
                    </a:cubicBezTo>
                    <a:lnTo>
                      <a:pt x="0" y="45304"/>
                    </a:lnTo>
                    <a:lnTo>
                      <a:pt x="0" y="52457"/>
                    </a:lnTo>
                    <a:lnTo>
                      <a:pt x="33374" y="52457"/>
                    </a:lnTo>
                    <a:lnTo>
                      <a:pt x="33374" y="42920"/>
                    </a:lnTo>
                    <a:lnTo>
                      <a:pt x="13110" y="42920"/>
                    </a:lnTo>
                    <a:lnTo>
                      <a:pt x="20264" y="35766"/>
                    </a:lnTo>
                    <a:close/>
                  </a:path>
                </a:pathLst>
              </a:custGeom>
              <a:solidFill>
                <a:srgbClr val="2D5967"/>
              </a:solidFill>
              <a:ln w="6417" cap="flat">
                <a:noFill/>
                <a:prstDash val="solid"/>
                <a:miter/>
              </a:ln>
            </p:spPr>
            <p:txBody>
              <a:bodyPr rtlCol="0" anchor="ctr"/>
              <a:lstStyle/>
              <a:p>
                <a:endParaRPr lang="en-US"/>
              </a:p>
            </p:txBody>
          </p:sp>
          <p:sp>
            <p:nvSpPr>
              <p:cNvPr id="129" name="Freeform: Shape 156">
                <a:extLst>
                  <a:ext uri="{FF2B5EF4-FFF2-40B4-BE49-F238E27FC236}">
                    <a16:creationId xmlns:a16="http://schemas.microsoft.com/office/drawing/2014/main" id="{78ECF331-09FB-7AE4-ECEE-470FF9C55C03}"/>
                  </a:ext>
                </a:extLst>
              </p:cNvPr>
              <p:cNvSpPr/>
              <p:nvPr/>
            </p:nvSpPr>
            <p:spPr>
              <a:xfrm>
                <a:off x="2098211" y="2560028"/>
                <a:ext cx="11916" cy="10725"/>
              </a:xfrm>
              <a:custGeom>
                <a:avLst/>
                <a:gdLst>
                  <a:gd name="connsiteX0" fmla="*/ 11916 w 11916"/>
                  <a:gd name="connsiteY0" fmla="*/ 0 h 10725"/>
                  <a:gd name="connsiteX1" fmla="*/ 0 w 11916"/>
                  <a:gd name="connsiteY1" fmla="*/ 0 h 10725"/>
                  <a:gd name="connsiteX2" fmla="*/ 0 w 11916"/>
                  <a:gd name="connsiteY2" fmla="*/ 10726 h 10725"/>
                  <a:gd name="connsiteX3" fmla="*/ 11916 w 11916"/>
                  <a:gd name="connsiteY3" fmla="*/ 10726 h 10725"/>
                  <a:gd name="connsiteX4" fmla="*/ 11916 w 11916"/>
                  <a:gd name="connsiteY4" fmla="*/ 0 h 10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16" h="10725">
                    <a:moveTo>
                      <a:pt x="11916" y="0"/>
                    </a:moveTo>
                    <a:lnTo>
                      <a:pt x="0" y="0"/>
                    </a:lnTo>
                    <a:lnTo>
                      <a:pt x="0" y="10726"/>
                    </a:lnTo>
                    <a:lnTo>
                      <a:pt x="11916" y="10726"/>
                    </a:lnTo>
                    <a:lnTo>
                      <a:pt x="11916" y="0"/>
                    </a:lnTo>
                    <a:close/>
                  </a:path>
                </a:pathLst>
              </a:custGeom>
              <a:solidFill>
                <a:srgbClr val="2D5967"/>
              </a:solidFill>
              <a:ln w="6417" cap="flat">
                <a:noFill/>
                <a:prstDash val="solid"/>
                <a:miter/>
              </a:ln>
            </p:spPr>
            <p:txBody>
              <a:bodyPr rtlCol="0" anchor="ctr"/>
              <a:lstStyle/>
              <a:p>
                <a:endParaRPr lang="en-US"/>
              </a:p>
            </p:txBody>
          </p:sp>
          <p:sp>
            <p:nvSpPr>
              <p:cNvPr id="130" name="Freeform: Shape 157">
                <a:extLst>
                  <a:ext uri="{FF2B5EF4-FFF2-40B4-BE49-F238E27FC236}">
                    <a16:creationId xmlns:a16="http://schemas.microsoft.com/office/drawing/2014/main" id="{8A98F9FA-DAFC-F18A-7086-5A8B3F02DA9D}"/>
                  </a:ext>
                </a:extLst>
              </p:cNvPr>
              <p:cNvSpPr/>
              <p:nvPr/>
            </p:nvSpPr>
            <p:spPr>
              <a:xfrm>
                <a:off x="2098211" y="2532598"/>
                <a:ext cx="11916" cy="10725"/>
              </a:xfrm>
              <a:custGeom>
                <a:avLst/>
                <a:gdLst>
                  <a:gd name="connsiteX0" fmla="*/ 11916 w 11916"/>
                  <a:gd name="connsiteY0" fmla="*/ 0 h 10725"/>
                  <a:gd name="connsiteX1" fmla="*/ 0 w 11916"/>
                  <a:gd name="connsiteY1" fmla="*/ 0 h 10725"/>
                  <a:gd name="connsiteX2" fmla="*/ 0 w 11916"/>
                  <a:gd name="connsiteY2" fmla="*/ 10726 h 10725"/>
                  <a:gd name="connsiteX3" fmla="*/ 11916 w 11916"/>
                  <a:gd name="connsiteY3" fmla="*/ 10726 h 10725"/>
                  <a:gd name="connsiteX4" fmla="*/ 11916 w 11916"/>
                  <a:gd name="connsiteY4" fmla="*/ 0 h 10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16" h="10725">
                    <a:moveTo>
                      <a:pt x="11916" y="0"/>
                    </a:moveTo>
                    <a:lnTo>
                      <a:pt x="0" y="0"/>
                    </a:lnTo>
                    <a:lnTo>
                      <a:pt x="0" y="10726"/>
                    </a:lnTo>
                    <a:lnTo>
                      <a:pt x="11916" y="10726"/>
                    </a:lnTo>
                    <a:lnTo>
                      <a:pt x="11916" y="0"/>
                    </a:lnTo>
                    <a:close/>
                  </a:path>
                </a:pathLst>
              </a:custGeom>
              <a:solidFill>
                <a:srgbClr val="2D5967"/>
              </a:solidFill>
              <a:ln w="6417" cap="flat">
                <a:noFill/>
                <a:prstDash val="solid"/>
                <a:miter/>
              </a:ln>
            </p:spPr>
            <p:txBody>
              <a:bodyPr rtlCol="0" anchor="ctr"/>
              <a:lstStyle/>
              <a:p>
                <a:endParaRPr lang="en-US"/>
              </a:p>
            </p:txBody>
          </p:sp>
          <p:sp>
            <p:nvSpPr>
              <p:cNvPr id="131" name="Freeform: Shape 158">
                <a:extLst>
                  <a:ext uri="{FF2B5EF4-FFF2-40B4-BE49-F238E27FC236}">
                    <a16:creationId xmlns:a16="http://schemas.microsoft.com/office/drawing/2014/main" id="{DEA8B64B-8BC4-F070-6A9F-DABC75D5814C}"/>
                  </a:ext>
                </a:extLst>
              </p:cNvPr>
              <p:cNvSpPr/>
              <p:nvPr/>
            </p:nvSpPr>
            <p:spPr>
              <a:xfrm>
                <a:off x="2131572" y="2518292"/>
                <a:ext cx="48864" cy="52457"/>
              </a:xfrm>
              <a:custGeom>
                <a:avLst/>
                <a:gdLst>
                  <a:gd name="connsiteX0" fmla="*/ 47671 w 48864"/>
                  <a:gd name="connsiteY0" fmla="*/ 0 h 52457"/>
                  <a:gd name="connsiteX1" fmla="*/ 34561 w 48864"/>
                  <a:gd name="connsiteY1" fmla="*/ 0 h 52457"/>
                  <a:gd name="connsiteX2" fmla="*/ 23839 w 48864"/>
                  <a:gd name="connsiteY2" fmla="*/ 17883 h 52457"/>
                  <a:gd name="connsiteX3" fmla="*/ 13110 w 48864"/>
                  <a:gd name="connsiteY3" fmla="*/ 0 h 52457"/>
                  <a:gd name="connsiteX4" fmla="*/ 0 w 48864"/>
                  <a:gd name="connsiteY4" fmla="*/ 0 h 52457"/>
                  <a:gd name="connsiteX5" fmla="*/ 15497 w 48864"/>
                  <a:gd name="connsiteY5" fmla="*/ 25037 h 52457"/>
                  <a:gd name="connsiteX6" fmla="*/ 0 w 48864"/>
                  <a:gd name="connsiteY6" fmla="*/ 52457 h 52457"/>
                  <a:gd name="connsiteX7" fmla="*/ 11916 w 48864"/>
                  <a:gd name="connsiteY7" fmla="*/ 52457 h 52457"/>
                  <a:gd name="connsiteX8" fmla="*/ 23839 w 48864"/>
                  <a:gd name="connsiteY8" fmla="*/ 33382 h 52457"/>
                  <a:gd name="connsiteX9" fmla="*/ 35755 w 48864"/>
                  <a:gd name="connsiteY9" fmla="*/ 52457 h 52457"/>
                  <a:gd name="connsiteX10" fmla="*/ 48864 w 48864"/>
                  <a:gd name="connsiteY10" fmla="*/ 52457 h 52457"/>
                  <a:gd name="connsiteX11" fmla="*/ 32181 w 48864"/>
                  <a:gd name="connsiteY11" fmla="*/ 25037 h 52457"/>
                  <a:gd name="connsiteX12" fmla="*/ 47671 w 48864"/>
                  <a:gd name="connsiteY12" fmla="*/ 0 h 52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864" h="52457">
                    <a:moveTo>
                      <a:pt x="47671" y="0"/>
                    </a:moveTo>
                    <a:lnTo>
                      <a:pt x="34561" y="0"/>
                    </a:lnTo>
                    <a:lnTo>
                      <a:pt x="23839" y="17883"/>
                    </a:lnTo>
                    <a:lnTo>
                      <a:pt x="13110" y="0"/>
                    </a:lnTo>
                    <a:lnTo>
                      <a:pt x="0" y="0"/>
                    </a:lnTo>
                    <a:lnTo>
                      <a:pt x="15497" y="25037"/>
                    </a:lnTo>
                    <a:lnTo>
                      <a:pt x="0" y="52457"/>
                    </a:lnTo>
                    <a:lnTo>
                      <a:pt x="11916" y="52457"/>
                    </a:lnTo>
                    <a:lnTo>
                      <a:pt x="23839" y="33382"/>
                    </a:lnTo>
                    <a:lnTo>
                      <a:pt x="35755" y="52457"/>
                    </a:lnTo>
                    <a:lnTo>
                      <a:pt x="48864" y="52457"/>
                    </a:lnTo>
                    <a:lnTo>
                      <a:pt x="32181" y="25037"/>
                    </a:lnTo>
                    <a:lnTo>
                      <a:pt x="47671" y="0"/>
                    </a:lnTo>
                    <a:close/>
                  </a:path>
                </a:pathLst>
              </a:custGeom>
              <a:solidFill>
                <a:srgbClr val="2D5967"/>
              </a:solidFill>
              <a:ln w="6417" cap="flat">
                <a:noFill/>
                <a:prstDash val="solid"/>
                <a:miter/>
              </a:ln>
            </p:spPr>
            <p:txBody>
              <a:bodyPr rtlCol="0" anchor="ctr"/>
              <a:lstStyle/>
              <a:p>
                <a:endParaRPr lang="en-US"/>
              </a:p>
            </p:txBody>
          </p:sp>
          <p:sp>
            <p:nvSpPr>
              <p:cNvPr id="132" name="Freeform: Shape 159">
                <a:extLst>
                  <a:ext uri="{FF2B5EF4-FFF2-40B4-BE49-F238E27FC236}">
                    <a16:creationId xmlns:a16="http://schemas.microsoft.com/office/drawing/2014/main" id="{7F1D64FF-7E0E-5AF7-5FED-92D3F23A25D4}"/>
                  </a:ext>
                </a:extLst>
              </p:cNvPr>
              <p:cNvSpPr/>
              <p:nvPr/>
            </p:nvSpPr>
            <p:spPr>
              <a:xfrm>
                <a:off x="2193539" y="2515909"/>
                <a:ext cx="29793" cy="48880"/>
              </a:xfrm>
              <a:custGeom>
                <a:avLst/>
                <a:gdLst>
                  <a:gd name="connsiteX0" fmla="*/ 7155 w 29793"/>
                  <a:gd name="connsiteY0" fmla="*/ 8345 h 48880"/>
                  <a:gd name="connsiteX1" fmla="*/ 0 w 29793"/>
                  <a:gd name="connsiteY1" fmla="*/ 28613 h 48880"/>
                  <a:gd name="connsiteX2" fmla="*/ 5961 w 29793"/>
                  <a:gd name="connsiteY2" fmla="*/ 48880 h 48880"/>
                  <a:gd name="connsiteX3" fmla="*/ 10729 w 29793"/>
                  <a:gd name="connsiteY3" fmla="*/ 33382 h 48880"/>
                  <a:gd name="connsiteX4" fmla="*/ 10729 w 29793"/>
                  <a:gd name="connsiteY4" fmla="*/ 27420 h 48880"/>
                  <a:gd name="connsiteX5" fmla="*/ 14303 w 29793"/>
                  <a:gd name="connsiteY5" fmla="*/ 14306 h 48880"/>
                  <a:gd name="connsiteX6" fmla="*/ 23839 w 29793"/>
                  <a:gd name="connsiteY6" fmla="*/ 9537 h 48880"/>
                  <a:gd name="connsiteX7" fmla="*/ 29793 w 29793"/>
                  <a:gd name="connsiteY7" fmla="*/ 0 h 48880"/>
                  <a:gd name="connsiteX8" fmla="*/ 23839 w 29793"/>
                  <a:gd name="connsiteY8" fmla="*/ 0 h 48880"/>
                  <a:gd name="connsiteX9" fmla="*/ 7155 w 29793"/>
                  <a:gd name="connsiteY9" fmla="*/ 8345 h 48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93" h="48880">
                    <a:moveTo>
                      <a:pt x="7155" y="8345"/>
                    </a:moveTo>
                    <a:cubicBezTo>
                      <a:pt x="2387" y="13114"/>
                      <a:pt x="0" y="20268"/>
                      <a:pt x="0" y="28613"/>
                    </a:cubicBezTo>
                    <a:cubicBezTo>
                      <a:pt x="0" y="36958"/>
                      <a:pt x="2387" y="44111"/>
                      <a:pt x="5961" y="48880"/>
                    </a:cubicBezTo>
                    <a:cubicBezTo>
                      <a:pt x="7155" y="44111"/>
                      <a:pt x="9535" y="38151"/>
                      <a:pt x="10729" y="33382"/>
                    </a:cubicBezTo>
                    <a:cubicBezTo>
                      <a:pt x="10729" y="32189"/>
                      <a:pt x="10729" y="29805"/>
                      <a:pt x="10729" y="27420"/>
                    </a:cubicBezTo>
                    <a:cubicBezTo>
                      <a:pt x="10729" y="21460"/>
                      <a:pt x="11923" y="16691"/>
                      <a:pt x="14303" y="14306"/>
                    </a:cubicBezTo>
                    <a:cubicBezTo>
                      <a:pt x="16684" y="11922"/>
                      <a:pt x="19071" y="9537"/>
                      <a:pt x="23839" y="9537"/>
                    </a:cubicBezTo>
                    <a:cubicBezTo>
                      <a:pt x="26219" y="5961"/>
                      <a:pt x="27413" y="3577"/>
                      <a:pt x="29793" y="0"/>
                    </a:cubicBezTo>
                    <a:cubicBezTo>
                      <a:pt x="28606" y="0"/>
                      <a:pt x="26219" y="0"/>
                      <a:pt x="23839" y="0"/>
                    </a:cubicBezTo>
                    <a:cubicBezTo>
                      <a:pt x="17877" y="1192"/>
                      <a:pt x="11923" y="3577"/>
                      <a:pt x="7155" y="8345"/>
                    </a:cubicBezTo>
                    <a:close/>
                  </a:path>
                </a:pathLst>
              </a:custGeom>
              <a:solidFill>
                <a:srgbClr val="2D5967"/>
              </a:solidFill>
              <a:ln w="6417" cap="flat">
                <a:noFill/>
                <a:prstDash val="solid"/>
                <a:miter/>
              </a:ln>
            </p:spPr>
            <p:txBody>
              <a:bodyPr rtlCol="0" anchor="ctr"/>
              <a:lstStyle/>
              <a:p>
                <a:endParaRPr lang="en-US"/>
              </a:p>
            </p:txBody>
          </p:sp>
          <p:sp>
            <p:nvSpPr>
              <p:cNvPr id="133" name="Freeform: Shape 160">
                <a:extLst>
                  <a:ext uri="{FF2B5EF4-FFF2-40B4-BE49-F238E27FC236}">
                    <a16:creationId xmlns:a16="http://schemas.microsoft.com/office/drawing/2014/main" id="{4B9C8349-684E-8489-313A-4D6B010281BD}"/>
                  </a:ext>
                </a:extLst>
              </p:cNvPr>
              <p:cNvSpPr/>
              <p:nvPr/>
            </p:nvSpPr>
            <p:spPr>
              <a:xfrm>
                <a:off x="2125611" y="2703081"/>
                <a:ext cx="140631" cy="138295"/>
              </a:xfrm>
              <a:custGeom>
                <a:avLst/>
                <a:gdLst>
                  <a:gd name="connsiteX0" fmla="*/ 127522 w 140631"/>
                  <a:gd name="connsiteY0" fmla="*/ 33380 h 138295"/>
                  <a:gd name="connsiteX1" fmla="*/ 104877 w 140631"/>
                  <a:gd name="connsiteY1" fmla="*/ 61993 h 138295"/>
                  <a:gd name="connsiteX2" fmla="*/ 77464 w 140631"/>
                  <a:gd name="connsiteY2" fmla="*/ 94186 h 138295"/>
                  <a:gd name="connsiteX3" fmla="*/ 57206 w 140631"/>
                  <a:gd name="connsiteY3" fmla="*/ 114451 h 138295"/>
                  <a:gd name="connsiteX4" fmla="*/ 23839 w 140631"/>
                  <a:gd name="connsiteY4" fmla="*/ 82264 h 138295"/>
                  <a:gd name="connsiteX5" fmla="*/ 44097 w 140631"/>
                  <a:gd name="connsiteY5" fmla="*/ 61993 h 138295"/>
                  <a:gd name="connsiteX6" fmla="*/ 76277 w 140631"/>
                  <a:gd name="connsiteY6" fmla="*/ 34574 h 138295"/>
                  <a:gd name="connsiteX7" fmla="*/ 106070 w 140631"/>
                  <a:gd name="connsiteY7" fmla="*/ 13116 h 138295"/>
                  <a:gd name="connsiteX8" fmla="*/ 95341 w 140631"/>
                  <a:gd name="connsiteY8" fmla="*/ 0 h 138295"/>
                  <a:gd name="connsiteX9" fmla="*/ 65548 w 140631"/>
                  <a:gd name="connsiteY9" fmla="*/ 21458 h 138295"/>
                  <a:gd name="connsiteX10" fmla="*/ 32180 w 140631"/>
                  <a:gd name="connsiteY10" fmla="*/ 50071 h 138295"/>
                  <a:gd name="connsiteX11" fmla="*/ 0 w 140631"/>
                  <a:gd name="connsiteY11" fmla="*/ 82264 h 138295"/>
                  <a:gd name="connsiteX12" fmla="*/ 56013 w 140631"/>
                  <a:gd name="connsiteY12" fmla="*/ 138296 h 138295"/>
                  <a:gd name="connsiteX13" fmla="*/ 88193 w 140631"/>
                  <a:gd name="connsiteY13" fmla="*/ 106109 h 138295"/>
                  <a:gd name="connsiteX14" fmla="*/ 116793 w 140631"/>
                  <a:gd name="connsiteY14" fmla="*/ 72722 h 138295"/>
                  <a:gd name="connsiteX15" fmla="*/ 140631 w 140631"/>
                  <a:gd name="connsiteY15" fmla="*/ 44109 h 138295"/>
                  <a:gd name="connsiteX16" fmla="*/ 127522 w 140631"/>
                  <a:gd name="connsiteY16" fmla="*/ 33380 h 13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0631" h="138295">
                    <a:moveTo>
                      <a:pt x="127522" y="33380"/>
                    </a:moveTo>
                    <a:lnTo>
                      <a:pt x="104877" y="61993"/>
                    </a:lnTo>
                    <a:cubicBezTo>
                      <a:pt x="96535" y="72722"/>
                      <a:pt x="86999" y="83457"/>
                      <a:pt x="77464" y="94186"/>
                    </a:cubicBezTo>
                    <a:lnTo>
                      <a:pt x="57206" y="114451"/>
                    </a:lnTo>
                    <a:lnTo>
                      <a:pt x="23839" y="82264"/>
                    </a:lnTo>
                    <a:lnTo>
                      <a:pt x="44097" y="61993"/>
                    </a:lnTo>
                    <a:cubicBezTo>
                      <a:pt x="53632" y="52458"/>
                      <a:pt x="64354" y="42922"/>
                      <a:pt x="76277" y="34574"/>
                    </a:cubicBezTo>
                    <a:lnTo>
                      <a:pt x="106070" y="13116"/>
                    </a:lnTo>
                    <a:cubicBezTo>
                      <a:pt x="102496" y="8348"/>
                      <a:pt x="98916" y="4768"/>
                      <a:pt x="95341" y="0"/>
                    </a:cubicBezTo>
                    <a:lnTo>
                      <a:pt x="65548" y="21458"/>
                    </a:lnTo>
                    <a:cubicBezTo>
                      <a:pt x="53632" y="29806"/>
                      <a:pt x="42903" y="40535"/>
                      <a:pt x="32180" y="50071"/>
                    </a:cubicBezTo>
                    <a:lnTo>
                      <a:pt x="0" y="82264"/>
                    </a:lnTo>
                    <a:lnTo>
                      <a:pt x="56013" y="138296"/>
                    </a:lnTo>
                    <a:lnTo>
                      <a:pt x="88193" y="106109"/>
                    </a:lnTo>
                    <a:cubicBezTo>
                      <a:pt x="98916" y="95374"/>
                      <a:pt x="108451" y="84645"/>
                      <a:pt x="116793" y="72722"/>
                    </a:cubicBezTo>
                    <a:lnTo>
                      <a:pt x="140631" y="44109"/>
                    </a:lnTo>
                    <a:cubicBezTo>
                      <a:pt x="137057" y="40535"/>
                      <a:pt x="132290" y="36961"/>
                      <a:pt x="127522" y="33380"/>
                    </a:cubicBezTo>
                    <a:close/>
                  </a:path>
                </a:pathLst>
              </a:custGeom>
              <a:solidFill>
                <a:srgbClr val="2D5967"/>
              </a:solidFill>
              <a:ln w="6417" cap="flat">
                <a:noFill/>
                <a:prstDash val="solid"/>
                <a:miter/>
              </a:ln>
            </p:spPr>
            <p:txBody>
              <a:bodyPr rtlCol="0" anchor="ctr"/>
              <a:lstStyle/>
              <a:p>
                <a:endParaRPr lang="en-US"/>
              </a:p>
            </p:txBody>
          </p:sp>
          <p:sp>
            <p:nvSpPr>
              <p:cNvPr id="134" name="Freeform: Shape 161">
                <a:extLst>
                  <a:ext uri="{FF2B5EF4-FFF2-40B4-BE49-F238E27FC236}">
                    <a16:creationId xmlns:a16="http://schemas.microsoft.com/office/drawing/2014/main" id="{66E56AC5-E7AB-8CAD-1465-DCE86B7386AA}"/>
                  </a:ext>
                </a:extLst>
              </p:cNvPr>
              <p:cNvSpPr/>
              <p:nvPr/>
            </p:nvSpPr>
            <p:spPr>
              <a:xfrm>
                <a:off x="2110127" y="2796068"/>
                <a:ext cx="61973" cy="60805"/>
              </a:xfrm>
              <a:custGeom>
                <a:avLst/>
                <a:gdLst>
                  <a:gd name="connsiteX0" fmla="*/ 5961 w 61973"/>
                  <a:gd name="connsiteY0" fmla="*/ 0 h 60805"/>
                  <a:gd name="connsiteX1" fmla="*/ 0 w 61973"/>
                  <a:gd name="connsiteY1" fmla="*/ 4768 h 60805"/>
                  <a:gd name="connsiteX2" fmla="*/ 5961 w 61973"/>
                  <a:gd name="connsiteY2" fmla="*/ 22651 h 60805"/>
                  <a:gd name="connsiteX3" fmla="*/ 39329 w 61973"/>
                  <a:gd name="connsiteY3" fmla="*/ 54845 h 60805"/>
                  <a:gd name="connsiteX4" fmla="*/ 56013 w 61973"/>
                  <a:gd name="connsiteY4" fmla="*/ 60806 h 60805"/>
                  <a:gd name="connsiteX5" fmla="*/ 61974 w 61973"/>
                  <a:gd name="connsiteY5" fmla="*/ 54845 h 60805"/>
                  <a:gd name="connsiteX6" fmla="*/ 5961 w 61973"/>
                  <a:gd name="connsiteY6" fmla="*/ 0 h 60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973" h="60805">
                    <a:moveTo>
                      <a:pt x="5961" y="0"/>
                    </a:moveTo>
                    <a:lnTo>
                      <a:pt x="0" y="4768"/>
                    </a:lnTo>
                    <a:lnTo>
                      <a:pt x="5961" y="22651"/>
                    </a:lnTo>
                    <a:lnTo>
                      <a:pt x="39329" y="54845"/>
                    </a:lnTo>
                    <a:lnTo>
                      <a:pt x="56013" y="60806"/>
                    </a:lnTo>
                    <a:lnTo>
                      <a:pt x="61974" y="54845"/>
                    </a:lnTo>
                    <a:lnTo>
                      <a:pt x="5961" y="0"/>
                    </a:lnTo>
                    <a:close/>
                  </a:path>
                </a:pathLst>
              </a:custGeom>
              <a:solidFill>
                <a:srgbClr val="2D5967"/>
              </a:solidFill>
              <a:ln w="6417" cap="flat">
                <a:noFill/>
                <a:prstDash val="solid"/>
                <a:miter/>
              </a:ln>
            </p:spPr>
            <p:txBody>
              <a:bodyPr rtlCol="0" anchor="ctr"/>
              <a:lstStyle/>
              <a:p>
                <a:endParaRPr lang="en-US"/>
              </a:p>
            </p:txBody>
          </p:sp>
          <p:sp>
            <p:nvSpPr>
              <p:cNvPr id="135" name="Freeform: Shape 162">
                <a:extLst>
                  <a:ext uri="{FF2B5EF4-FFF2-40B4-BE49-F238E27FC236}">
                    <a16:creationId xmlns:a16="http://schemas.microsoft.com/office/drawing/2014/main" id="{8616B665-2E7B-8DD8-DF9B-C8F4B5AA43AC}"/>
                  </a:ext>
                </a:extLst>
              </p:cNvPr>
              <p:cNvSpPr/>
              <p:nvPr/>
            </p:nvSpPr>
            <p:spPr>
              <a:xfrm>
                <a:off x="2206965" y="2461371"/>
                <a:ext cx="298535" cy="298942"/>
              </a:xfrm>
              <a:custGeom>
                <a:avLst/>
                <a:gdLst>
                  <a:gd name="connsiteX0" fmla="*/ 148670 w 298535"/>
                  <a:gd name="connsiteY0" fmla="*/ 298942 h 298942"/>
                  <a:gd name="connsiteX1" fmla="*/ 254741 w 298535"/>
                  <a:gd name="connsiteY1" fmla="*/ 254833 h 298942"/>
                  <a:gd name="connsiteX2" fmla="*/ 254741 w 298535"/>
                  <a:gd name="connsiteY2" fmla="*/ 43813 h 298942"/>
                  <a:gd name="connsiteX3" fmla="*/ 43800 w 298535"/>
                  <a:gd name="connsiteY3" fmla="*/ 43813 h 298942"/>
                  <a:gd name="connsiteX4" fmla="*/ 43800 w 298535"/>
                  <a:gd name="connsiteY4" fmla="*/ 254833 h 298942"/>
                  <a:gd name="connsiteX5" fmla="*/ 148670 w 298535"/>
                  <a:gd name="connsiteY5" fmla="*/ 298942 h 298942"/>
                  <a:gd name="connsiteX6" fmla="*/ 55716 w 298535"/>
                  <a:gd name="connsiteY6" fmla="*/ 55735 h 298942"/>
                  <a:gd name="connsiteX7" fmla="*/ 149864 w 298535"/>
                  <a:gd name="connsiteY7" fmla="*/ 16393 h 298942"/>
                  <a:gd name="connsiteX8" fmla="*/ 244012 w 298535"/>
                  <a:gd name="connsiteY8" fmla="*/ 55735 h 298942"/>
                  <a:gd name="connsiteX9" fmla="*/ 244012 w 298535"/>
                  <a:gd name="connsiteY9" fmla="*/ 242911 h 298942"/>
                  <a:gd name="connsiteX10" fmla="*/ 55716 w 298535"/>
                  <a:gd name="connsiteY10" fmla="*/ 242911 h 298942"/>
                  <a:gd name="connsiteX11" fmla="*/ 55716 w 298535"/>
                  <a:gd name="connsiteY11" fmla="*/ 55735 h 29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35" h="298942">
                    <a:moveTo>
                      <a:pt x="148670" y="298942"/>
                    </a:moveTo>
                    <a:cubicBezTo>
                      <a:pt x="186806" y="298942"/>
                      <a:pt x="224947" y="284639"/>
                      <a:pt x="254741" y="254833"/>
                    </a:cubicBezTo>
                    <a:cubicBezTo>
                      <a:pt x="313134" y="196415"/>
                      <a:pt x="313134" y="102231"/>
                      <a:pt x="254741" y="43813"/>
                    </a:cubicBezTo>
                    <a:cubicBezTo>
                      <a:pt x="196341" y="-14604"/>
                      <a:pt x="102193" y="-14604"/>
                      <a:pt x="43800" y="43813"/>
                    </a:cubicBezTo>
                    <a:cubicBezTo>
                      <a:pt x="-14600" y="102231"/>
                      <a:pt x="-14600" y="196415"/>
                      <a:pt x="43800" y="254833"/>
                    </a:cubicBezTo>
                    <a:cubicBezTo>
                      <a:pt x="72400" y="284639"/>
                      <a:pt x="110535" y="298942"/>
                      <a:pt x="148670" y="298942"/>
                    </a:cubicBezTo>
                    <a:close/>
                    <a:moveTo>
                      <a:pt x="55716" y="55735"/>
                    </a:moveTo>
                    <a:cubicBezTo>
                      <a:pt x="81935" y="29507"/>
                      <a:pt x="115303" y="16393"/>
                      <a:pt x="149864" y="16393"/>
                    </a:cubicBezTo>
                    <a:cubicBezTo>
                      <a:pt x="184425" y="16393"/>
                      <a:pt x="217792" y="29507"/>
                      <a:pt x="244012" y="55735"/>
                    </a:cubicBezTo>
                    <a:cubicBezTo>
                      <a:pt x="295257" y="107000"/>
                      <a:pt x="295257" y="191646"/>
                      <a:pt x="244012" y="242911"/>
                    </a:cubicBezTo>
                    <a:cubicBezTo>
                      <a:pt x="192767" y="294175"/>
                      <a:pt x="108154" y="294175"/>
                      <a:pt x="55716" y="242911"/>
                    </a:cubicBezTo>
                    <a:cubicBezTo>
                      <a:pt x="3277" y="191646"/>
                      <a:pt x="3277" y="108192"/>
                      <a:pt x="55716" y="55735"/>
                    </a:cubicBezTo>
                    <a:close/>
                  </a:path>
                </a:pathLst>
              </a:custGeom>
              <a:solidFill>
                <a:srgbClr val="2D5967"/>
              </a:solidFill>
              <a:ln w="6417" cap="flat">
                <a:noFill/>
                <a:prstDash val="solid"/>
                <a:miter/>
              </a:ln>
            </p:spPr>
            <p:txBody>
              <a:bodyPr rtlCol="0" anchor="ctr"/>
              <a:lstStyle/>
              <a:p>
                <a:endParaRPr lang="en-US"/>
              </a:p>
            </p:txBody>
          </p:sp>
          <p:sp>
            <p:nvSpPr>
              <p:cNvPr id="136" name="Freeform: Shape 163">
                <a:extLst>
                  <a:ext uri="{FF2B5EF4-FFF2-40B4-BE49-F238E27FC236}">
                    <a16:creationId xmlns:a16="http://schemas.microsoft.com/office/drawing/2014/main" id="{65225642-E1AA-0809-F37A-BE0AEC773653}"/>
                  </a:ext>
                </a:extLst>
              </p:cNvPr>
              <p:cNvSpPr/>
              <p:nvPr/>
            </p:nvSpPr>
            <p:spPr>
              <a:xfrm>
                <a:off x="2267429" y="2562409"/>
                <a:ext cx="88193" cy="96568"/>
              </a:xfrm>
              <a:custGeom>
                <a:avLst/>
                <a:gdLst>
                  <a:gd name="connsiteX0" fmla="*/ 45290 w 88193"/>
                  <a:gd name="connsiteY0" fmla="*/ 96568 h 96568"/>
                  <a:gd name="connsiteX1" fmla="*/ 77464 w 88193"/>
                  <a:gd name="connsiteY1" fmla="*/ 84646 h 96568"/>
                  <a:gd name="connsiteX2" fmla="*/ 88193 w 88193"/>
                  <a:gd name="connsiteY2" fmla="*/ 48880 h 96568"/>
                  <a:gd name="connsiteX3" fmla="*/ 76271 w 88193"/>
                  <a:gd name="connsiteY3" fmla="*/ 13114 h 96568"/>
                  <a:gd name="connsiteX4" fmla="*/ 44097 w 88193"/>
                  <a:gd name="connsiteY4" fmla="*/ 0 h 96568"/>
                  <a:gd name="connsiteX5" fmla="*/ 11916 w 88193"/>
                  <a:gd name="connsiteY5" fmla="*/ 13114 h 96568"/>
                  <a:gd name="connsiteX6" fmla="*/ 0 w 88193"/>
                  <a:gd name="connsiteY6" fmla="*/ 48880 h 96568"/>
                  <a:gd name="connsiteX7" fmla="*/ 11916 w 88193"/>
                  <a:gd name="connsiteY7" fmla="*/ 84646 h 96568"/>
                  <a:gd name="connsiteX8" fmla="*/ 45290 w 88193"/>
                  <a:gd name="connsiteY8" fmla="*/ 96568 h 96568"/>
                  <a:gd name="connsiteX9" fmla="*/ 28600 w 88193"/>
                  <a:gd name="connsiteY9" fmla="*/ 25036 h 96568"/>
                  <a:gd name="connsiteX10" fmla="*/ 46477 w 88193"/>
                  <a:gd name="connsiteY10" fmla="*/ 16691 h 96568"/>
                  <a:gd name="connsiteX11" fmla="*/ 64355 w 88193"/>
                  <a:gd name="connsiteY11" fmla="*/ 25036 h 96568"/>
                  <a:gd name="connsiteX12" fmla="*/ 70316 w 88193"/>
                  <a:gd name="connsiteY12" fmla="*/ 47688 h 96568"/>
                  <a:gd name="connsiteX13" fmla="*/ 64355 w 88193"/>
                  <a:gd name="connsiteY13" fmla="*/ 71532 h 96568"/>
                  <a:gd name="connsiteX14" fmla="*/ 45290 w 88193"/>
                  <a:gd name="connsiteY14" fmla="*/ 79878 h 96568"/>
                  <a:gd name="connsiteX15" fmla="*/ 27413 w 88193"/>
                  <a:gd name="connsiteY15" fmla="*/ 71532 h 96568"/>
                  <a:gd name="connsiteX16" fmla="*/ 21452 w 88193"/>
                  <a:gd name="connsiteY16" fmla="*/ 47688 h 96568"/>
                  <a:gd name="connsiteX17" fmla="*/ 28600 w 88193"/>
                  <a:gd name="connsiteY17" fmla="*/ 25036 h 96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8193" h="96568">
                    <a:moveTo>
                      <a:pt x="45290" y="96568"/>
                    </a:moveTo>
                    <a:cubicBezTo>
                      <a:pt x="59587" y="96568"/>
                      <a:pt x="70316" y="91799"/>
                      <a:pt x="77464" y="84646"/>
                    </a:cubicBezTo>
                    <a:cubicBezTo>
                      <a:pt x="84613" y="76301"/>
                      <a:pt x="88193" y="64379"/>
                      <a:pt x="88193" y="48880"/>
                    </a:cubicBezTo>
                    <a:cubicBezTo>
                      <a:pt x="88193" y="33382"/>
                      <a:pt x="84613" y="21459"/>
                      <a:pt x="76271" y="13114"/>
                    </a:cubicBezTo>
                    <a:cubicBezTo>
                      <a:pt x="69122" y="4769"/>
                      <a:pt x="58400" y="0"/>
                      <a:pt x="44097" y="0"/>
                    </a:cubicBezTo>
                    <a:cubicBezTo>
                      <a:pt x="29793" y="0"/>
                      <a:pt x="20258" y="4769"/>
                      <a:pt x="11916" y="13114"/>
                    </a:cubicBezTo>
                    <a:cubicBezTo>
                      <a:pt x="4768" y="21459"/>
                      <a:pt x="0" y="33382"/>
                      <a:pt x="0" y="48880"/>
                    </a:cubicBezTo>
                    <a:cubicBezTo>
                      <a:pt x="0" y="64379"/>
                      <a:pt x="3574" y="76301"/>
                      <a:pt x="11916" y="84646"/>
                    </a:cubicBezTo>
                    <a:cubicBezTo>
                      <a:pt x="21452" y="91799"/>
                      <a:pt x="30987" y="96568"/>
                      <a:pt x="45290" y="96568"/>
                    </a:cubicBezTo>
                    <a:close/>
                    <a:moveTo>
                      <a:pt x="28600" y="25036"/>
                    </a:moveTo>
                    <a:cubicBezTo>
                      <a:pt x="32181" y="19075"/>
                      <a:pt x="38135" y="16691"/>
                      <a:pt x="46477" y="16691"/>
                    </a:cubicBezTo>
                    <a:cubicBezTo>
                      <a:pt x="53632" y="16691"/>
                      <a:pt x="59587" y="19075"/>
                      <a:pt x="64355" y="25036"/>
                    </a:cubicBezTo>
                    <a:cubicBezTo>
                      <a:pt x="67929" y="30997"/>
                      <a:pt x="70316" y="38150"/>
                      <a:pt x="70316" y="47688"/>
                    </a:cubicBezTo>
                    <a:cubicBezTo>
                      <a:pt x="70316" y="57225"/>
                      <a:pt x="67929" y="65571"/>
                      <a:pt x="64355" y="71532"/>
                    </a:cubicBezTo>
                    <a:cubicBezTo>
                      <a:pt x="60780" y="77493"/>
                      <a:pt x="53632" y="79878"/>
                      <a:pt x="45290" y="79878"/>
                    </a:cubicBezTo>
                    <a:cubicBezTo>
                      <a:pt x="38135" y="79878"/>
                      <a:pt x="32181" y="77493"/>
                      <a:pt x="27413" y="71532"/>
                    </a:cubicBezTo>
                    <a:cubicBezTo>
                      <a:pt x="23839" y="65571"/>
                      <a:pt x="21452" y="58418"/>
                      <a:pt x="21452" y="47688"/>
                    </a:cubicBezTo>
                    <a:cubicBezTo>
                      <a:pt x="22645" y="38150"/>
                      <a:pt x="23839" y="29805"/>
                      <a:pt x="28600" y="25036"/>
                    </a:cubicBezTo>
                    <a:close/>
                  </a:path>
                </a:pathLst>
              </a:custGeom>
              <a:solidFill>
                <a:srgbClr val="2D5967"/>
              </a:solidFill>
              <a:ln w="6417" cap="flat">
                <a:noFill/>
                <a:prstDash val="solid"/>
                <a:miter/>
              </a:ln>
            </p:spPr>
            <p:txBody>
              <a:bodyPr rtlCol="0" anchor="ctr"/>
              <a:lstStyle/>
              <a:p>
                <a:endParaRPr lang="en-US"/>
              </a:p>
            </p:txBody>
          </p:sp>
          <p:sp>
            <p:nvSpPr>
              <p:cNvPr id="137" name="Freeform: Shape 164">
                <a:extLst>
                  <a:ext uri="{FF2B5EF4-FFF2-40B4-BE49-F238E27FC236}">
                    <a16:creationId xmlns:a16="http://schemas.microsoft.com/office/drawing/2014/main" id="{A2C3E5EA-77B3-1CA6-0499-28CC2D33E090}"/>
                  </a:ext>
                </a:extLst>
              </p:cNvPr>
              <p:cNvSpPr/>
              <p:nvPr/>
            </p:nvSpPr>
            <p:spPr>
              <a:xfrm>
                <a:off x="2367551" y="2562409"/>
                <a:ext cx="72702" cy="92991"/>
              </a:xfrm>
              <a:custGeom>
                <a:avLst/>
                <a:gdLst>
                  <a:gd name="connsiteX0" fmla="*/ 42903 w 72702"/>
                  <a:gd name="connsiteY0" fmla="*/ 33382 h 92991"/>
                  <a:gd name="connsiteX1" fmla="*/ 23839 w 72702"/>
                  <a:gd name="connsiteY1" fmla="*/ 1192 h 92991"/>
                  <a:gd name="connsiteX2" fmla="*/ 1193 w 72702"/>
                  <a:gd name="connsiteY2" fmla="*/ 1192 h 92991"/>
                  <a:gd name="connsiteX3" fmla="*/ 28606 w 72702"/>
                  <a:gd name="connsiteY3" fmla="*/ 45304 h 92991"/>
                  <a:gd name="connsiteX4" fmla="*/ 0 w 72702"/>
                  <a:gd name="connsiteY4" fmla="*/ 92992 h 92991"/>
                  <a:gd name="connsiteX5" fmla="*/ 21451 w 72702"/>
                  <a:gd name="connsiteY5" fmla="*/ 92992 h 92991"/>
                  <a:gd name="connsiteX6" fmla="*/ 41716 w 72702"/>
                  <a:gd name="connsiteY6" fmla="*/ 58418 h 92991"/>
                  <a:gd name="connsiteX7" fmla="*/ 61974 w 72702"/>
                  <a:gd name="connsiteY7" fmla="*/ 92992 h 92991"/>
                  <a:gd name="connsiteX8" fmla="*/ 64354 w 72702"/>
                  <a:gd name="connsiteY8" fmla="*/ 92992 h 92991"/>
                  <a:gd name="connsiteX9" fmla="*/ 72703 w 72702"/>
                  <a:gd name="connsiteY9" fmla="*/ 73916 h 92991"/>
                  <a:gd name="connsiteX10" fmla="*/ 54825 w 72702"/>
                  <a:gd name="connsiteY10" fmla="*/ 45304 h 92991"/>
                  <a:gd name="connsiteX11" fmla="*/ 71509 w 72702"/>
                  <a:gd name="connsiteY11" fmla="*/ 17883 h 92991"/>
                  <a:gd name="connsiteX12" fmla="*/ 63167 w 72702"/>
                  <a:gd name="connsiteY12" fmla="*/ 0 h 92991"/>
                  <a:gd name="connsiteX13" fmla="*/ 60780 w 72702"/>
                  <a:gd name="connsiteY13" fmla="*/ 0 h 92991"/>
                  <a:gd name="connsiteX14" fmla="*/ 42903 w 72702"/>
                  <a:gd name="connsiteY14" fmla="*/ 33382 h 9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702" h="92991">
                    <a:moveTo>
                      <a:pt x="42903" y="33382"/>
                    </a:moveTo>
                    <a:lnTo>
                      <a:pt x="23839" y="1192"/>
                    </a:lnTo>
                    <a:lnTo>
                      <a:pt x="1193" y="1192"/>
                    </a:lnTo>
                    <a:lnTo>
                      <a:pt x="28606" y="45304"/>
                    </a:lnTo>
                    <a:lnTo>
                      <a:pt x="0" y="92992"/>
                    </a:lnTo>
                    <a:lnTo>
                      <a:pt x="21451" y="92992"/>
                    </a:lnTo>
                    <a:lnTo>
                      <a:pt x="41716" y="58418"/>
                    </a:lnTo>
                    <a:lnTo>
                      <a:pt x="61974" y="92992"/>
                    </a:lnTo>
                    <a:lnTo>
                      <a:pt x="64354" y="92992"/>
                    </a:lnTo>
                    <a:cubicBezTo>
                      <a:pt x="67935" y="87030"/>
                      <a:pt x="70316" y="81070"/>
                      <a:pt x="72703" y="73916"/>
                    </a:cubicBezTo>
                    <a:lnTo>
                      <a:pt x="54825" y="45304"/>
                    </a:lnTo>
                    <a:lnTo>
                      <a:pt x="71509" y="17883"/>
                    </a:lnTo>
                    <a:cubicBezTo>
                      <a:pt x="69122" y="11922"/>
                      <a:pt x="66741" y="5961"/>
                      <a:pt x="63167" y="0"/>
                    </a:cubicBezTo>
                    <a:lnTo>
                      <a:pt x="60780" y="0"/>
                    </a:lnTo>
                    <a:lnTo>
                      <a:pt x="42903" y="33382"/>
                    </a:lnTo>
                    <a:close/>
                  </a:path>
                </a:pathLst>
              </a:custGeom>
              <a:solidFill>
                <a:srgbClr val="2D5967"/>
              </a:solidFill>
              <a:ln w="6417" cap="flat">
                <a:noFill/>
                <a:prstDash val="solid"/>
                <a:miter/>
              </a:ln>
            </p:spPr>
            <p:txBody>
              <a:bodyPr rtlCol="0" anchor="ctr"/>
              <a:lstStyle/>
              <a:p>
                <a:endParaRPr lang="en-US"/>
              </a:p>
            </p:txBody>
          </p:sp>
          <p:sp>
            <p:nvSpPr>
              <p:cNvPr id="138" name="Freeform: Shape 165">
                <a:extLst>
                  <a:ext uri="{FF2B5EF4-FFF2-40B4-BE49-F238E27FC236}">
                    <a16:creationId xmlns:a16="http://schemas.microsoft.com/office/drawing/2014/main" id="{83DAEE35-3EE9-6EB8-CB3D-5C3831DCDF0C}"/>
                  </a:ext>
                </a:extLst>
              </p:cNvPr>
              <p:cNvSpPr/>
              <p:nvPr/>
            </p:nvSpPr>
            <p:spPr>
              <a:xfrm>
                <a:off x="2237642" y="2492952"/>
                <a:ext cx="236263" cy="236354"/>
              </a:xfrm>
              <a:custGeom>
                <a:avLst/>
                <a:gdLst>
                  <a:gd name="connsiteX0" fmla="*/ 117987 w 236263"/>
                  <a:gd name="connsiteY0" fmla="*/ 236355 h 236354"/>
                  <a:gd name="connsiteX1" fmla="*/ 201406 w 236263"/>
                  <a:gd name="connsiteY1" fmla="*/ 201781 h 236354"/>
                  <a:gd name="connsiteX2" fmla="*/ 201406 w 236263"/>
                  <a:gd name="connsiteY2" fmla="*/ 34872 h 236354"/>
                  <a:gd name="connsiteX3" fmla="*/ 34561 w 236263"/>
                  <a:gd name="connsiteY3" fmla="*/ 34872 h 236354"/>
                  <a:gd name="connsiteX4" fmla="*/ 0 w 236263"/>
                  <a:gd name="connsiteY4" fmla="*/ 118326 h 236354"/>
                  <a:gd name="connsiteX5" fmla="*/ 34561 w 236263"/>
                  <a:gd name="connsiteY5" fmla="*/ 201781 h 236354"/>
                  <a:gd name="connsiteX6" fmla="*/ 117987 w 236263"/>
                  <a:gd name="connsiteY6" fmla="*/ 236355 h 236354"/>
                  <a:gd name="connsiteX7" fmla="*/ 46477 w 236263"/>
                  <a:gd name="connsiteY7" fmla="*/ 46794 h 236354"/>
                  <a:gd name="connsiteX8" fmla="*/ 117987 w 236263"/>
                  <a:gd name="connsiteY8" fmla="*/ 16989 h 236354"/>
                  <a:gd name="connsiteX9" fmla="*/ 189489 w 236263"/>
                  <a:gd name="connsiteY9" fmla="*/ 46794 h 236354"/>
                  <a:gd name="connsiteX10" fmla="*/ 189489 w 236263"/>
                  <a:gd name="connsiteY10" fmla="*/ 189858 h 236354"/>
                  <a:gd name="connsiteX11" fmla="*/ 46477 w 236263"/>
                  <a:gd name="connsiteY11" fmla="*/ 189858 h 236354"/>
                  <a:gd name="connsiteX12" fmla="*/ 16684 w 236263"/>
                  <a:gd name="connsiteY12" fmla="*/ 118326 h 236354"/>
                  <a:gd name="connsiteX13" fmla="*/ 46477 w 236263"/>
                  <a:gd name="connsiteY13" fmla="*/ 46794 h 23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6263" h="236354">
                    <a:moveTo>
                      <a:pt x="117987" y="236355"/>
                    </a:moveTo>
                    <a:cubicBezTo>
                      <a:pt x="147780" y="236355"/>
                      <a:pt x="178767" y="224432"/>
                      <a:pt x="201406" y="201781"/>
                    </a:cubicBezTo>
                    <a:cubicBezTo>
                      <a:pt x="247883" y="155284"/>
                      <a:pt x="247883" y="81368"/>
                      <a:pt x="201406" y="34872"/>
                    </a:cubicBezTo>
                    <a:cubicBezTo>
                      <a:pt x="154928" y="-11624"/>
                      <a:pt x="81038" y="-11624"/>
                      <a:pt x="34561" y="34872"/>
                    </a:cubicBezTo>
                    <a:cubicBezTo>
                      <a:pt x="11916" y="57523"/>
                      <a:pt x="0" y="87329"/>
                      <a:pt x="0" y="118326"/>
                    </a:cubicBezTo>
                    <a:cubicBezTo>
                      <a:pt x="0" y="149323"/>
                      <a:pt x="11916" y="179128"/>
                      <a:pt x="34561" y="201781"/>
                    </a:cubicBezTo>
                    <a:cubicBezTo>
                      <a:pt x="58400" y="224432"/>
                      <a:pt x="88193" y="236355"/>
                      <a:pt x="117987" y="236355"/>
                    </a:cubicBezTo>
                    <a:close/>
                    <a:moveTo>
                      <a:pt x="46477" y="46794"/>
                    </a:moveTo>
                    <a:cubicBezTo>
                      <a:pt x="66742" y="26526"/>
                      <a:pt x="91767" y="16989"/>
                      <a:pt x="117987" y="16989"/>
                    </a:cubicBezTo>
                    <a:cubicBezTo>
                      <a:pt x="144206" y="16989"/>
                      <a:pt x="170425" y="26526"/>
                      <a:pt x="189489" y="46794"/>
                    </a:cubicBezTo>
                    <a:cubicBezTo>
                      <a:pt x="228818" y="86137"/>
                      <a:pt x="228818" y="150516"/>
                      <a:pt x="189489" y="189858"/>
                    </a:cubicBezTo>
                    <a:cubicBezTo>
                      <a:pt x="150161" y="229200"/>
                      <a:pt x="85806" y="229200"/>
                      <a:pt x="46477" y="189858"/>
                    </a:cubicBezTo>
                    <a:cubicBezTo>
                      <a:pt x="27413" y="170783"/>
                      <a:pt x="16684" y="145747"/>
                      <a:pt x="16684" y="118326"/>
                    </a:cubicBezTo>
                    <a:cubicBezTo>
                      <a:pt x="16684" y="90905"/>
                      <a:pt x="27413" y="65869"/>
                      <a:pt x="46477" y="46794"/>
                    </a:cubicBezTo>
                    <a:close/>
                  </a:path>
                </a:pathLst>
              </a:custGeom>
              <a:solidFill>
                <a:srgbClr val="2D5967"/>
              </a:solidFill>
              <a:ln w="6417" cap="flat">
                <a:noFill/>
                <a:prstDash val="solid"/>
                <a:miter/>
              </a:ln>
            </p:spPr>
            <p:txBody>
              <a:bodyPr rtlCol="0" anchor="ctr"/>
              <a:lstStyle/>
              <a:p>
                <a:endParaRPr lang="en-US"/>
              </a:p>
            </p:txBody>
          </p:sp>
        </p:grpSp>
      </p:grpSp>
      <p:pic>
        <p:nvPicPr>
          <p:cNvPr id="141" name="Graphic 169" descr="Siren outline">
            <a:extLst>
              <a:ext uri="{FF2B5EF4-FFF2-40B4-BE49-F238E27FC236}">
                <a16:creationId xmlns:a16="http://schemas.microsoft.com/office/drawing/2014/main" id="{F4616B4D-7A69-5364-DF38-04C7C42CDAB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057251" y="4355790"/>
            <a:ext cx="616634" cy="616634"/>
          </a:xfrm>
          <a:prstGeom prst="rect">
            <a:avLst/>
          </a:prstGeom>
        </p:spPr>
      </p:pic>
      <p:sp>
        <p:nvSpPr>
          <p:cNvPr id="142" name="TextBox 171">
            <a:extLst>
              <a:ext uri="{FF2B5EF4-FFF2-40B4-BE49-F238E27FC236}">
                <a16:creationId xmlns:a16="http://schemas.microsoft.com/office/drawing/2014/main" id="{925D1C3E-85CE-946A-EBD1-F364EA2687EF}"/>
              </a:ext>
            </a:extLst>
          </p:cNvPr>
          <p:cNvSpPr txBox="1"/>
          <p:nvPr/>
        </p:nvSpPr>
        <p:spPr>
          <a:xfrm>
            <a:off x="9374579" y="3555876"/>
            <a:ext cx="1666399" cy="914400"/>
          </a:xfrm>
          <a:prstGeom prst="rect">
            <a:avLst/>
          </a:prstGeom>
          <a:noFill/>
        </p:spPr>
        <p:txBody>
          <a:bodyPr wrap="none" lIns="0" tIns="0" rIns="0" bIns="0" rtlCol="0">
            <a:noAutofit/>
          </a:bodyPr>
          <a:lstStyle/>
          <a:p>
            <a:pPr defTabSz="228600">
              <a:spcAft>
                <a:spcPts val="1200"/>
              </a:spcAft>
            </a:pPr>
            <a:r>
              <a:rPr lang="de-CH" sz="1400" noProof="0" dirty="0">
                <a:solidFill>
                  <a:schemeClr val="bg1">
                    <a:lumMod val="50000"/>
                  </a:schemeClr>
                </a:solidFill>
              </a:rPr>
              <a:t>Remove Rule</a:t>
            </a:r>
          </a:p>
        </p:txBody>
      </p:sp>
      <p:pic>
        <p:nvPicPr>
          <p:cNvPr id="143" name="Graphic 172" descr="Clapper board outline">
            <a:extLst>
              <a:ext uri="{FF2B5EF4-FFF2-40B4-BE49-F238E27FC236}">
                <a16:creationId xmlns:a16="http://schemas.microsoft.com/office/drawing/2014/main" id="{272313C6-65C4-21F9-D1F0-D0EA5DF7C45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560682" y="4283734"/>
            <a:ext cx="602863" cy="602863"/>
          </a:xfrm>
          <a:prstGeom prst="rect">
            <a:avLst/>
          </a:prstGeom>
        </p:spPr>
      </p:pic>
      <p:sp>
        <p:nvSpPr>
          <p:cNvPr id="144" name="TextBox 141">
            <a:extLst>
              <a:ext uri="{FF2B5EF4-FFF2-40B4-BE49-F238E27FC236}">
                <a16:creationId xmlns:a16="http://schemas.microsoft.com/office/drawing/2014/main" id="{3181312F-974C-4315-4073-B4A26ECFE534}"/>
              </a:ext>
            </a:extLst>
          </p:cNvPr>
          <p:cNvSpPr txBox="1"/>
          <p:nvPr/>
        </p:nvSpPr>
        <p:spPr>
          <a:xfrm>
            <a:off x="2019867" y="4617055"/>
            <a:ext cx="914400" cy="914400"/>
          </a:xfrm>
          <a:prstGeom prst="rect">
            <a:avLst/>
          </a:prstGeom>
          <a:noFill/>
        </p:spPr>
        <p:txBody>
          <a:bodyPr wrap="none" lIns="0" tIns="0" rIns="0" bIns="0" rtlCol="0">
            <a:noAutofit/>
          </a:bodyPr>
          <a:lstStyle/>
          <a:p>
            <a:pPr algn="ctr" defTabSz="228600">
              <a:spcAft>
                <a:spcPts val="1200"/>
              </a:spcAft>
            </a:pPr>
            <a:r>
              <a:rPr lang="de-CH" sz="1400" noProof="0" dirty="0" err="1">
                <a:solidFill>
                  <a:schemeClr val="bg1">
                    <a:lumMod val="50000"/>
                  </a:schemeClr>
                </a:solidFill>
              </a:rPr>
              <a:t>Compute</a:t>
            </a:r>
            <a:r>
              <a:rPr lang="de-CH" sz="1400" noProof="0" dirty="0">
                <a:solidFill>
                  <a:schemeClr val="bg1">
                    <a:lumMod val="50000"/>
                  </a:schemeClr>
                </a:solidFill>
              </a:rPr>
              <a:t> Instance</a:t>
            </a:r>
          </a:p>
        </p:txBody>
      </p:sp>
      <p:sp>
        <p:nvSpPr>
          <p:cNvPr id="145" name="TextBox 168">
            <a:extLst>
              <a:ext uri="{FF2B5EF4-FFF2-40B4-BE49-F238E27FC236}">
                <a16:creationId xmlns:a16="http://schemas.microsoft.com/office/drawing/2014/main" id="{DF2A931A-9329-4924-0FB8-0DF19DA99925}"/>
              </a:ext>
            </a:extLst>
          </p:cNvPr>
          <p:cNvSpPr txBox="1"/>
          <p:nvPr/>
        </p:nvSpPr>
        <p:spPr>
          <a:xfrm>
            <a:off x="4294663" y="4664107"/>
            <a:ext cx="914400" cy="914400"/>
          </a:xfrm>
          <a:prstGeom prst="rect">
            <a:avLst/>
          </a:prstGeom>
          <a:noFill/>
        </p:spPr>
        <p:txBody>
          <a:bodyPr wrap="none" lIns="0" tIns="0" rIns="0" bIns="0" rtlCol="0">
            <a:noAutofit/>
          </a:bodyPr>
          <a:lstStyle/>
          <a:p>
            <a:pPr algn="ctr" defTabSz="228600">
              <a:spcAft>
                <a:spcPts val="1200"/>
              </a:spcAft>
            </a:pPr>
            <a:r>
              <a:rPr lang="de-CH" sz="1400" noProof="0" dirty="0">
                <a:solidFill>
                  <a:schemeClr val="bg1">
                    <a:lumMod val="50000"/>
                  </a:schemeClr>
                </a:solidFill>
              </a:rPr>
              <a:t>Public IP</a:t>
            </a:r>
          </a:p>
        </p:txBody>
      </p:sp>
      <p:sp>
        <p:nvSpPr>
          <p:cNvPr id="148" name="TextBox 170">
            <a:extLst>
              <a:ext uri="{FF2B5EF4-FFF2-40B4-BE49-F238E27FC236}">
                <a16:creationId xmlns:a16="http://schemas.microsoft.com/office/drawing/2014/main" id="{48433961-1F7F-3AD6-9118-ECE640C63488}"/>
              </a:ext>
            </a:extLst>
          </p:cNvPr>
          <p:cNvSpPr txBox="1"/>
          <p:nvPr/>
        </p:nvSpPr>
        <p:spPr>
          <a:xfrm>
            <a:off x="6809760" y="4572883"/>
            <a:ext cx="914400" cy="914400"/>
          </a:xfrm>
          <a:prstGeom prst="rect">
            <a:avLst/>
          </a:prstGeom>
          <a:noFill/>
        </p:spPr>
        <p:txBody>
          <a:bodyPr wrap="none" lIns="0" tIns="0" rIns="0" bIns="0" rtlCol="0">
            <a:noAutofit/>
          </a:bodyPr>
          <a:lstStyle/>
          <a:p>
            <a:pPr algn="ctr" defTabSz="228600">
              <a:spcAft>
                <a:spcPts val="1200"/>
              </a:spcAft>
            </a:pPr>
            <a:r>
              <a:rPr lang="de-CH" sz="1400" noProof="0" dirty="0">
                <a:solidFill>
                  <a:schemeClr val="bg1">
                    <a:lumMod val="50000"/>
                  </a:schemeClr>
                </a:solidFill>
              </a:rPr>
              <a:t>Slack Channel</a:t>
            </a:r>
          </a:p>
        </p:txBody>
      </p:sp>
      <p:sp>
        <p:nvSpPr>
          <p:cNvPr id="153" name="Rechteck 152">
            <a:extLst>
              <a:ext uri="{FF2B5EF4-FFF2-40B4-BE49-F238E27FC236}">
                <a16:creationId xmlns:a16="http://schemas.microsoft.com/office/drawing/2014/main" id="{FBFC3354-1358-847F-B84C-3B2A91E3DCA2}"/>
              </a:ext>
            </a:extLst>
          </p:cNvPr>
          <p:cNvSpPr/>
          <p:nvPr/>
        </p:nvSpPr>
        <p:spPr>
          <a:xfrm>
            <a:off x="734938" y="1572426"/>
            <a:ext cx="5265720" cy="4819828"/>
          </a:xfrm>
          <a:custGeom>
            <a:avLst/>
            <a:gdLst>
              <a:gd name="connsiteX0" fmla="*/ 0 w 5265720"/>
              <a:gd name="connsiteY0" fmla="*/ 0 h 4819828"/>
              <a:gd name="connsiteX1" fmla="*/ 500243 w 5265720"/>
              <a:gd name="connsiteY1" fmla="*/ 0 h 4819828"/>
              <a:gd name="connsiteX2" fmla="*/ 1158458 w 5265720"/>
              <a:gd name="connsiteY2" fmla="*/ 0 h 4819828"/>
              <a:gd name="connsiteX3" fmla="*/ 1921988 w 5265720"/>
              <a:gd name="connsiteY3" fmla="*/ 0 h 4819828"/>
              <a:gd name="connsiteX4" fmla="*/ 2685517 w 5265720"/>
              <a:gd name="connsiteY4" fmla="*/ 0 h 4819828"/>
              <a:gd name="connsiteX5" fmla="*/ 3449047 w 5265720"/>
              <a:gd name="connsiteY5" fmla="*/ 0 h 4819828"/>
              <a:gd name="connsiteX6" fmla="*/ 4159919 w 5265720"/>
              <a:gd name="connsiteY6" fmla="*/ 0 h 4819828"/>
              <a:gd name="connsiteX7" fmla="*/ 5265720 w 5265720"/>
              <a:gd name="connsiteY7" fmla="*/ 0 h 4819828"/>
              <a:gd name="connsiteX8" fmla="*/ 5265720 w 5265720"/>
              <a:gd name="connsiteY8" fmla="*/ 640349 h 4819828"/>
              <a:gd name="connsiteX9" fmla="*/ 5265720 w 5265720"/>
              <a:gd name="connsiteY9" fmla="*/ 1232499 h 4819828"/>
              <a:gd name="connsiteX10" fmla="*/ 5265720 w 5265720"/>
              <a:gd name="connsiteY10" fmla="*/ 1921046 h 4819828"/>
              <a:gd name="connsiteX11" fmla="*/ 5265720 w 5265720"/>
              <a:gd name="connsiteY11" fmla="*/ 2513196 h 4819828"/>
              <a:gd name="connsiteX12" fmla="*/ 5265720 w 5265720"/>
              <a:gd name="connsiteY12" fmla="*/ 3153545 h 4819828"/>
              <a:gd name="connsiteX13" fmla="*/ 5265720 w 5265720"/>
              <a:gd name="connsiteY13" fmla="*/ 3842091 h 4819828"/>
              <a:gd name="connsiteX14" fmla="*/ 5265720 w 5265720"/>
              <a:gd name="connsiteY14" fmla="*/ 4819828 h 4819828"/>
              <a:gd name="connsiteX15" fmla="*/ 4502191 w 5265720"/>
              <a:gd name="connsiteY15" fmla="*/ 4819828 h 4819828"/>
              <a:gd name="connsiteX16" fmla="*/ 3896633 w 5265720"/>
              <a:gd name="connsiteY16" fmla="*/ 4819828 h 4819828"/>
              <a:gd name="connsiteX17" fmla="*/ 3238418 w 5265720"/>
              <a:gd name="connsiteY17" fmla="*/ 4819828 h 4819828"/>
              <a:gd name="connsiteX18" fmla="*/ 2474888 w 5265720"/>
              <a:gd name="connsiteY18" fmla="*/ 4819828 h 4819828"/>
              <a:gd name="connsiteX19" fmla="*/ 1974645 w 5265720"/>
              <a:gd name="connsiteY19" fmla="*/ 4819828 h 4819828"/>
              <a:gd name="connsiteX20" fmla="*/ 1421744 w 5265720"/>
              <a:gd name="connsiteY20" fmla="*/ 4819828 h 4819828"/>
              <a:gd name="connsiteX21" fmla="*/ 710872 w 5265720"/>
              <a:gd name="connsiteY21" fmla="*/ 4819828 h 4819828"/>
              <a:gd name="connsiteX22" fmla="*/ 0 w 5265720"/>
              <a:gd name="connsiteY22" fmla="*/ 4819828 h 4819828"/>
              <a:gd name="connsiteX23" fmla="*/ 0 w 5265720"/>
              <a:gd name="connsiteY23" fmla="*/ 4227678 h 4819828"/>
              <a:gd name="connsiteX24" fmla="*/ 0 w 5265720"/>
              <a:gd name="connsiteY24" fmla="*/ 3490933 h 4819828"/>
              <a:gd name="connsiteX25" fmla="*/ 0 w 5265720"/>
              <a:gd name="connsiteY25" fmla="*/ 2754187 h 4819828"/>
              <a:gd name="connsiteX26" fmla="*/ 0 w 5265720"/>
              <a:gd name="connsiteY26" fmla="*/ 1969244 h 4819828"/>
              <a:gd name="connsiteX27" fmla="*/ 0 w 5265720"/>
              <a:gd name="connsiteY27" fmla="*/ 1377094 h 4819828"/>
              <a:gd name="connsiteX28" fmla="*/ 0 w 5265720"/>
              <a:gd name="connsiteY28" fmla="*/ 640349 h 4819828"/>
              <a:gd name="connsiteX29" fmla="*/ 0 w 5265720"/>
              <a:gd name="connsiteY29" fmla="*/ 0 h 4819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65720" h="4819828" extrusionOk="0">
                <a:moveTo>
                  <a:pt x="0" y="0"/>
                </a:moveTo>
                <a:cubicBezTo>
                  <a:pt x="209503" y="13348"/>
                  <a:pt x="299766" y="-10556"/>
                  <a:pt x="500243" y="0"/>
                </a:cubicBezTo>
                <a:cubicBezTo>
                  <a:pt x="700720" y="10556"/>
                  <a:pt x="876778" y="-24337"/>
                  <a:pt x="1158458" y="0"/>
                </a:cubicBezTo>
                <a:cubicBezTo>
                  <a:pt x="1440138" y="24337"/>
                  <a:pt x="1646632" y="-7584"/>
                  <a:pt x="1921988" y="0"/>
                </a:cubicBezTo>
                <a:cubicBezTo>
                  <a:pt x="2197344" y="7584"/>
                  <a:pt x="2360792" y="12641"/>
                  <a:pt x="2685517" y="0"/>
                </a:cubicBezTo>
                <a:cubicBezTo>
                  <a:pt x="3010242" y="-12641"/>
                  <a:pt x="3070822" y="-26427"/>
                  <a:pt x="3449047" y="0"/>
                </a:cubicBezTo>
                <a:cubicBezTo>
                  <a:pt x="3827272" y="26427"/>
                  <a:pt x="4009439" y="32601"/>
                  <a:pt x="4159919" y="0"/>
                </a:cubicBezTo>
                <a:cubicBezTo>
                  <a:pt x="4310399" y="-32601"/>
                  <a:pt x="5018326" y="32150"/>
                  <a:pt x="5265720" y="0"/>
                </a:cubicBezTo>
                <a:cubicBezTo>
                  <a:pt x="5280308" y="302038"/>
                  <a:pt x="5262044" y="369660"/>
                  <a:pt x="5265720" y="640349"/>
                </a:cubicBezTo>
                <a:cubicBezTo>
                  <a:pt x="5269396" y="911038"/>
                  <a:pt x="5270155" y="1000478"/>
                  <a:pt x="5265720" y="1232499"/>
                </a:cubicBezTo>
                <a:cubicBezTo>
                  <a:pt x="5261286" y="1464520"/>
                  <a:pt x="5295132" y="1604671"/>
                  <a:pt x="5265720" y="1921046"/>
                </a:cubicBezTo>
                <a:cubicBezTo>
                  <a:pt x="5236308" y="2237421"/>
                  <a:pt x="5246892" y="2217524"/>
                  <a:pt x="5265720" y="2513196"/>
                </a:cubicBezTo>
                <a:cubicBezTo>
                  <a:pt x="5284549" y="2808868"/>
                  <a:pt x="5261394" y="2854186"/>
                  <a:pt x="5265720" y="3153545"/>
                </a:cubicBezTo>
                <a:cubicBezTo>
                  <a:pt x="5270046" y="3452904"/>
                  <a:pt x="5260330" y="3664611"/>
                  <a:pt x="5265720" y="3842091"/>
                </a:cubicBezTo>
                <a:cubicBezTo>
                  <a:pt x="5271110" y="4019571"/>
                  <a:pt x="5305045" y="4395254"/>
                  <a:pt x="5265720" y="4819828"/>
                </a:cubicBezTo>
                <a:cubicBezTo>
                  <a:pt x="5050744" y="4825229"/>
                  <a:pt x="4754543" y="4792732"/>
                  <a:pt x="4502191" y="4819828"/>
                </a:cubicBezTo>
                <a:cubicBezTo>
                  <a:pt x="4249839" y="4846924"/>
                  <a:pt x="4049662" y="4797760"/>
                  <a:pt x="3896633" y="4819828"/>
                </a:cubicBezTo>
                <a:cubicBezTo>
                  <a:pt x="3743604" y="4841896"/>
                  <a:pt x="3493860" y="4790576"/>
                  <a:pt x="3238418" y="4819828"/>
                </a:cubicBezTo>
                <a:cubicBezTo>
                  <a:pt x="2982976" y="4849080"/>
                  <a:pt x="2657271" y="4835141"/>
                  <a:pt x="2474888" y="4819828"/>
                </a:cubicBezTo>
                <a:cubicBezTo>
                  <a:pt x="2292505" y="4804516"/>
                  <a:pt x="2095287" y="4840687"/>
                  <a:pt x="1974645" y="4819828"/>
                </a:cubicBezTo>
                <a:cubicBezTo>
                  <a:pt x="1854003" y="4798969"/>
                  <a:pt x="1659570" y="4805967"/>
                  <a:pt x="1421744" y="4819828"/>
                </a:cubicBezTo>
                <a:cubicBezTo>
                  <a:pt x="1183918" y="4833689"/>
                  <a:pt x="871355" y="4850172"/>
                  <a:pt x="710872" y="4819828"/>
                </a:cubicBezTo>
                <a:cubicBezTo>
                  <a:pt x="550389" y="4789484"/>
                  <a:pt x="331505" y="4826724"/>
                  <a:pt x="0" y="4819828"/>
                </a:cubicBezTo>
                <a:cubicBezTo>
                  <a:pt x="-23526" y="4542889"/>
                  <a:pt x="-727" y="4423860"/>
                  <a:pt x="0" y="4227678"/>
                </a:cubicBezTo>
                <a:cubicBezTo>
                  <a:pt x="727" y="4031496"/>
                  <a:pt x="-35527" y="3782245"/>
                  <a:pt x="0" y="3490933"/>
                </a:cubicBezTo>
                <a:cubicBezTo>
                  <a:pt x="35527" y="3199622"/>
                  <a:pt x="-2400" y="2931952"/>
                  <a:pt x="0" y="2754187"/>
                </a:cubicBezTo>
                <a:cubicBezTo>
                  <a:pt x="2400" y="2576422"/>
                  <a:pt x="17024" y="2353689"/>
                  <a:pt x="0" y="1969244"/>
                </a:cubicBezTo>
                <a:cubicBezTo>
                  <a:pt x="-17024" y="1584799"/>
                  <a:pt x="989" y="1632175"/>
                  <a:pt x="0" y="1377094"/>
                </a:cubicBezTo>
                <a:cubicBezTo>
                  <a:pt x="-989" y="1122013"/>
                  <a:pt x="1814" y="798404"/>
                  <a:pt x="0" y="640349"/>
                </a:cubicBezTo>
                <a:cubicBezTo>
                  <a:pt x="-1814" y="482294"/>
                  <a:pt x="-25267" y="187055"/>
                  <a:pt x="0" y="0"/>
                </a:cubicBezTo>
                <a:close/>
              </a:path>
            </a:pathLst>
          </a:custGeom>
          <a:noFill/>
          <a:ln w="19050">
            <a:solidFill>
              <a:schemeClr val="bg1">
                <a:lumMod val="50000"/>
              </a:schemeClr>
            </a:solidFill>
            <a:extLst>
              <a:ext uri="{C807C97D-BFC1-408E-A445-0C87EB9F89A2}">
                <ask:lineSketchStyleProps xmlns:ask="http://schemas.microsoft.com/office/drawing/2018/sketchyshapes" sd="139305123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de-CH" dirty="0" err="1"/>
          </a:p>
        </p:txBody>
      </p:sp>
      <p:sp>
        <p:nvSpPr>
          <p:cNvPr id="154" name="Textfeld 153">
            <a:extLst>
              <a:ext uri="{FF2B5EF4-FFF2-40B4-BE49-F238E27FC236}">
                <a16:creationId xmlns:a16="http://schemas.microsoft.com/office/drawing/2014/main" id="{18C5D6A8-9E46-BC09-1ACF-9867400FA4F1}"/>
              </a:ext>
            </a:extLst>
          </p:cNvPr>
          <p:cNvSpPr txBox="1"/>
          <p:nvPr/>
        </p:nvSpPr>
        <p:spPr>
          <a:xfrm>
            <a:off x="1187500" y="5904650"/>
            <a:ext cx="3119215" cy="390830"/>
          </a:xfrm>
          <a:prstGeom prst="rect">
            <a:avLst/>
          </a:prstGeom>
          <a:noFill/>
        </p:spPr>
        <p:txBody>
          <a:bodyPr wrap="none" lIns="0" tIns="0" rIns="0" bIns="0" rtlCol="0">
            <a:noAutofit/>
          </a:bodyPr>
          <a:lstStyle/>
          <a:p>
            <a:pPr algn="l" defTabSz="228600">
              <a:spcAft>
                <a:spcPts val="1200"/>
              </a:spcAft>
            </a:pPr>
            <a:r>
              <a:rPr lang="de-CH" sz="2400" b="1" noProof="0" dirty="0"/>
              <a:t>Data Collection and Analysis</a:t>
            </a:r>
          </a:p>
        </p:txBody>
      </p:sp>
      <p:sp>
        <p:nvSpPr>
          <p:cNvPr id="156" name="Rechteck 155">
            <a:extLst>
              <a:ext uri="{FF2B5EF4-FFF2-40B4-BE49-F238E27FC236}">
                <a16:creationId xmlns:a16="http://schemas.microsoft.com/office/drawing/2014/main" id="{FC9436F4-5D94-B457-D9C7-FBB84322D375}"/>
              </a:ext>
            </a:extLst>
          </p:cNvPr>
          <p:cNvSpPr/>
          <p:nvPr/>
        </p:nvSpPr>
        <p:spPr>
          <a:xfrm>
            <a:off x="6063619" y="1569577"/>
            <a:ext cx="2449222" cy="4819828"/>
          </a:xfrm>
          <a:custGeom>
            <a:avLst/>
            <a:gdLst>
              <a:gd name="connsiteX0" fmla="*/ 0 w 2449222"/>
              <a:gd name="connsiteY0" fmla="*/ 0 h 4819828"/>
              <a:gd name="connsiteX1" fmla="*/ 538829 w 2449222"/>
              <a:gd name="connsiteY1" fmla="*/ 0 h 4819828"/>
              <a:gd name="connsiteX2" fmla="*/ 1151134 w 2449222"/>
              <a:gd name="connsiteY2" fmla="*/ 0 h 4819828"/>
              <a:gd name="connsiteX3" fmla="*/ 1812424 w 2449222"/>
              <a:gd name="connsiteY3" fmla="*/ 0 h 4819828"/>
              <a:gd name="connsiteX4" fmla="*/ 2449222 w 2449222"/>
              <a:gd name="connsiteY4" fmla="*/ 0 h 4819828"/>
              <a:gd name="connsiteX5" fmla="*/ 2449222 w 2449222"/>
              <a:gd name="connsiteY5" fmla="*/ 784943 h 4819828"/>
              <a:gd name="connsiteX6" fmla="*/ 2449222 w 2449222"/>
              <a:gd name="connsiteY6" fmla="*/ 1328895 h 4819828"/>
              <a:gd name="connsiteX7" fmla="*/ 2449222 w 2449222"/>
              <a:gd name="connsiteY7" fmla="*/ 1921046 h 4819828"/>
              <a:gd name="connsiteX8" fmla="*/ 2449222 w 2449222"/>
              <a:gd name="connsiteY8" fmla="*/ 2513196 h 4819828"/>
              <a:gd name="connsiteX9" fmla="*/ 2449222 w 2449222"/>
              <a:gd name="connsiteY9" fmla="*/ 3105346 h 4819828"/>
              <a:gd name="connsiteX10" fmla="*/ 2449222 w 2449222"/>
              <a:gd name="connsiteY10" fmla="*/ 3793893 h 4819828"/>
              <a:gd name="connsiteX11" fmla="*/ 2449222 w 2449222"/>
              <a:gd name="connsiteY11" fmla="*/ 4819828 h 4819828"/>
              <a:gd name="connsiteX12" fmla="*/ 1861409 w 2449222"/>
              <a:gd name="connsiteY12" fmla="*/ 4819828 h 4819828"/>
              <a:gd name="connsiteX13" fmla="*/ 1322580 w 2449222"/>
              <a:gd name="connsiteY13" fmla="*/ 4819828 h 4819828"/>
              <a:gd name="connsiteX14" fmla="*/ 661290 w 2449222"/>
              <a:gd name="connsiteY14" fmla="*/ 4819828 h 4819828"/>
              <a:gd name="connsiteX15" fmla="*/ 0 w 2449222"/>
              <a:gd name="connsiteY15" fmla="*/ 4819828 h 4819828"/>
              <a:gd name="connsiteX16" fmla="*/ 0 w 2449222"/>
              <a:gd name="connsiteY16" fmla="*/ 4179479 h 4819828"/>
              <a:gd name="connsiteX17" fmla="*/ 0 w 2449222"/>
              <a:gd name="connsiteY17" fmla="*/ 3490933 h 4819828"/>
              <a:gd name="connsiteX18" fmla="*/ 0 w 2449222"/>
              <a:gd name="connsiteY18" fmla="*/ 2898782 h 4819828"/>
              <a:gd name="connsiteX19" fmla="*/ 0 w 2449222"/>
              <a:gd name="connsiteY19" fmla="*/ 2354830 h 4819828"/>
              <a:gd name="connsiteX20" fmla="*/ 0 w 2449222"/>
              <a:gd name="connsiteY20" fmla="*/ 1714482 h 4819828"/>
              <a:gd name="connsiteX21" fmla="*/ 0 w 2449222"/>
              <a:gd name="connsiteY21" fmla="*/ 1122331 h 4819828"/>
              <a:gd name="connsiteX22" fmla="*/ 0 w 2449222"/>
              <a:gd name="connsiteY22" fmla="*/ 0 h 4819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49222" h="4819828" extrusionOk="0">
                <a:moveTo>
                  <a:pt x="0" y="0"/>
                </a:moveTo>
                <a:cubicBezTo>
                  <a:pt x="188773" y="-2889"/>
                  <a:pt x="379533" y="16090"/>
                  <a:pt x="538829" y="0"/>
                </a:cubicBezTo>
                <a:cubicBezTo>
                  <a:pt x="698125" y="-16090"/>
                  <a:pt x="863196" y="-11922"/>
                  <a:pt x="1151134" y="0"/>
                </a:cubicBezTo>
                <a:cubicBezTo>
                  <a:pt x="1439073" y="11922"/>
                  <a:pt x="1494788" y="-24099"/>
                  <a:pt x="1812424" y="0"/>
                </a:cubicBezTo>
                <a:cubicBezTo>
                  <a:pt x="2130060" y="24099"/>
                  <a:pt x="2140995" y="11020"/>
                  <a:pt x="2449222" y="0"/>
                </a:cubicBezTo>
                <a:cubicBezTo>
                  <a:pt x="2482566" y="316390"/>
                  <a:pt x="2422393" y="561953"/>
                  <a:pt x="2449222" y="784943"/>
                </a:cubicBezTo>
                <a:cubicBezTo>
                  <a:pt x="2476051" y="1007933"/>
                  <a:pt x="2465435" y="1122049"/>
                  <a:pt x="2449222" y="1328895"/>
                </a:cubicBezTo>
                <a:cubicBezTo>
                  <a:pt x="2433009" y="1535741"/>
                  <a:pt x="2442669" y="1739113"/>
                  <a:pt x="2449222" y="1921046"/>
                </a:cubicBezTo>
                <a:cubicBezTo>
                  <a:pt x="2455775" y="2102979"/>
                  <a:pt x="2427986" y="2246413"/>
                  <a:pt x="2449222" y="2513196"/>
                </a:cubicBezTo>
                <a:cubicBezTo>
                  <a:pt x="2470459" y="2779979"/>
                  <a:pt x="2453657" y="2873325"/>
                  <a:pt x="2449222" y="3105346"/>
                </a:cubicBezTo>
                <a:cubicBezTo>
                  <a:pt x="2444788" y="3337367"/>
                  <a:pt x="2478634" y="3477518"/>
                  <a:pt x="2449222" y="3793893"/>
                </a:cubicBezTo>
                <a:cubicBezTo>
                  <a:pt x="2419810" y="4110268"/>
                  <a:pt x="2399439" y="4508255"/>
                  <a:pt x="2449222" y="4819828"/>
                </a:cubicBezTo>
                <a:cubicBezTo>
                  <a:pt x="2193852" y="4820779"/>
                  <a:pt x="2019308" y="4815563"/>
                  <a:pt x="1861409" y="4819828"/>
                </a:cubicBezTo>
                <a:cubicBezTo>
                  <a:pt x="1703510" y="4824093"/>
                  <a:pt x="1442487" y="4807599"/>
                  <a:pt x="1322580" y="4819828"/>
                </a:cubicBezTo>
                <a:cubicBezTo>
                  <a:pt x="1202673" y="4832057"/>
                  <a:pt x="962778" y="4851946"/>
                  <a:pt x="661290" y="4819828"/>
                </a:cubicBezTo>
                <a:cubicBezTo>
                  <a:pt x="359802" y="4787711"/>
                  <a:pt x="161916" y="4834156"/>
                  <a:pt x="0" y="4819828"/>
                </a:cubicBezTo>
                <a:cubicBezTo>
                  <a:pt x="20712" y="4667832"/>
                  <a:pt x="-21714" y="4391209"/>
                  <a:pt x="0" y="4179479"/>
                </a:cubicBezTo>
                <a:cubicBezTo>
                  <a:pt x="21714" y="3967749"/>
                  <a:pt x="-1350" y="3750528"/>
                  <a:pt x="0" y="3490933"/>
                </a:cubicBezTo>
                <a:cubicBezTo>
                  <a:pt x="1350" y="3231338"/>
                  <a:pt x="26040" y="3147904"/>
                  <a:pt x="0" y="2898782"/>
                </a:cubicBezTo>
                <a:cubicBezTo>
                  <a:pt x="-26040" y="2649660"/>
                  <a:pt x="-25728" y="2535700"/>
                  <a:pt x="0" y="2354830"/>
                </a:cubicBezTo>
                <a:cubicBezTo>
                  <a:pt x="25728" y="2173960"/>
                  <a:pt x="-6548" y="1843629"/>
                  <a:pt x="0" y="1714482"/>
                </a:cubicBezTo>
                <a:cubicBezTo>
                  <a:pt x="6548" y="1585335"/>
                  <a:pt x="-28059" y="1325631"/>
                  <a:pt x="0" y="1122331"/>
                </a:cubicBezTo>
                <a:cubicBezTo>
                  <a:pt x="28059" y="919031"/>
                  <a:pt x="-9657" y="500285"/>
                  <a:pt x="0" y="0"/>
                </a:cubicBezTo>
                <a:close/>
              </a:path>
            </a:pathLst>
          </a:custGeom>
          <a:noFill/>
          <a:ln w="19050">
            <a:solidFill>
              <a:schemeClr val="bg1">
                <a:lumMod val="50000"/>
              </a:schemeClr>
            </a:solidFill>
            <a:extLst>
              <a:ext uri="{C807C97D-BFC1-408E-A445-0C87EB9F89A2}">
                <ask:lineSketchStyleProps xmlns:ask="http://schemas.microsoft.com/office/drawing/2018/sketchyshapes" sd="139305123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de-CH" dirty="0" err="1"/>
          </a:p>
        </p:txBody>
      </p:sp>
      <p:sp>
        <p:nvSpPr>
          <p:cNvPr id="157" name="Textfeld 156">
            <a:extLst>
              <a:ext uri="{FF2B5EF4-FFF2-40B4-BE49-F238E27FC236}">
                <a16:creationId xmlns:a16="http://schemas.microsoft.com/office/drawing/2014/main" id="{39C330AA-B534-D2C4-6383-A23C44391570}"/>
              </a:ext>
            </a:extLst>
          </p:cNvPr>
          <p:cNvSpPr txBox="1"/>
          <p:nvPr/>
        </p:nvSpPr>
        <p:spPr>
          <a:xfrm>
            <a:off x="6780193" y="5860217"/>
            <a:ext cx="1070014" cy="390830"/>
          </a:xfrm>
          <a:prstGeom prst="rect">
            <a:avLst/>
          </a:prstGeom>
          <a:noFill/>
        </p:spPr>
        <p:txBody>
          <a:bodyPr wrap="none" lIns="0" tIns="0" rIns="0" bIns="0" rtlCol="0">
            <a:noAutofit/>
          </a:bodyPr>
          <a:lstStyle/>
          <a:p>
            <a:pPr algn="l" defTabSz="228600">
              <a:spcAft>
                <a:spcPts val="1200"/>
              </a:spcAft>
            </a:pPr>
            <a:r>
              <a:rPr lang="de-CH" sz="2400" b="1" dirty="0"/>
              <a:t>Alert</a:t>
            </a:r>
            <a:endParaRPr lang="de-CH" sz="2400" b="1" noProof="0" dirty="0"/>
          </a:p>
        </p:txBody>
      </p:sp>
      <p:sp>
        <p:nvSpPr>
          <p:cNvPr id="158" name="Rechteck 157">
            <a:extLst>
              <a:ext uri="{FF2B5EF4-FFF2-40B4-BE49-F238E27FC236}">
                <a16:creationId xmlns:a16="http://schemas.microsoft.com/office/drawing/2014/main" id="{B22F81E6-844F-8636-025B-D6B92727FAF3}"/>
              </a:ext>
            </a:extLst>
          </p:cNvPr>
          <p:cNvSpPr/>
          <p:nvPr/>
        </p:nvSpPr>
        <p:spPr>
          <a:xfrm>
            <a:off x="8566781" y="1566941"/>
            <a:ext cx="2449222" cy="4819828"/>
          </a:xfrm>
          <a:custGeom>
            <a:avLst/>
            <a:gdLst>
              <a:gd name="connsiteX0" fmla="*/ 0 w 2449222"/>
              <a:gd name="connsiteY0" fmla="*/ 0 h 4819828"/>
              <a:gd name="connsiteX1" fmla="*/ 538829 w 2449222"/>
              <a:gd name="connsiteY1" fmla="*/ 0 h 4819828"/>
              <a:gd name="connsiteX2" fmla="*/ 1151134 w 2449222"/>
              <a:gd name="connsiteY2" fmla="*/ 0 h 4819828"/>
              <a:gd name="connsiteX3" fmla="*/ 1812424 w 2449222"/>
              <a:gd name="connsiteY3" fmla="*/ 0 h 4819828"/>
              <a:gd name="connsiteX4" fmla="*/ 2449222 w 2449222"/>
              <a:gd name="connsiteY4" fmla="*/ 0 h 4819828"/>
              <a:gd name="connsiteX5" fmla="*/ 2449222 w 2449222"/>
              <a:gd name="connsiteY5" fmla="*/ 784943 h 4819828"/>
              <a:gd name="connsiteX6" fmla="*/ 2449222 w 2449222"/>
              <a:gd name="connsiteY6" fmla="*/ 1328895 h 4819828"/>
              <a:gd name="connsiteX7" fmla="*/ 2449222 w 2449222"/>
              <a:gd name="connsiteY7" fmla="*/ 1921046 h 4819828"/>
              <a:gd name="connsiteX8" fmla="*/ 2449222 w 2449222"/>
              <a:gd name="connsiteY8" fmla="*/ 2513196 h 4819828"/>
              <a:gd name="connsiteX9" fmla="*/ 2449222 w 2449222"/>
              <a:gd name="connsiteY9" fmla="*/ 3105346 h 4819828"/>
              <a:gd name="connsiteX10" fmla="*/ 2449222 w 2449222"/>
              <a:gd name="connsiteY10" fmla="*/ 3793893 h 4819828"/>
              <a:gd name="connsiteX11" fmla="*/ 2449222 w 2449222"/>
              <a:gd name="connsiteY11" fmla="*/ 4819828 h 4819828"/>
              <a:gd name="connsiteX12" fmla="*/ 1861409 w 2449222"/>
              <a:gd name="connsiteY12" fmla="*/ 4819828 h 4819828"/>
              <a:gd name="connsiteX13" fmla="*/ 1322580 w 2449222"/>
              <a:gd name="connsiteY13" fmla="*/ 4819828 h 4819828"/>
              <a:gd name="connsiteX14" fmla="*/ 661290 w 2449222"/>
              <a:gd name="connsiteY14" fmla="*/ 4819828 h 4819828"/>
              <a:gd name="connsiteX15" fmla="*/ 0 w 2449222"/>
              <a:gd name="connsiteY15" fmla="*/ 4819828 h 4819828"/>
              <a:gd name="connsiteX16" fmla="*/ 0 w 2449222"/>
              <a:gd name="connsiteY16" fmla="*/ 4179479 h 4819828"/>
              <a:gd name="connsiteX17" fmla="*/ 0 w 2449222"/>
              <a:gd name="connsiteY17" fmla="*/ 3490933 h 4819828"/>
              <a:gd name="connsiteX18" fmla="*/ 0 w 2449222"/>
              <a:gd name="connsiteY18" fmla="*/ 2898782 h 4819828"/>
              <a:gd name="connsiteX19" fmla="*/ 0 w 2449222"/>
              <a:gd name="connsiteY19" fmla="*/ 2354830 h 4819828"/>
              <a:gd name="connsiteX20" fmla="*/ 0 w 2449222"/>
              <a:gd name="connsiteY20" fmla="*/ 1714482 h 4819828"/>
              <a:gd name="connsiteX21" fmla="*/ 0 w 2449222"/>
              <a:gd name="connsiteY21" fmla="*/ 1122331 h 4819828"/>
              <a:gd name="connsiteX22" fmla="*/ 0 w 2449222"/>
              <a:gd name="connsiteY22" fmla="*/ 0 h 4819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49222" h="4819828" extrusionOk="0">
                <a:moveTo>
                  <a:pt x="0" y="0"/>
                </a:moveTo>
                <a:cubicBezTo>
                  <a:pt x="188773" y="-2889"/>
                  <a:pt x="379533" y="16090"/>
                  <a:pt x="538829" y="0"/>
                </a:cubicBezTo>
                <a:cubicBezTo>
                  <a:pt x="698125" y="-16090"/>
                  <a:pt x="863196" y="-11922"/>
                  <a:pt x="1151134" y="0"/>
                </a:cubicBezTo>
                <a:cubicBezTo>
                  <a:pt x="1439073" y="11922"/>
                  <a:pt x="1494788" y="-24099"/>
                  <a:pt x="1812424" y="0"/>
                </a:cubicBezTo>
                <a:cubicBezTo>
                  <a:pt x="2130060" y="24099"/>
                  <a:pt x="2140995" y="11020"/>
                  <a:pt x="2449222" y="0"/>
                </a:cubicBezTo>
                <a:cubicBezTo>
                  <a:pt x="2482566" y="316390"/>
                  <a:pt x="2422393" y="561953"/>
                  <a:pt x="2449222" y="784943"/>
                </a:cubicBezTo>
                <a:cubicBezTo>
                  <a:pt x="2476051" y="1007933"/>
                  <a:pt x="2465435" y="1122049"/>
                  <a:pt x="2449222" y="1328895"/>
                </a:cubicBezTo>
                <a:cubicBezTo>
                  <a:pt x="2433009" y="1535741"/>
                  <a:pt x="2442669" y="1739113"/>
                  <a:pt x="2449222" y="1921046"/>
                </a:cubicBezTo>
                <a:cubicBezTo>
                  <a:pt x="2455775" y="2102979"/>
                  <a:pt x="2427986" y="2246413"/>
                  <a:pt x="2449222" y="2513196"/>
                </a:cubicBezTo>
                <a:cubicBezTo>
                  <a:pt x="2470459" y="2779979"/>
                  <a:pt x="2453657" y="2873325"/>
                  <a:pt x="2449222" y="3105346"/>
                </a:cubicBezTo>
                <a:cubicBezTo>
                  <a:pt x="2444788" y="3337367"/>
                  <a:pt x="2478634" y="3477518"/>
                  <a:pt x="2449222" y="3793893"/>
                </a:cubicBezTo>
                <a:cubicBezTo>
                  <a:pt x="2419810" y="4110268"/>
                  <a:pt x="2399439" y="4508255"/>
                  <a:pt x="2449222" y="4819828"/>
                </a:cubicBezTo>
                <a:cubicBezTo>
                  <a:pt x="2193852" y="4820779"/>
                  <a:pt x="2019308" y="4815563"/>
                  <a:pt x="1861409" y="4819828"/>
                </a:cubicBezTo>
                <a:cubicBezTo>
                  <a:pt x="1703510" y="4824093"/>
                  <a:pt x="1442487" y="4807599"/>
                  <a:pt x="1322580" y="4819828"/>
                </a:cubicBezTo>
                <a:cubicBezTo>
                  <a:pt x="1202673" y="4832057"/>
                  <a:pt x="962778" y="4851946"/>
                  <a:pt x="661290" y="4819828"/>
                </a:cubicBezTo>
                <a:cubicBezTo>
                  <a:pt x="359802" y="4787711"/>
                  <a:pt x="161916" y="4834156"/>
                  <a:pt x="0" y="4819828"/>
                </a:cubicBezTo>
                <a:cubicBezTo>
                  <a:pt x="20712" y="4667832"/>
                  <a:pt x="-21714" y="4391209"/>
                  <a:pt x="0" y="4179479"/>
                </a:cubicBezTo>
                <a:cubicBezTo>
                  <a:pt x="21714" y="3967749"/>
                  <a:pt x="-1350" y="3750528"/>
                  <a:pt x="0" y="3490933"/>
                </a:cubicBezTo>
                <a:cubicBezTo>
                  <a:pt x="1350" y="3231338"/>
                  <a:pt x="26040" y="3147904"/>
                  <a:pt x="0" y="2898782"/>
                </a:cubicBezTo>
                <a:cubicBezTo>
                  <a:pt x="-26040" y="2649660"/>
                  <a:pt x="-25728" y="2535700"/>
                  <a:pt x="0" y="2354830"/>
                </a:cubicBezTo>
                <a:cubicBezTo>
                  <a:pt x="25728" y="2173960"/>
                  <a:pt x="-6548" y="1843629"/>
                  <a:pt x="0" y="1714482"/>
                </a:cubicBezTo>
                <a:cubicBezTo>
                  <a:pt x="6548" y="1585335"/>
                  <a:pt x="-28059" y="1325631"/>
                  <a:pt x="0" y="1122331"/>
                </a:cubicBezTo>
                <a:cubicBezTo>
                  <a:pt x="28059" y="919031"/>
                  <a:pt x="-9657" y="500285"/>
                  <a:pt x="0" y="0"/>
                </a:cubicBezTo>
                <a:close/>
              </a:path>
            </a:pathLst>
          </a:custGeom>
          <a:noFill/>
          <a:ln w="19050">
            <a:solidFill>
              <a:schemeClr val="bg1">
                <a:lumMod val="50000"/>
              </a:schemeClr>
            </a:solidFill>
            <a:extLst>
              <a:ext uri="{C807C97D-BFC1-408E-A445-0C87EB9F89A2}">
                <ask:lineSketchStyleProps xmlns:ask="http://schemas.microsoft.com/office/drawing/2018/sketchyshapes" sd="139305123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de-CH" dirty="0" err="1"/>
          </a:p>
        </p:txBody>
      </p:sp>
      <p:sp>
        <p:nvSpPr>
          <p:cNvPr id="159" name="Textfeld 158">
            <a:extLst>
              <a:ext uri="{FF2B5EF4-FFF2-40B4-BE49-F238E27FC236}">
                <a16:creationId xmlns:a16="http://schemas.microsoft.com/office/drawing/2014/main" id="{24F3B435-D1A6-6448-5039-C09552A2C86B}"/>
              </a:ext>
            </a:extLst>
          </p:cNvPr>
          <p:cNvSpPr txBox="1"/>
          <p:nvPr/>
        </p:nvSpPr>
        <p:spPr>
          <a:xfrm>
            <a:off x="8913806" y="5846385"/>
            <a:ext cx="1070014" cy="390830"/>
          </a:xfrm>
          <a:prstGeom prst="rect">
            <a:avLst/>
          </a:prstGeom>
          <a:noFill/>
        </p:spPr>
        <p:txBody>
          <a:bodyPr wrap="none" lIns="0" tIns="0" rIns="0" bIns="0" rtlCol="0">
            <a:noAutofit/>
          </a:bodyPr>
          <a:lstStyle/>
          <a:p>
            <a:pPr algn="l" defTabSz="228600">
              <a:spcAft>
                <a:spcPts val="1200"/>
              </a:spcAft>
            </a:pPr>
            <a:r>
              <a:rPr lang="de-CH" sz="2400" b="1" dirty="0" err="1"/>
              <a:t>Remediation</a:t>
            </a:r>
            <a:endParaRPr lang="de-CH" sz="2400" b="1" noProof="0" dirty="0"/>
          </a:p>
        </p:txBody>
      </p:sp>
    </p:spTree>
    <p:extLst>
      <p:ext uri="{BB962C8B-B14F-4D97-AF65-F5344CB8AC3E}">
        <p14:creationId xmlns:p14="http://schemas.microsoft.com/office/powerpoint/2010/main" val="2508082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27F691-EDEC-28A5-53A3-9677B0A7E2BA}"/>
              </a:ext>
            </a:extLst>
          </p:cNvPr>
          <p:cNvSpPr>
            <a:spLocks noGrp="1"/>
          </p:cNvSpPr>
          <p:nvPr>
            <p:ph type="title"/>
          </p:nvPr>
        </p:nvSpPr>
        <p:spPr/>
        <p:txBody>
          <a:bodyPr/>
          <a:lstStyle/>
          <a:p>
            <a:r>
              <a:rPr lang="de-CH" dirty="0" err="1"/>
              <a:t>Enable</a:t>
            </a:r>
            <a:r>
              <a:rPr lang="de-CH" dirty="0"/>
              <a:t> Cloud </a:t>
            </a:r>
            <a:r>
              <a:rPr lang="de-CH" dirty="0" err="1"/>
              <a:t>Guard</a:t>
            </a:r>
            <a:endParaRPr lang="de-CH" dirty="0"/>
          </a:p>
        </p:txBody>
      </p:sp>
      <p:sp>
        <p:nvSpPr>
          <p:cNvPr id="3" name="Inhaltsplatzhalter 2">
            <a:extLst>
              <a:ext uri="{FF2B5EF4-FFF2-40B4-BE49-F238E27FC236}">
                <a16:creationId xmlns:a16="http://schemas.microsoft.com/office/drawing/2014/main" id="{55049C61-BDAC-FC3E-F056-414614EF02C4}"/>
              </a:ext>
            </a:extLst>
          </p:cNvPr>
          <p:cNvSpPr>
            <a:spLocks noGrp="1"/>
          </p:cNvSpPr>
          <p:nvPr>
            <p:ph sz="quarter" idx="10"/>
          </p:nvPr>
        </p:nvSpPr>
        <p:spPr/>
        <p:txBody>
          <a:bodyPr/>
          <a:lstStyle/>
          <a:p>
            <a:pPr marL="0" indent="0" algn="l">
              <a:buNone/>
            </a:pPr>
            <a:r>
              <a:rPr lang="en-US" b="0" i="0" dirty="0">
                <a:solidFill>
                  <a:srgbClr val="242424"/>
                </a:solidFill>
                <a:effectLst/>
                <a:latin typeface="Segoe UI" panose="020B0502040204020203" pitchFamily="34" charset="0"/>
              </a:rPr>
              <a:t>The prerequisites for enabling Oracle Cloud Guard:</a:t>
            </a:r>
          </a:p>
          <a:p>
            <a:pPr algn="l"/>
            <a:r>
              <a:rPr lang="en-US" dirty="0">
                <a:solidFill>
                  <a:srgbClr val="242424"/>
                </a:solidFill>
                <a:latin typeface="Segoe UI" panose="020B0502040204020203" pitchFamily="34" charset="0"/>
              </a:rPr>
              <a:t>H</a:t>
            </a:r>
            <a:r>
              <a:rPr lang="en-US" b="0" i="0" dirty="0">
                <a:solidFill>
                  <a:srgbClr val="242424"/>
                </a:solidFill>
                <a:effectLst/>
                <a:latin typeface="Segoe UI" panose="020B0502040204020203" pitchFamily="34" charset="0"/>
              </a:rPr>
              <a:t>aving a paid Oracle Cloud Infrastructure tenancy, as Cloud Guard is not available for free tenancies</a:t>
            </a:r>
            <a:r>
              <a:rPr lang="en-US" dirty="0">
                <a:solidFill>
                  <a:srgbClr val="242424"/>
                </a:solidFill>
                <a:latin typeface="var(--fontFamilyBase)"/>
              </a:rPr>
              <a:t>.</a:t>
            </a:r>
            <a:endParaRPr lang="en-US" b="0" i="0" dirty="0">
              <a:solidFill>
                <a:srgbClr val="242424"/>
              </a:solidFill>
              <a:effectLst/>
              <a:latin typeface="Segoe UI" panose="020B0502040204020203" pitchFamily="34" charset="0"/>
            </a:endParaRPr>
          </a:p>
          <a:p>
            <a:pPr algn="l"/>
            <a:r>
              <a:rPr lang="en-US" b="0" i="0" dirty="0">
                <a:solidFill>
                  <a:srgbClr val="242424"/>
                </a:solidFill>
                <a:effectLst/>
                <a:latin typeface="Segoe UI" panose="020B0502040204020203" pitchFamily="34" charset="0"/>
              </a:rPr>
              <a:t>Users must create a user group with administrator privileges to work with Cloud Guard, and this group should be restricted to a limited audience</a:t>
            </a:r>
            <a:r>
              <a:rPr lang="en-US" b="0" i="0" dirty="0">
                <a:solidFill>
                  <a:srgbClr val="242424"/>
                </a:solidFill>
                <a:effectLst/>
                <a:latin typeface="var(--fontFamilyBase)"/>
              </a:rPr>
              <a:t>.</a:t>
            </a:r>
            <a:endParaRPr lang="en-US" b="0" i="0" dirty="0">
              <a:solidFill>
                <a:srgbClr val="242424"/>
              </a:solidFill>
              <a:effectLst/>
              <a:latin typeface="Segoe UI" panose="020B0502040204020203" pitchFamily="34" charset="0"/>
            </a:endParaRPr>
          </a:p>
          <a:p>
            <a:r>
              <a:rPr lang="en-US" b="0" i="0" dirty="0">
                <a:solidFill>
                  <a:srgbClr val="242424"/>
                </a:solidFill>
                <a:effectLst/>
                <a:latin typeface="Segoe UI" panose="020B0502040204020203" pitchFamily="34" charset="0"/>
              </a:rPr>
              <a:t>Additionally, specific policy statements must be added to enable the Cloud Guard users group to manage Cloud Guard resources.</a:t>
            </a:r>
            <a:endParaRPr lang="de-CH" dirty="0"/>
          </a:p>
        </p:txBody>
      </p:sp>
      <p:sp>
        <p:nvSpPr>
          <p:cNvPr id="4" name="Fußzeilenplatzhalter 3">
            <a:extLst>
              <a:ext uri="{FF2B5EF4-FFF2-40B4-BE49-F238E27FC236}">
                <a16:creationId xmlns:a16="http://schemas.microsoft.com/office/drawing/2014/main" id="{3F08E9F2-4CBF-5C57-9543-D7BF1FBD2B3C}"/>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5" name="Foliennummernplatzhalter 4">
            <a:extLst>
              <a:ext uri="{FF2B5EF4-FFF2-40B4-BE49-F238E27FC236}">
                <a16:creationId xmlns:a16="http://schemas.microsoft.com/office/drawing/2014/main" id="{6E86F207-9CC1-7AB9-791B-DBB3CCEB5E11}"/>
              </a:ext>
            </a:extLst>
          </p:cNvPr>
          <p:cNvSpPr>
            <a:spLocks noGrp="1"/>
          </p:cNvSpPr>
          <p:nvPr>
            <p:ph type="sldNum" sz="quarter" idx="11"/>
          </p:nvPr>
        </p:nvSpPr>
        <p:spPr/>
        <p:txBody>
          <a:bodyPr/>
          <a:lstStyle/>
          <a:p>
            <a:fld id="{1F90F471-3972-4120-B8B3-0237DE626C35}" type="slidenum">
              <a:rPr lang="en-US" smtClean="0"/>
              <a:pPr/>
              <a:t>11</a:t>
            </a:fld>
            <a:endParaRPr lang="en-US" dirty="0"/>
          </a:p>
        </p:txBody>
      </p:sp>
      <p:pic>
        <p:nvPicPr>
          <p:cNvPr id="9" name="Grafik 8">
            <a:extLst>
              <a:ext uri="{FF2B5EF4-FFF2-40B4-BE49-F238E27FC236}">
                <a16:creationId xmlns:a16="http://schemas.microsoft.com/office/drawing/2014/main" id="{AA3C629E-09F3-176C-B978-069672E19B9E}"/>
              </a:ext>
            </a:extLst>
          </p:cNvPr>
          <p:cNvPicPr>
            <a:picLocks noChangeAspect="1"/>
          </p:cNvPicPr>
          <p:nvPr/>
        </p:nvPicPr>
        <p:blipFill>
          <a:blip r:embed="rId2"/>
          <a:stretch>
            <a:fillRect/>
          </a:stretch>
        </p:blipFill>
        <p:spPr>
          <a:xfrm>
            <a:off x="380999" y="3927208"/>
            <a:ext cx="8041832" cy="2254484"/>
          </a:xfrm>
          <a:prstGeom prst="rect">
            <a:avLst/>
          </a:prstGeom>
          <a:ln>
            <a:solidFill>
              <a:schemeClr val="bg1">
                <a:lumMod val="50000"/>
              </a:schemeClr>
            </a:solidFill>
          </a:ln>
        </p:spPr>
      </p:pic>
    </p:spTree>
    <p:extLst>
      <p:ext uri="{BB962C8B-B14F-4D97-AF65-F5344CB8AC3E}">
        <p14:creationId xmlns:p14="http://schemas.microsoft.com/office/powerpoint/2010/main" val="39356124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6E8C83-5604-6800-8503-08C9674A39D3}"/>
              </a:ext>
            </a:extLst>
          </p:cNvPr>
          <p:cNvSpPr>
            <a:spLocks noGrp="1"/>
          </p:cNvSpPr>
          <p:nvPr>
            <p:ph type="title"/>
          </p:nvPr>
        </p:nvSpPr>
        <p:spPr/>
        <p:txBody>
          <a:bodyPr/>
          <a:lstStyle/>
          <a:p>
            <a:r>
              <a:rPr lang="en-US" b="1" i="0" dirty="0">
                <a:solidFill>
                  <a:srgbClr val="242424"/>
                </a:solidFill>
                <a:effectLst/>
              </a:rPr>
              <a:t>Setting Up Cloud Guard Targets</a:t>
            </a:r>
            <a:endParaRPr lang="de-CH" dirty="0"/>
          </a:p>
        </p:txBody>
      </p:sp>
      <p:sp>
        <p:nvSpPr>
          <p:cNvPr id="3" name="Inhaltsplatzhalter 2">
            <a:extLst>
              <a:ext uri="{FF2B5EF4-FFF2-40B4-BE49-F238E27FC236}">
                <a16:creationId xmlns:a16="http://schemas.microsoft.com/office/drawing/2014/main" id="{998C4BBF-A242-24EA-B3CA-4B13BF528F10}"/>
              </a:ext>
            </a:extLst>
          </p:cNvPr>
          <p:cNvSpPr>
            <a:spLocks noGrp="1"/>
          </p:cNvSpPr>
          <p:nvPr>
            <p:ph sz="quarter" idx="10"/>
          </p:nvPr>
        </p:nvSpPr>
        <p:spPr/>
        <p:txBody>
          <a:bodyPr/>
          <a:lstStyle/>
          <a:p>
            <a:r>
              <a:rPr lang="en-US" dirty="0"/>
              <a:t>Defines the resources where Cloud Guard is enabled.</a:t>
            </a:r>
          </a:p>
          <a:p>
            <a:r>
              <a:rPr lang="en-US" dirty="0"/>
              <a:t>Setting up more targets allows more specific monitoring</a:t>
            </a:r>
          </a:p>
          <a:p>
            <a:r>
              <a:rPr lang="en-US" dirty="0"/>
              <a:t>OCI Cloud Guard service targets are logical objects inspected by Cloud like Compute Instance, Object Storage Bucket, Security Lists etc.</a:t>
            </a:r>
          </a:p>
          <a:p>
            <a:r>
              <a:rPr lang="en-US" dirty="0"/>
              <a:t>Rules to detect and resolve issues are applied to targets. </a:t>
            </a:r>
            <a:endParaRPr lang="de-CH" dirty="0"/>
          </a:p>
        </p:txBody>
      </p:sp>
      <p:sp>
        <p:nvSpPr>
          <p:cNvPr id="4" name="Fußzeilenplatzhalter 3">
            <a:extLst>
              <a:ext uri="{FF2B5EF4-FFF2-40B4-BE49-F238E27FC236}">
                <a16:creationId xmlns:a16="http://schemas.microsoft.com/office/drawing/2014/main" id="{2D039DF2-BF9E-9282-B390-A81448E0838A}"/>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5" name="Foliennummernplatzhalter 4">
            <a:extLst>
              <a:ext uri="{FF2B5EF4-FFF2-40B4-BE49-F238E27FC236}">
                <a16:creationId xmlns:a16="http://schemas.microsoft.com/office/drawing/2014/main" id="{97343006-E830-249D-A108-601C1138EE1C}"/>
              </a:ext>
            </a:extLst>
          </p:cNvPr>
          <p:cNvSpPr>
            <a:spLocks noGrp="1"/>
          </p:cNvSpPr>
          <p:nvPr>
            <p:ph type="sldNum" sz="quarter" idx="11"/>
          </p:nvPr>
        </p:nvSpPr>
        <p:spPr/>
        <p:txBody>
          <a:bodyPr/>
          <a:lstStyle/>
          <a:p>
            <a:fld id="{1F90F471-3972-4120-B8B3-0237DE626C35}" type="slidenum">
              <a:rPr lang="en-US" smtClean="0"/>
              <a:pPr/>
              <a:t>12</a:t>
            </a:fld>
            <a:endParaRPr lang="en-US" dirty="0"/>
          </a:p>
        </p:txBody>
      </p:sp>
      <p:pic>
        <p:nvPicPr>
          <p:cNvPr id="7" name="Grafik 6">
            <a:extLst>
              <a:ext uri="{FF2B5EF4-FFF2-40B4-BE49-F238E27FC236}">
                <a16:creationId xmlns:a16="http://schemas.microsoft.com/office/drawing/2014/main" id="{88C8684A-6C52-C569-D51A-2C8A72AF2F0A}"/>
              </a:ext>
            </a:extLst>
          </p:cNvPr>
          <p:cNvPicPr>
            <a:picLocks noChangeAspect="1"/>
          </p:cNvPicPr>
          <p:nvPr/>
        </p:nvPicPr>
        <p:blipFill>
          <a:blip r:embed="rId2"/>
          <a:stretch>
            <a:fillRect/>
          </a:stretch>
        </p:blipFill>
        <p:spPr>
          <a:xfrm>
            <a:off x="578265" y="3352610"/>
            <a:ext cx="10649905" cy="2377629"/>
          </a:xfrm>
          <a:prstGeom prst="rect">
            <a:avLst/>
          </a:prstGeom>
          <a:ln>
            <a:solidFill>
              <a:schemeClr val="bg1">
                <a:lumMod val="50000"/>
              </a:schemeClr>
            </a:solidFill>
          </a:ln>
        </p:spPr>
      </p:pic>
    </p:spTree>
    <p:extLst>
      <p:ext uri="{BB962C8B-B14F-4D97-AF65-F5344CB8AC3E}">
        <p14:creationId xmlns:p14="http://schemas.microsoft.com/office/powerpoint/2010/main" val="37031095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52BAAF-36A2-7982-0B40-A982D0CA866D}"/>
              </a:ext>
            </a:extLst>
          </p:cNvPr>
          <p:cNvSpPr>
            <a:spLocks noGrp="1"/>
          </p:cNvSpPr>
          <p:nvPr>
            <p:ph type="title"/>
          </p:nvPr>
        </p:nvSpPr>
        <p:spPr/>
        <p:txBody>
          <a:bodyPr/>
          <a:lstStyle/>
          <a:p>
            <a:r>
              <a:rPr lang="de-CH" dirty="0"/>
              <a:t>Targets Inside</a:t>
            </a:r>
          </a:p>
        </p:txBody>
      </p:sp>
      <p:sp>
        <p:nvSpPr>
          <p:cNvPr id="3" name="Inhaltsplatzhalter 2">
            <a:extLst>
              <a:ext uri="{FF2B5EF4-FFF2-40B4-BE49-F238E27FC236}">
                <a16:creationId xmlns:a16="http://schemas.microsoft.com/office/drawing/2014/main" id="{62BC3EF3-2261-2E87-8358-BB547ED67E9F}"/>
              </a:ext>
            </a:extLst>
          </p:cNvPr>
          <p:cNvSpPr>
            <a:spLocks noGrp="1"/>
          </p:cNvSpPr>
          <p:nvPr>
            <p:ph sz="quarter" idx="10"/>
          </p:nvPr>
        </p:nvSpPr>
        <p:spPr/>
        <p:txBody>
          <a:bodyPr/>
          <a:lstStyle/>
          <a:p>
            <a:pPr marL="0" indent="0">
              <a:buNone/>
            </a:pPr>
            <a:r>
              <a:rPr lang="de-CH" dirty="0" err="1"/>
              <a:t>You</a:t>
            </a:r>
            <a:r>
              <a:rPr lang="de-CH" dirty="0"/>
              <a:t> </a:t>
            </a:r>
            <a:r>
              <a:rPr lang="de-CH" dirty="0" err="1"/>
              <a:t>don’t</a:t>
            </a:r>
            <a:r>
              <a:rPr lang="de-CH" dirty="0"/>
              <a:t> </a:t>
            </a:r>
            <a:r>
              <a:rPr lang="de-CH" dirty="0" err="1"/>
              <a:t>see</a:t>
            </a:r>
            <a:r>
              <a:rPr lang="de-CH" dirty="0"/>
              <a:t> </a:t>
            </a:r>
            <a:r>
              <a:rPr lang="de-CH" dirty="0" err="1"/>
              <a:t>the</a:t>
            </a:r>
            <a:r>
              <a:rPr lang="de-CH" dirty="0"/>
              <a:t> </a:t>
            </a:r>
            <a:r>
              <a:rPr lang="de-CH" dirty="0" err="1"/>
              <a:t>new</a:t>
            </a:r>
            <a:r>
              <a:rPr lang="de-CH" dirty="0"/>
              <a:t> </a:t>
            </a:r>
            <a:r>
              <a:rPr lang="de-CH" dirty="0" err="1"/>
              <a:t>created</a:t>
            </a:r>
            <a:r>
              <a:rPr lang="de-CH" dirty="0"/>
              <a:t> </a:t>
            </a:r>
            <a:r>
              <a:rPr lang="de-CH" dirty="0" err="1"/>
              <a:t>target</a:t>
            </a:r>
            <a:r>
              <a:rPr lang="de-CH" dirty="0"/>
              <a:t> </a:t>
            </a:r>
            <a:r>
              <a:rPr lang="de-CH" dirty="0" err="1"/>
              <a:t>for</a:t>
            </a:r>
            <a:r>
              <a:rPr lang="de-CH" dirty="0"/>
              <a:t> a </a:t>
            </a:r>
            <a:r>
              <a:rPr lang="de-CH" dirty="0" err="1"/>
              <a:t>compartment</a:t>
            </a:r>
            <a:r>
              <a:rPr lang="de-CH" dirty="0"/>
              <a:t> in </a:t>
            </a:r>
            <a:r>
              <a:rPr lang="de-CH" dirty="0" err="1"/>
              <a:t>the</a:t>
            </a:r>
            <a:r>
              <a:rPr lang="de-CH" dirty="0"/>
              <a:t> </a:t>
            </a:r>
            <a:r>
              <a:rPr lang="de-CH" dirty="0" err="1"/>
              <a:t>configuration</a:t>
            </a:r>
            <a:r>
              <a:rPr lang="de-CH" dirty="0"/>
              <a:t> </a:t>
            </a:r>
            <a:r>
              <a:rPr lang="de-CH" dirty="0" err="1"/>
              <a:t>list</a:t>
            </a:r>
            <a:r>
              <a:rPr lang="de-CH" dirty="0"/>
              <a:t>? Search </a:t>
            </a:r>
            <a:r>
              <a:rPr lang="de-CH" dirty="0" err="1"/>
              <a:t>it</a:t>
            </a:r>
            <a:r>
              <a:rPr lang="de-CH" dirty="0"/>
              <a:t> via </a:t>
            </a:r>
            <a:r>
              <a:rPr lang="de-CH" b="1" dirty="0" err="1"/>
              <a:t>Tenacy</a:t>
            </a:r>
            <a:r>
              <a:rPr lang="de-CH" b="1" dirty="0"/>
              <a:t> Explorer </a:t>
            </a:r>
            <a:r>
              <a:rPr lang="de-CH" dirty="0" err="1"/>
              <a:t>or</a:t>
            </a:r>
            <a:r>
              <a:rPr lang="de-CH" dirty="0"/>
              <a:t> </a:t>
            </a:r>
            <a:r>
              <a:rPr lang="de-CH" b="1" dirty="0"/>
              <a:t>Search Bar</a:t>
            </a:r>
            <a:r>
              <a:rPr lang="de-CH" dirty="0"/>
              <a:t>.</a:t>
            </a:r>
          </a:p>
        </p:txBody>
      </p:sp>
      <p:sp>
        <p:nvSpPr>
          <p:cNvPr id="4" name="Fußzeilenplatzhalter 3">
            <a:extLst>
              <a:ext uri="{FF2B5EF4-FFF2-40B4-BE49-F238E27FC236}">
                <a16:creationId xmlns:a16="http://schemas.microsoft.com/office/drawing/2014/main" id="{98FEC383-AD5F-7FCA-8B07-9DA73DA07B86}"/>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5" name="Foliennummernplatzhalter 4">
            <a:extLst>
              <a:ext uri="{FF2B5EF4-FFF2-40B4-BE49-F238E27FC236}">
                <a16:creationId xmlns:a16="http://schemas.microsoft.com/office/drawing/2014/main" id="{40A00328-B24D-DD9E-D90D-E1FB0EB47054}"/>
              </a:ext>
            </a:extLst>
          </p:cNvPr>
          <p:cNvSpPr>
            <a:spLocks noGrp="1"/>
          </p:cNvSpPr>
          <p:nvPr>
            <p:ph type="sldNum" sz="quarter" idx="11"/>
          </p:nvPr>
        </p:nvSpPr>
        <p:spPr/>
        <p:txBody>
          <a:bodyPr/>
          <a:lstStyle/>
          <a:p>
            <a:fld id="{1F90F471-3972-4120-B8B3-0237DE626C35}" type="slidenum">
              <a:rPr lang="en-US" smtClean="0"/>
              <a:pPr/>
              <a:t>13</a:t>
            </a:fld>
            <a:endParaRPr lang="en-US" dirty="0"/>
          </a:p>
        </p:txBody>
      </p:sp>
      <p:pic>
        <p:nvPicPr>
          <p:cNvPr id="7" name="Grafik 6">
            <a:extLst>
              <a:ext uri="{FF2B5EF4-FFF2-40B4-BE49-F238E27FC236}">
                <a16:creationId xmlns:a16="http://schemas.microsoft.com/office/drawing/2014/main" id="{882DDEEE-79E8-38EF-BC84-C7FCFCC03F71}"/>
              </a:ext>
            </a:extLst>
          </p:cNvPr>
          <p:cNvPicPr>
            <a:picLocks noChangeAspect="1"/>
          </p:cNvPicPr>
          <p:nvPr/>
        </p:nvPicPr>
        <p:blipFill>
          <a:blip r:embed="rId2"/>
          <a:stretch>
            <a:fillRect/>
          </a:stretch>
        </p:blipFill>
        <p:spPr>
          <a:xfrm>
            <a:off x="380999" y="2165645"/>
            <a:ext cx="9000000" cy="1891608"/>
          </a:xfrm>
          <a:prstGeom prst="rect">
            <a:avLst/>
          </a:prstGeom>
          <a:ln>
            <a:solidFill>
              <a:schemeClr val="bg1">
                <a:lumMod val="50000"/>
              </a:schemeClr>
            </a:solidFill>
          </a:ln>
        </p:spPr>
      </p:pic>
      <p:pic>
        <p:nvPicPr>
          <p:cNvPr id="9" name="Grafik 8">
            <a:extLst>
              <a:ext uri="{FF2B5EF4-FFF2-40B4-BE49-F238E27FC236}">
                <a16:creationId xmlns:a16="http://schemas.microsoft.com/office/drawing/2014/main" id="{4EA68A04-9F93-65DE-DC4D-DB42720A3E5D}"/>
              </a:ext>
            </a:extLst>
          </p:cNvPr>
          <p:cNvPicPr>
            <a:picLocks noChangeAspect="1"/>
          </p:cNvPicPr>
          <p:nvPr/>
        </p:nvPicPr>
        <p:blipFill>
          <a:blip r:embed="rId3"/>
          <a:stretch>
            <a:fillRect/>
          </a:stretch>
        </p:blipFill>
        <p:spPr>
          <a:xfrm>
            <a:off x="4563455" y="3550898"/>
            <a:ext cx="6611596" cy="2761002"/>
          </a:xfrm>
          <a:prstGeom prst="rect">
            <a:avLst/>
          </a:prstGeom>
          <a:ln>
            <a:solidFill>
              <a:schemeClr val="bg1">
                <a:lumMod val="50000"/>
              </a:schemeClr>
            </a:solidFill>
          </a:ln>
        </p:spPr>
      </p:pic>
    </p:spTree>
    <p:extLst>
      <p:ext uri="{BB962C8B-B14F-4D97-AF65-F5344CB8AC3E}">
        <p14:creationId xmlns:p14="http://schemas.microsoft.com/office/powerpoint/2010/main" val="24557565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7FF005-9445-7A65-E1D4-47B1B1993FA3}"/>
              </a:ext>
            </a:extLst>
          </p:cNvPr>
          <p:cNvSpPr>
            <a:spLocks noGrp="1"/>
          </p:cNvSpPr>
          <p:nvPr>
            <p:ph type="title"/>
          </p:nvPr>
        </p:nvSpPr>
        <p:spPr/>
        <p:txBody>
          <a:bodyPr/>
          <a:lstStyle/>
          <a:p>
            <a:r>
              <a:rPr lang="de-CH" dirty="0" err="1"/>
              <a:t>Managed</a:t>
            </a:r>
            <a:r>
              <a:rPr lang="de-CH" dirty="0"/>
              <a:t> Lists</a:t>
            </a:r>
          </a:p>
        </p:txBody>
      </p:sp>
      <p:sp>
        <p:nvSpPr>
          <p:cNvPr id="3" name="Inhaltsplatzhalter 2">
            <a:extLst>
              <a:ext uri="{FF2B5EF4-FFF2-40B4-BE49-F238E27FC236}">
                <a16:creationId xmlns:a16="http://schemas.microsoft.com/office/drawing/2014/main" id="{C6CA7AF0-A63C-4604-7F0C-9E589AC69F49}"/>
              </a:ext>
            </a:extLst>
          </p:cNvPr>
          <p:cNvSpPr>
            <a:spLocks noGrp="1"/>
          </p:cNvSpPr>
          <p:nvPr>
            <p:ph sz="quarter" idx="10"/>
          </p:nvPr>
        </p:nvSpPr>
        <p:spPr>
          <a:xfrm>
            <a:off x="381001" y="1371600"/>
            <a:ext cx="8252636" cy="4940300"/>
          </a:xfrm>
        </p:spPr>
        <p:txBody>
          <a:bodyPr/>
          <a:lstStyle/>
          <a:p>
            <a:pPr marL="0" indent="0" algn="l">
              <a:buNone/>
            </a:pPr>
            <a:r>
              <a:rPr lang="en-US" b="0" i="0" dirty="0">
                <a:effectLst/>
              </a:rPr>
              <a:t>A managed list is a reusable set of parameters that simplifies setting the scope for detector and responder rules. It can be used to apply specific configurations to detectors. </a:t>
            </a:r>
          </a:p>
          <a:p>
            <a:r>
              <a:rPr lang="en-US" b="0" i="0" dirty="0">
                <a:effectLst/>
              </a:rPr>
              <a:t>For example, a predefined "</a:t>
            </a:r>
            <a:r>
              <a:rPr lang="en-US" b="1" i="0" dirty="0">
                <a:effectLst/>
              </a:rPr>
              <a:t>Trusted Oracle IP address space</a:t>
            </a:r>
            <a:r>
              <a:rPr lang="en-US" b="0" i="0" dirty="0">
                <a:effectLst/>
              </a:rPr>
              <a:t>" list includes all Oracle IP addresses you want to consider trusted when defining rules for detectors and responders.</a:t>
            </a:r>
            <a:endParaRPr lang="en-US" dirty="0"/>
          </a:p>
          <a:p>
            <a:r>
              <a:rPr lang="en-US" b="0" i="0" dirty="0">
                <a:effectLst/>
              </a:rPr>
              <a:t>Cloud Guard also allows you to create your own managed lists as needed, such as lists of states or provinces, zip or postal codes, OCIDs, or any other criteria you require.</a:t>
            </a:r>
          </a:p>
          <a:p>
            <a:pPr marL="0" indent="0" algn="l">
              <a:buNone/>
            </a:pPr>
            <a:r>
              <a:rPr lang="en-US" b="0" i="0" dirty="0">
                <a:effectLst/>
              </a:rPr>
              <a:t>Here are some specific use cases for custom managed lists:</a:t>
            </a:r>
          </a:p>
          <a:p>
            <a:r>
              <a:rPr lang="en-US" b="1" i="0" dirty="0">
                <a:effectLst/>
              </a:rPr>
              <a:t>Trusted IP addresses</a:t>
            </a:r>
            <a:r>
              <a:rPr lang="en-US" b="0" i="0" dirty="0">
                <a:effectLst/>
              </a:rPr>
              <a:t>: Exempt listed IP addresses from triggering alerts that should only be triggered by untrusted IP addresses.</a:t>
            </a:r>
          </a:p>
          <a:p>
            <a:r>
              <a:rPr lang="en-US" b="1" i="0" dirty="0">
                <a:effectLst/>
              </a:rPr>
              <a:t>Resources that should be public</a:t>
            </a:r>
            <a:r>
              <a:rPr lang="en-US" b="0" i="0" dirty="0">
                <a:effectLst/>
              </a:rPr>
              <a:t>: Exempt listed resources from all detectors related to identifying public configurations.</a:t>
            </a:r>
            <a:endParaRPr lang="de-CH" dirty="0"/>
          </a:p>
        </p:txBody>
      </p:sp>
      <p:sp>
        <p:nvSpPr>
          <p:cNvPr id="4" name="Fußzeilenplatzhalter 3">
            <a:extLst>
              <a:ext uri="{FF2B5EF4-FFF2-40B4-BE49-F238E27FC236}">
                <a16:creationId xmlns:a16="http://schemas.microsoft.com/office/drawing/2014/main" id="{111FCA46-547F-67F0-E9E9-DD6D600AAE02}"/>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5" name="Foliennummernplatzhalter 4">
            <a:extLst>
              <a:ext uri="{FF2B5EF4-FFF2-40B4-BE49-F238E27FC236}">
                <a16:creationId xmlns:a16="http://schemas.microsoft.com/office/drawing/2014/main" id="{BF47968C-2365-059C-0013-4A07A6D6EC44}"/>
              </a:ext>
            </a:extLst>
          </p:cNvPr>
          <p:cNvSpPr>
            <a:spLocks noGrp="1"/>
          </p:cNvSpPr>
          <p:nvPr>
            <p:ph type="sldNum" sz="quarter" idx="11"/>
          </p:nvPr>
        </p:nvSpPr>
        <p:spPr/>
        <p:txBody>
          <a:bodyPr/>
          <a:lstStyle/>
          <a:p>
            <a:fld id="{1F90F471-3972-4120-B8B3-0237DE626C35}" type="slidenum">
              <a:rPr lang="en-US" smtClean="0"/>
              <a:pPr/>
              <a:t>14</a:t>
            </a:fld>
            <a:endParaRPr lang="en-US" dirty="0"/>
          </a:p>
        </p:txBody>
      </p:sp>
      <p:pic>
        <p:nvPicPr>
          <p:cNvPr id="10" name="Grafik 9">
            <a:extLst>
              <a:ext uri="{FF2B5EF4-FFF2-40B4-BE49-F238E27FC236}">
                <a16:creationId xmlns:a16="http://schemas.microsoft.com/office/drawing/2014/main" id="{5889014A-DE6E-5352-6315-4BA2D4710798}"/>
              </a:ext>
            </a:extLst>
          </p:cNvPr>
          <p:cNvPicPr>
            <a:picLocks noChangeAspect="1"/>
          </p:cNvPicPr>
          <p:nvPr/>
        </p:nvPicPr>
        <p:blipFill>
          <a:blip r:embed="rId2"/>
          <a:stretch>
            <a:fillRect/>
          </a:stretch>
        </p:blipFill>
        <p:spPr>
          <a:xfrm>
            <a:off x="8896713" y="876300"/>
            <a:ext cx="2914286" cy="5219048"/>
          </a:xfrm>
          <a:prstGeom prst="rect">
            <a:avLst/>
          </a:prstGeom>
          <a:ln>
            <a:solidFill>
              <a:schemeClr val="bg1">
                <a:lumMod val="50000"/>
              </a:schemeClr>
            </a:solidFill>
          </a:ln>
        </p:spPr>
      </p:pic>
    </p:spTree>
    <p:extLst>
      <p:ext uri="{BB962C8B-B14F-4D97-AF65-F5344CB8AC3E}">
        <p14:creationId xmlns:p14="http://schemas.microsoft.com/office/powerpoint/2010/main" val="2340355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6E8C83-5604-6800-8503-08C9674A39D3}"/>
              </a:ext>
            </a:extLst>
          </p:cNvPr>
          <p:cNvSpPr>
            <a:spLocks noGrp="1"/>
          </p:cNvSpPr>
          <p:nvPr>
            <p:ph type="title"/>
          </p:nvPr>
        </p:nvSpPr>
        <p:spPr/>
        <p:txBody>
          <a:bodyPr/>
          <a:lstStyle/>
          <a:p>
            <a:r>
              <a:rPr lang="de-CH" dirty="0" err="1">
                <a:solidFill>
                  <a:srgbClr val="242424"/>
                </a:solidFill>
              </a:rPr>
              <a:t>Detection</a:t>
            </a:r>
            <a:r>
              <a:rPr lang="de-CH" dirty="0">
                <a:solidFill>
                  <a:srgbClr val="242424"/>
                </a:solidFill>
              </a:rPr>
              <a:t> </a:t>
            </a:r>
            <a:r>
              <a:rPr lang="de-CH" dirty="0" err="1">
                <a:solidFill>
                  <a:srgbClr val="242424"/>
                </a:solidFill>
              </a:rPr>
              <a:t>or</a:t>
            </a:r>
            <a:r>
              <a:rPr lang="de-CH" dirty="0">
                <a:solidFill>
                  <a:srgbClr val="242424"/>
                </a:solidFill>
              </a:rPr>
              <a:t> </a:t>
            </a:r>
            <a:r>
              <a:rPr lang="de-CH" dirty="0" err="1">
                <a:solidFill>
                  <a:srgbClr val="242424"/>
                </a:solidFill>
              </a:rPr>
              <a:t>Responding</a:t>
            </a:r>
            <a:endParaRPr lang="de-CH" dirty="0"/>
          </a:p>
        </p:txBody>
      </p:sp>
      <p:sp>
        <p:nvSpPr>
          <p:cNvPr id="3" name="Inhaltsplatzhalter 2">
            <a:extLst>
              <a:ext uri="{FF2B5EF4-FFF2-40B4-BE49-F238E27FC236}">
                <a16:creationId xmlns:a16="http://schemas.microsoft.com/office/drawing/2014/main" id="{998C4BBF-A242-24EA-B3CA-4B13BF528F10}"/>
              </a:ext>
            </a:extLst>
          </p:cNvPr>
          <p:cNvSpPr>
            <a:spLocks noGrp="1"/>
          </p:cNvSpPr>
          <p:nvPr>
            <p:ph sz="quarter" idx="10"/>
          </p:nvPr>
        </p:nvSpPr>
        <p:spPr/>
        <p:txBody>
          <a:bodyPr/>
          <a:lstStyle/>
          <a:p>
            <a:pPr marL="0" indent="0">
              <a:buNone/>
            </a:pPr>
            <a:r>
              <a:rPr lang="en-US" b="1" dirty="0"/>
              <a:t>Detector Recipes</a:t>
            </a:r>
            <a:endParaRPr lang="en-US" dirty="0"/>
          </a:p>
          <a:p>
            <a:pPr>
              <a:buFontTx/>
              <a:buChar char="-"/>
            </a:pPr>
            <a:r>
              <a:rPr lang="en-US" dirty="0"/>
              <a:t>These recipes are used to identify potential security issues by continuously monitoring resources for misconfigurations, vulnerabilities, and anomalous activities.</a:t>
            </a:r>
          </a:p>
          <a:p>
            <a:pPr>
              <a:buFontTx/>
              <a:buChar char="-"/>
            </a:pPr>
            <a:r>
              <a:rPr lang="en-US" dirty="0"/>
              <a:t>Detector recipes contain rules that define what constitutes a problem. When these rules are triggered, Cloud Guard creates a problem.</a:t>
            </a:r>
          </a:p>
          <a:p>
            <a:pPr marL="0" indent="0">
              <a:buNone/>
            </a:pPr>
            <a:endParaRPr lang="en-US" b="1" dirty="0"/>
          </a:p>
          <a:p>
            <a:pPr marL="0" indent="0">
              <a:buNone/>
            </a:pPr>
            <a:r>
              <a:rPr lang="en-US" b="1" dirty="0"/>
              <a:t>Responder Recipes</a:t>
            </a:r>
          </a:p>
          <a:p>
            <a:pPr>
              <a:buFontTx/>
              <a:buChar char="-"/>
            </a:pPr>
            <a:r>
              <a:rPr lang="en-US" dirty="0"/>
              <a:t>These recipes define the actions to be taken when a problem is detected by a detector recipe.</a:t>
            </a:r>
          </a:p>
          <a:p>
            <a:pPr>
              <a:buFontTx/>
              <a:buChar char="-"/>
            </a:pPr>
            <a:r>
              <a:rPr lang="en-US" dirty="0"/>
              <a:t>Responder recipes contain rules that specify the actions to remediate, resolve, or dismiss the identified problems.</a:t>
            </a:r>
          </a:p>
          <a:p>
            <a:pPr marL="0" indent="0">
              <a:buNone/>
            </a:pPr>
            <a:endParaRPr lang="en-US" dirty="0"/>
          </a:p>
          <a:p>
            <a:pPr marL="0" indent="0">
              <a:buNone/>
            </a:pPr>
            <a:r>
              <a:rPr lang="en-US" dirty="0"/>
              <a:t>Oracle provides a set of recipes (3+1) – you can clone then for adaption according your security needs.</a:t>
            </a:r>
            <a:endParaRPr lang="de-CH" dirty="0"/>
          </a:p>
        </p:txBody>
      </p:sp>
      <p:sp>
        <p:nvSpPr>
          <p:cNvPr id="4" name="Fußzeilenplatzhalter 3">
            <a:extLst>
              <a:ext uri="{FF2B5EF4-FFF2-40B4-BE49-F238E27FC236}">
                <a16:creationId xmlns:a16="http://schemas.microsoft.com/office/drawing/2014/main" id="{2D039DF2-BF9E-9282-B390-A81448E0838A}"/>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5" name="Foliennummernplatzhalter 4">
            <a:extLst>
              <a:ext uri="{FF2B5EF4-FFF2-40B4-BE49-F238E27FC236}">
                <a16:creationId xmlns:a16="http://schemas.microsoft.com/office/drawing/2014/main" id="{97343006-E830-249D-A108-601C1138EE1C}"/>
              </a:ext>
            </a:extLst>
          </p:cNvPr>
          <p:cNvSpPr>
            <a:spLocks noGrp="1"/>
          </p:cNvSpPr>
          <p:nvPr>
            <p:ph type="sldNum" sz="quarter" idx="11"/>
          </p:nvPr>
        </p:nvSpPr>
        <p:spPr/>
        <p:txBody>
          <a:bodyPr/>
          <a:lstStyle/>
          <a:p>
            <a:fld id="{1F90F471-3972-4120-B8B3-0237DE626C35}" type="slidenum">
              <a:rPr lang="en-US" smtClean="0"/>
              <a:pPr/>
              <a:t>15</a:t>
            </a:fld>
            <a:endParaRPr lang="en-US" dirty="0"/>
          </a:p>
        </p:txBody>
      </p:sp>
    </p:spTree>
    <p:extLst>
      <p:ext uri="{BB962C8B-B14F-4D97-AF65-F5344CB8AC3E}">
        <p14:creationId xmlns:p14="http://schemas.microsoft.com/office/powerpoint/2010/main" val="41659498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6E8C83-5604-6800-8503-08C9674A39D3}"/>
              </a:ext>
            </a:extLst>
          </p:cNvPr>
          <p:cNvSpPr>
            <a:spLocks noGrp="1"/>
          </p:cNvSpPr>
          <p:nvPr>
            <p:ph type="title"/>
          </p:nvPr>
        </p:nvSpPr>
        <p:spPr/>
        <p:txBody>
          <a:bodyPr/>
          <a:lstStyle/>
          <a:p>
            <a:r>
              <a:rPr lang="de-CH" b="1" i="0" dirty="0" err="1">
                <a:solidFill>
                  <a:srgbClr val="242424"/>
                </a:solidFill>
                <a:effectLst/>
              </a:rPr>
              <a:t>Detector</a:t>
            </a:r>
            <a:r>
              <a:rPr lang="de-CH" b="1" i="0" dirty="0">
                <a:solidFill>
                  <a:srgbClr val="242424"/>
                </a:solidFill>
                <a:effectLst/>
              </a:rPr>
              <a:t> </a:t>
            </a:r>
            <a:r>
              <a:rPr lang="de-CH" b="1" i="0" dirty="0" err="1">
                <a:solidFill>
                  <a:srgbClr val="242424"/>
                </a:solidFill>
                <a:effectLst/>
              </a:rPr>
              <a:t>Recipes</a:t>
            </a:r>
            <a:endParaRPr lang="de-CH" dirty="0"/>
          </a:p>
        </p:txBody>
      </p:sp>
      <p:sp>
        <p:nvSpPr>
          <p:cNvPr id="3" name="Inhaltsplatzhalter 2">
            <a:extLst>
              <a:ext uri="{FF2B5EF4-FFF2-40B4-BE49-F238E27FC236}">
                <a16:creationId xmlns:a16="http://schemas.microsoft.com/office/drawing/2014/main" id="{998C4BBF-A242-24EA-B3CA-4B13BF528F10}"/>
              </a:ext>
            </a:extLst>
          </p:cNvPr>
          <p:cNvSpPr>
            <a:spLocks noGrp="1"/>
          </p:cNvSpPr>
          <p:nvPr>
            <p:ph sz="quarter" idx="10"/>
          </p:nvPr>
        </p:nvSpPr>
        <p:spPr/>
        <p:txBody>
          <a:bodyPr/>
          <a:lstStyle/>
          <a:p>
            <a:pPr marL="0" indent="0">
              <a:buNone/>
            </a:pPr>
            <a:r>
              <a:rPr lang="en-US" b="1" dirty="0"/>
              <a:t>OCI Configuration Detector Recipe</a:t>
            </a:r>
          </a:p>
          <a:p>
            <a:r>
              <a:rPr lang="en-US" sz="1800" dirty="0"/>
              <a:t>Designed to detect resource configuration settings that could pose a security problem.</a:t>
            </a:r>
          </a:p>
          <a:p>
            <a:r>
              <a:rPr lang="en-US" sz="1800" dirty="0"/>
              <a:t>Helps identify misconfigured resources to ensure compliance with security policies.</a:t>
            </a:r>
          </a:p>
          <a:p>
            <a:pPr marL="0" indent="0">
              <a:buNone/>
            </a:pPr>
            <a:r>
              <a:rPr lang="en-US" b="1" dirty="0"/>
              <a:t>OCI Instance Security Recipe</a:t>
            </a:r>
          </a:p>
          <a:p>
            <a:r>
              <a:rPr lang="en-US" sz="1800" dirty="0"/>
              <a:t>Monitors compute hosts for suspicious activity, providing runtime security for workloads in Compute virtual and bare metal hosts.</a:t>
            </a:r>
          </a:p>
          <a:p>
            <a:r>
              <a:rPr lang="en-US" sz="1800" dirty="0"/>
              <a:t>Collects important security information such as security alerts, vulnerabilities, and open ports to provide actionable guidance for detection and prevention.</a:t>
            </a:r>
          </a:p>
          <a:p>
            <a:pPr marL="0" indent="0">
              <a:buNone/>
            </a:pPr>
            <a:r>
              <a:rPr lang="en-US" b="1" dirty="0"/>
              <a:t>OCI Activity Detector Recipe</a:t>
            </a:r>
          </a:p>
          <a:p>
            <a:r>
              <a:rPr lang="en-US" sz="1800" dirty="0"/>
              <a:t>Detects actions on resources that could pose a security problem.</a:t>
            </a:r>
          </a:p>
          <a:p>
            <a:r>
              <a:rPr lang="en-US" sz="1800" dirty="0"/>
              <a:t>Monitors activities to identify potential security issues based on resource actions.</a:t>
            </a:r>
          </a:p>
          <a:p>
            <a:pPr marL="0" indent="0">
              <a:buNone/>
            </a:pPr>
            <a:r>
              <a:rPr lang="en-US" b="1" dirty="0"/>
              <a:t>OCI Threat Detector Recipe</a:t>
            </a:r>
          </a:p>
          <a:p>
            <a:r>
              <a:rPr lang="en-US" sz="1800" dirty="0"/>
              <a:t>Designed to detect subtle patterns of activity that could be building up to pose a security problem.</a:t>
            </a:r>
          </a:p>
          <a:p>
            <a:r>
              <a:rPr lang="en-US" sz="1800" dirty="0"/>
              <a:t>Continuously monitors OCI audit events for malicious activity using machine learning-based behavioral attack models.</a:t>
            </a:r>
            <a:endParaRPr lang="de-CH" sz="1800" dirty="0"/>
          </a:p>
        </p:txBody>
      </p:sp>
      <p:sp>
        <p:nvSpPr>
          <p:cNvPr id="4" name="Fußzeilenplatzhalter 3">
            <a:extLst>
              <a:ext uri="{FF2B5EF4-FFF2-40B4-BE49-F238E27FC236}">
                <a16:creationId xmlns:a16="http://schemas.microsoft.com/office/drawing/2014/main" id="{2D039DF2-BF9E-9282-B390-A81448E0838A}"/>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5" name="Foliennummernplatzhalter 4">
            <a:extLst>
              <a:ext uri="{FF2B5EF4-FFF2-40B4-BE49-F238E27FC236}">
                <a16:creationId xmlns:a16="http://schemas.microsoft.com/office/drawing/2014/main" id="{97343006-E830-249D-A108-601C1138EE1C}"/>
              </a:ext>
            </a:extLst>
          </p:cNvPr>
          <p:cNvSpPr>
            <a:spLocks noGrp="1"/>
          </p:cNvSpPr>
          <p:nvPr>
            <p:ph type="sldNum" sz="quarter" idx="11"/>
          </p:nvPr>
        </p:nvSpPr>
        <p:spPr/>
        <p:txBody>
          <a:bodyPr/>
          <a:lstStyle/>
          <a:p>
            <a:fld id="{1F90F471-3972-4120-B8B3-0237DE626C35}" type="slidenum">
              <a:rPr lang="en-US" smtClean="0"/>
              <a:pPr/>
              <a:t>16</a:t>
            </a:fld>
            <a:endParaRPr lang="en-US" dirty="0"/>
          </a:p>
        </p:txBody>
      </p:sp>
      <p:pic>
        <p:nvPicPr>
          <p:cNvPr id="11" name="Grafik 10">
            <a:extLst>
              <a:ext uri="{FF2B5EF4-FFF2-40B4-BE49-F238E27FC236}">
                <a16:creationId xmlns:a16="http://schemas.microsoft.com/office/drawing/2014/main" id="{43FAD0F4-C9DD-AB10-4CBE-4468A10B7701}"/>
              </a:ext>
            </a:extLst>
          </p:cNvPr>
          <p:cNvPicPr>
            <a:picLocks noChangeAspect="1"/>
          </p:cNvPicPr>
          <p:nvPr/>
        </p:nvPicPr>
        <p:blipFill>
          <a:blip r:embed="rId2"/>
          <a:stretch>
            <a:fillRect/>
          </a:stretch>
        </p:blipFill>
        <p:spPr>
          <a:xfrm>
            <a:off x="9474655" y="201542"/>
            <a:ext cx="2336345" cy="1080995"/>
          </a:xfrm>
          <a:prstGeom prst="rect">
            <a:avLst/>
          </a:prstGeom>
          <a:ln>
            <a:solidFill>
              <a:schemeClr val="bg1">
                <a:lumMod val="50000"/>
              </a:schemeClr>
            </a:solidFill>
          </a:ln>
        </p:spPr>
      </p:pic>
    </p:spTree>
    <p:extLst>
      <p:ext uri="{BB962C8B-B14F-4D97-AF65-F5344CB8AC3E}">
        <p14:creationId xmlns:p14="http://schemas.microsoft.com/office/powerpoint/2010/main" val="19634092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6E8C83-5604-6800-8503-08C9674A39D3}"/>
              </a:ext>
            </a:extLst>
          </p:cNvPr>
          <p:cNvSpPr>
            <a:spLocks noGrp="1"/>
          </p:cNvSpPr>
          <p:nvPr>
            <p:ph type="title"/>
          </p:nvPr>
        </p:nvSpPr>
        <p:spPr/>
        <p:txBody>
          <a:bodyPr/>
          <a:lstStyle/>
          <a:p>
            <a:r>
              <a:rPr lang="de-CH" b="1" i="0" dirty="0">
                <a:solidFill>
                  <a:srgbClr val="242424"/>
                </a:solidFill>
                <a:effectLst/>
              </a:rPr>
              <a:t>Responder </a:t>
            </a:r>
            <a:r>
              <a:rPr lang="de-CH" b="1" i="0" dirty="0" err="1">
                <a:solidFill>
                  <a:srgbClr val="242424"/>
                </a:solidFill>
                <a:effectLst/>
              </a:rPr>
              <a:t>Recipes</a:t>
            </a:r>
            <a:endParaRPr lang="de-CH" dirty="0"/>
          </a:p>
        </p:txBody>
      </p:sp>
      <p:sp>
        <p:nvSpPr>
          <p:cNvPr id="3" name="Inhaltsplatzhalter 2">
            <a:extLst>
              <a:ext uri="{FF2B5EF4-FFF2-40B4-BE49-F238E27FC236}">
                <a16:creationId xmlns:a16="http://schemas.microsoft.com/office/drawing/2014/main" id="{998C4BBF-A242-24EA-B3CA-4B13BF528F10}"/>
              </a:ext>
            </a:extLst>
          </p:cNvPr>
          <p:cNvSpPr>
            <a:spLocks noGrp="1"/>
          </p:cNvSpPr>
          <p:nvPr>
            <p:ph sz="quarter" idx="10"/>
          </p:nvPr>
        </p:nvSpPr>
        <p:spPr/>
        <p:txBody>
          <a:bodyPr/>
          <a:lstStyle/>
          <a:p>
            <a:r>
              <a:rPr lang="en-US" dirty="0"/>
              <a:t>Define actions to be taken when a problem is detected by a detector recipe.</a:t>
            </a:r>
          </a:p>
          <a:p>
            <a:r>
              <a:rPr lang="en-US" dirty="0"/>
              <a:t>Can be configured for automatic remediation or to notify administrators for manual intervention.</a:t>
            </a:r>
          </a:p>
          <a:p>
            <a:r>
              <a:rPr lang="en-US" dirty="0"/>
              <a:t>Contain multiple responder rules specifying actions to address identified problems.</a:t>
            </a:r>
          </a:p>
          <a:p>
            <a:r>
              <a:rPr lang="en-US" dirty="0"/>
              <a:t>Can use Oracle-managed recipes with default rules or customized user-managed recipes.</a:t>
            </a:r>
            <a:endParaRPr lang="de-CH" sz="1800" dirty="0"/>
          </a:p>
        </p:txBody>
      </p:sp>
      <p:sp>
        <p:nvSpPr>
          <p:cNvPr id="4" name="Fußzeilenplatzhalter 3">
            <a:extLst>
              <a:ext uri="{FF2B5EF4-FFF2-40B4-BE49-F238E27FC236}">
                <a16:creationId xmlns:a16="http://schemas.microsoft.com/office/drawing/2014/main" id="{2D039DF2-BF9E-9282-B390-A81448E0838A}"/>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5" name="Foliennummernplatzhalter 4">
            <a:extLst>
              <a:ext uri="{FF2B5EF4-FFF2-40B4-BE49-F238E27FC236}">
                <a16:creationId xmlns:a16="http://schemas.microsoft.com/office/drawing/2014/main" id="{97343006-E830-249D-A108-601C1138EE1C}"/>
              </a:ext>
            </a:extLst>
          </p:cNvPr>
          <p:cNvSpPr>
            <a:spLocks noGrp="1"/>
          </p:cNvSpPr>
          <p:nvPr>
            <p:ph type="sldNum" sz="quarter" idx="11"/>
          </p:nvPr>
        </p:nvSpPr>
        <p:spPr/>
        <p:txBody>
          <a:bodyPr/>
          <a:lstStyle/>
          <a:p>
            <a:fld id="{1F90F471-3972-4120-B8B3-0237DE626C35}" type="slidenum">
              <a:rPr lang="en-US" smtClean="0"/>
              <a:pPr/>
              <a:t>17</a:t>
            </a:fld>
            <a:endParaRPr lang="en-US" dirty="0"/>
          </a:p>
        </p:txBody>
      </p:sp>
      <p:pic>
        <p:nvPicPr>
          <p:cNvPr id="9" name="Grafik 8">
            <a:extLst>
              <a:ext uri="{FF2B5EF4-FFF2-40B4-BE49-F238E27FC236}">
                <a16:creationId xmlns:a16="http://schemas.microsoft.com/office/drawing/2014/main" id="{E713D9D8-2982-7A7F-0B93-482C175EF053}"/>
              </a:ext>
            </a:extLst>
          </p:cNvPr>
          <p:cNvPicPr>
            <a:picLocks noChangeAspect="1"/>
          </p:cNvPicPr>
          <p:nvPr/>
        </p:nvPicPr>
        <p:blipFill>
          <a:blip r:embed="rId2"/>
          <a:stretch>
            <a:fillRect/>
          </a:stretch>
        </p:blipFill>
        <p:spPr>
          <a:xfrm>
            <a:off x="9815127" y="249380"/>
            <a:ext cx="1995873" cy="1033158"/>
          </a:xfrm>
          <a:prstGeom prst="rect">
            <a:avLst/>
          </a:prstGeom>
          <a:ln>
            <a:solidFill>
              <a:schemeClr val="bg1">
                <a:lumMod val="50000"/>
              </a:schemeClr>
            </a:solidFill>
          </a:ln>
        </p:spPr>
      </p:pic>
      <p:pic>
        <p:nvPicPr>
          <p:cNvPr id="7" name="Grafik 6">
            <a:extLst>
              <a:ext uri="{FF2B5EF4-FFF2-40B4-BE49-F238E27FC236}">
                <a16:creationId xmlns:a16="http://schemas.microsoft.com/office/drawing/2014/main" id="{B955477A-BC47-F1F2-6FDD-DC1B72A2BF52}"/>
              </a:ext>
            </a:extLst>
          </p:cNvPr>
          <p:cNvPicPr>
            <a:picLocks noChangeAspect="1"/>
          </p:cNvPicPr>
          <p:nvPr/>
        </p:nvPicPr>
        <p:blipFill>
          <a:blip r:embed="rId3"/>
          <a:stretch>
            <a:fillRect/>
          </a:stretch>
        </p:blipFill>
        <p:spPr>
          <a:xfrm>
            <a:off x="380999" y="3668812"/>
            <a:ext cx="9494792" cy="2061905"/>
          </a:xfrm>
          <a:prstGeom prst="rect">
            <a:avLst/>
          </a:prstGeom>
          <a:ln>
            <a:solidFill>
              <a:schemeClr val="bg1">
                <a:lumMod val="50000"/>
              </a:schemeClr>
            </a:solidFill>
          </a:ln>
        </p:spPr>
      </p:pic>
    </p:spTree>
    <p:extLst>
      <p:ext uri="{BB962C8B-B14F-4D97-AF65-F5344CB8AC3E}">
        <p14:creationId xmlns:p14="http://schemas.microsoft.com/office/powerpoint/2010/main" val="657730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EF03685-E909-E772-CA4B-977FEF3D3B28}"/>
              </a:ext>
            </a:extLst>
          </p:cNvPr>
          <p:cNvSpPr>
            <a:spLocks noGrp="1"/>
          </p:cNvSpPr>
          <p:nvPr>
            <p:ph type="title"/>
          </p:nvPr>
        </p:nvSpPr>
        <p:spPr/>
        <p:txBody>
          <a:bodyPr/>
          <a:lstStyle/>
          <a:p>
            <a:r>
              <a:rPr lang="de-CH" dirty="0"/>
              <a:t>Auto-Resolve</a:t>
            </a:r>
          </a:p>
        </p:txBody>
      </p:sp>
      <p:sp>
        <p:nvSpPr>
          <p:cNvPr id="3" name="Inhaltsplatzhalter 2">
            <a:extLst>
              <a:ext uri="{FF2B5EF4-FFF2-40B4-BE49-F238E27FC236}">
                <a16:creationId xmlns:a16="http://schemas.microsoft.com/office/drawing/2014/main" id="{DA07060D-2D34-DEAA-3C47-C5CD027EFCEB}"/>
              </a:ext>
            </a:extLst>
          </p:cNvPr>
          <p:cNvSpPr>
            <a:spLocks noGrp="1"/>
          </p:cNvSpPr>
          <p:nvPr>
            <p:ph sz="quarter" idx="10"/>
          </p:nvPr>
        </p:nvSpPr>
        <p:spPr/>
        <p:txBody>
          <a:bodyPr/>
          <a:lstStyle/>
          <a:p>
            <a:r>
              <a:rPr lang="en-US" dirty="0"/>
              <a:t>This is configured on level targets according the </a:t>
            </a:r>
            <a:r>
              <a:rPr lang="en-US" b="1" dirty="0"/>
              <a:t>Responder</a:t>
            </a:r>
            <a:r>
              <a:rPr lang="en-US" dirty="0"/>
              <a:t> rules.</a:t>
            </a:r>
          </a:p>
          <a:p>
            <a:r>
              <a:rPr lang="en-US" dirty="0"/>
              <a:t>Requires an IAM policy to allow Cloud Guard the action.</a:t>
            </a:r>
          </a:p>
          <a:p>
            <a:endParaRPr lang="en-US" dirty="0"/>
          </a:p>
          <a:p>
            <a:endParaRPr lang="en-US" dirty="0"/>
          </a:p>
          <a:p>
            <a:endParaRPr lang="en-US" dirty="0"/>
          </a:p>
          <a:p>
            <a:r>
              <a:rPr lang="en-US" dirty="0"/>
              <a:t>The Detector and Responder rule must be enabled.</a:t>
            </a:r>
          </a:p>
          <a:p>
            <a:pPr marL="0" indent="0">
              <a:buNone/>
            </a:pPr>
            <a:endParaRPr lang="de-CH" dirty="0"/>
          </a:p>
        </p:txBody>
      </p:sp>
      <p:sp>
        <p:nvSpPr>
          <p:cNvPr id="6" name="Textplatzhalter 5">
            <a:extLst>
              <a:ext uri="{FF2B5EF4-FFF2-40B4-BE49-F238E27FC236}">
                <a16:creationId xmlns:a16="http://schemas.microsoft.com/office/drawing/2014/main" id="{B6D034A6-E66F-4427-E24E-B3BB942BE0E2}"/>
              </a:ext>
            </a:extLst>
          </p:cNvPr>
          <p:cNvSpPr>
            <a:spLocks noGrp="1"/>
          </p:cNvSpPr>
          <p:nvPr>
            <p:ph type="body" sz="quarter" idx="11"/>
          </p:nvPr>
        </p:nvSpPr>
        <p:spPr/>
        <p:txBody>
          <a:bodyPr/>
          <a:lstStyle/>
          <a:p>
            <a:endParaRPr lang="de-CH"/>
          </a:p>
        </p:txBody>
      </p:sp>
      <p:sp>
        <p:nvSpPr>
          <p:cNvPr id="4" name="Fußzeilenplatzhalter 3">
            <a:extLst>
              <a:ext uri="{FF2B5EF4-FFF2-40B4-BE49-F238E27FC236}">
                <a16:creationId xmlns:a16="http://schemas.microsoft.com/office/drawing/2014/main" id="{F79DC221-8C28-FF2A-4DE3-AEE1987BA070}"/>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5" name="Foliennummernplatzhalter 4">
            <a:extLst>
              <a:ext uri="{FF2B5EF4-FFF2-40B4-BE49-F238E27FC236}">
                <a16:creationId xmlns:a16="http://schemas.microsoft.com/office/drawing/2014/main" id="{B001E647-121B-BFB3-5228-C2D1A4F4CBF3}"/>
              </a:ext>
            </a:extLst>
          </p:cNvPr>
          <p:cNvSpPr>
            <a:spLocks noGrp="1"/>
          </p:cNvSpPr>
          <p:nvPr>
            <p:ph type="sldNum" sz="quarter" idx="12"/>
          </p:nvPr>
        </p:nvSpPr>
        <p:spPr/>
        <p:txBody>
          <a:bodyPr/>
          <a:lstStyle/>
          <a:p>
            <a:fld id="{1F90F471-3972-4120-B8B3-0237DE626C35}" type="slidenum">
              <a:rPr lang="en-US" smtClean="0"/>
              <a:pPr/>
              <a:t>18</a:t>
            </a:fld>
            <a:endParaRPr lang="en-US" dirty="0"/>
          </a:p>
        </p:txBody>
      </p:sp>
      <p:sp>
        <p:nvSpPr>
          <p:cNvPr id="7" name="Inhaltsplatzhalter 6">
            <a:extLst>
              <a:ext uri="{FF2B5EF4-FFF2-40B4-BE49-F238E27FC236}">
                <a16:creationId xmlns:a16="http://schemas.microsoft.com/office/drawing/2014/main" id="{650E04BA-1F3D-7936-8089-246FDF0D7913}"/>
              </a:ext>
            </a:extLst>
          </p:cNvPr>
          <p:cNvSpPr>
            <a:spLocks noGrp="1"/>
          </p:cNvSpPr>
          <p:nvPr>
            <p:ph sz="quarter" idx="15"/>
          </p:nvPr>
        </p:nvSpPr>
        <p:spPr>
          <a:xfrm>
            <a:off x="381000" y="2902537"/>
            <a:ext cx="11430000" cy="714331"/>
          </a:xfrm>
        </p:spPr>
        <p:txBody>
          <a:bodyPr/>
          <a:lstStyle/>
          <a:p>
            <a:r>
              <a:rPr lang="en-US" sz="2000" b="1" i="0" dirty="0">
                <a:solidFill>
                  <a:srgbClr val="000000"/>
                </a:solidFill>
                <a:effectLst/>
                <a:latin typeface="Courier New" panose="02070309020205020404" pitchFamily="49" charset="0"/>
                <a:cs typeface="Courier New" panose="02070309020205020404" pitchFamily="49" charset="0"/>
              </a:rPr>
              <a:t>Allow service </a:t>
            </a:r>
            <a:r>
              <a:rPr lang="en-US" sz="2000" b="1" i="0" dirty="0" err="1">
                <a:solidFill>
                  <a:srgbClr val="000000"/>
                </a:solidFill>
                <a:effectLst/>
                <a:latin typeface="Courier New" panose="02070309020205020404" pitchFamily="49" charset="0"/>
                <a:cs typeface="Courier New" panose="02070309020205020404" pitchFamily="49" charset="0"/>
              </a:rPr>
              <a:t>cloudguard</a:t>
            </a:r>
            <a:r>
              <a:rPr lang="en-US" sz="2000" b="1" i="0" dirty="0">
                <a:solidFill>
                  <a:srgbClr val="000000"/>
                </a:solidFill>
                <a:effectLst/>
                <a:latin typeface="Courier New" panose="02070309020205020404" pitchFamily="49" charset="0"/>
                <a:cs typeface="Courier New" panose="02070309020205020404" pitchFamily="49" charset="0"/>
              </a:rPr>
              <a:t> to manage buckets in compartment </a:t>
            </a:r>
          </a:p>
          <a:p>
            <a:r>
              <a:rPr lang="en-US" sz="2000" b="1" i="0" dirty="0">
                <a:solidFill>
                  <a:srgbClr val="000000"/>
                </a:solidFill>
                <a:effectLst/>
                <a:latin typeface="Courier New" panose="02070309020205020404" pitchFamily="49" charset="0"/>
                <a:cs typeface="Courier New" panose="02070309020205020404" pitchFamily="49" charset="0"/>
              </a:rPr>
              <a:t>comp-</a:t>
            </a:r>
            <a:r>
              <a:rPr lang="en-US" sz="2000" b="1" i="0" dirty="0" err="1">
                <a:solidFill>
                  <a:srgbClr val="000000"/>
                </a:solidFill>
                <a:effectLst/>
                <a:latin typeface="Courier New" panose="02070309020205020404" pitchFamily="49" charset="0"/>
                <a:cs typeface="Courier New" panose="02070309020205020404" pitchFamily="49" charset="0"/>
              </a:rPr>
              <a:t>doag</a:t>
            </a:r>
            <a:r>
              <a:rPr lang="en-US" sz="2000" b="1" i="0" dirty="0">
                <a:solidFill>
                  <a:srgbClr val="000000"/>
                </a:solidFill>
                <a:effectLst/>
                <a:latin typeface="Courier New" panose="02070309020205020404" pitchFamily="49" charset="0"/>
                <a:cs typeface="Courier New" panose="02070309020205020404" pitchFamily="49" charset="0"/>
              </a:rPr>
              <a:t>-high-sec</a:t>
            </a:r>
            <a:endParaRPr lang="de-CH" dirty="0"/>
          </a:p>
        </p:txBody>
      </p:sp>
      <p:pic>
        <p:nvPicPr>
          <p:cNvPr id="9" name="Grafik 8">
            <a:extLst>
              <a:ext uri="{FF2B5EF4-FFF2-40B4-BE49-F238E27FC236}">
                <a16:creationId xmlns:a16="http://schemas.microsoft.com/office/drawing/2014/main" id="{138126EA-2821-63C6-67F8-F70BC24AD15B}"/>
              </a:ext>
            </a:extLst>
          </p:cNvPr>
          <p:cNvPicPr>
            <a:picLocks noChangeAspect="1"/>
          </p:cNvPicPr>
          <p:nvPr/>
        </p:nvPicPr>
        <p:blipFill>
          <a:blip r:embed="rId2"/>
          <a:stretch>
            <a:fillRect/>
          </a:stretch>
        </p:blipFill>
        <p:spPr>
          <a:xfrm>
            <a:off x="427914" y="4334965"/>
            <a:ext cx="11383085" cy="1734348"/>
          </a:xfrm>
          <a:prstGeom prst="rect">
            <a:avLst/>
          </a:prstGeom>
          <a:ln>
            <a:solidFill>
              <a:schemeClr val="bg1">
                <a:lumMod val="50000"/>
              </a:schemeClr>
            </a:solidFill>
          </a:ln>
        </p:spPr>
      </p:pic>
    </p:spTree>
    <p:extLst>
      <p:ext uri="{BB962C8B-B14F-4D97-AF65-F5344CB8AC3E}">
        <p14:creationId xmlns:p14="http://schemas.microsoft.com/office/powerpoint/2010/main" val="1820805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9A674AFE-5512-1542-41A3-194815669B48}"/>
              </a:ext>
            </a:extLst>
          </p:cNvPr>
          <p:cNvSpPr>
            <a:spLocks noGrp="1"/>
          </p:cNvSpPr>
          <p:nvPr>
            <p:ph type="title"/>
          </p:nvPr>
        </p:nvSpPr>
        <p:spPr/>
        <p:txBody>
          <a:bodyPr/>
          <a:lstStyle/>
          <a:p>
            <a:r>
              <a:rPr lang="de-CH" dirty="0" err="1"/>
              <a:t>Conditional</a:t>
            </a:r>
            <a:r>
              <a:rPr lang="de-CH" dirty="0"/>
              <a:t> </a:t>
            </a:r>
            <a:r>
              <a:rPr lang="de-CH" dirty="0" err="1"/>
              <a:t>Execution</a:t>
            </a:r>
            <a:endParaRPr lang="de-CH" dirty="0"/>
          </a:p>
        </p:txBody>
      </p:sp>
      <p:sp>
        <p:nvSpPr>
          <p:cNvPr id="9" name="Inhaltsplatzhalter 8">
            <a:extLst>
              <a:ext uri="{FF2B5EF4-FFF2-40B4-BE49-F238E27FC236}">
                <a16:creationId xmlns:a16="http://schemas.microsoft.com/office/drawing/2014/main" id="{7FB0F095-79D3-F7C6-215C-E7619C91839A}"/>
              </a:ext>
            </a:extLst>
          </p:cNvPr>
          <p:cNvSpPr>
            <a:spLocks noGrp="1"/>
          </p:cNvSpPr>
          <p:nvPr>
            <p:ph sz="quarter" idx="10"/>
          </p:nvPr>
        </p:nvSpPr>
        <p:spPr/>
        <p:txBody>
          <a:bodyPr/>
          <a:lstStyle/>
          <a:p>
            <a:pPr marL="0" indent="0">
              <a:buNone/>
            </a:pPr>
            <a:r>
              <a:rPr lang="en-US" dirty="0"/>
              <a:t>Key points about the </a:t>
            </a:r>
            <a:r>
              <a:rPr lang="en-US" b="1" dirty="0"/>
              <a:t>conditional execution </a:t>
            </a:r>
            <a:r>
              <a:rPr lang="en-US" dirty="0"/>
              <a:t>of a responder recipe:</a:t>
            </a:r>
          </a:p>
          <a:p>
            <a:r>
              <a:rPr lang="en-US" dirty="0"/>
              <a:t>Specify conditions under which a responder rule will be executed.</a:t>
            </a:r>
          </a:p>
          <a:p>
            <a:r>
              <a:rPr lang="en-US" dirty="0"/>
              <a:t>Define conditional groups with parameters like region, resource type, or tags.</a:t>
            </a:r>
          </a:p>
          <a:p>
            <a:r>
              <a:rPr lang="en-US" dirty="0"/>
              <a:t>The rule is enforced only if all conditions in the group are met.</a:t>
            </a:r>
          </a:p>
          <a:p>
            <a:r>
              <a:rPr lang="en-US" dirty="0"/>
              <a:t>Helps create precise, context-aware security responses, reducing unnecessary actions.</a:t>
            </a:r>
            <a:endParaRPr lang="de-CH" dirty="0"/>
          </a:p>
        </p:txBody>
      </p:sp>
      <p:sp>
        <p:nvSpPr>
          <p:cNvPr id="5" name="Fußzeilenplatzhalter 4">
            <a:extLst>
              <a:ext uri="{FF2B5EF4-FFF2-40B4-BE49-F238E27FC236}">
                <a16:creationId xmlns:a16="http://schemas.microsoft.com/office/drawing/2014/main" id="{8223B6E2-6E61-7710-C703-42B5855D2ED5}"/>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6" name="Foliennummernplatzhalter 5">
            <a:extLst>
              <a:ext uri="{FF2B5EF4-FFF2-40B4-BE49-F238E27FC236}">
                <a16:creationId xmlns:a16="http://schemas.microsoft.com/office/drawing/2014/main" id="{3405E9BB-5ABE-F33E-DF95-6B27BB562FB4}"/>
              </a:ext>
            </a:extLst>
          </p:cNvPr>
          <p:cNvSpPr>
            <a:spLocks noGrp="1"/>
          </p:cNvSpPr>
          <p:nvPr>
            <p:ph type="sldNum" sz="quarter" idx="11"/>
          </p:nvPr>
        </p:nvSpPr>
        <p:spPr/>
        <p:txBody>
          <a:bodyPr/>
          <a:lstStyle/>
          <a:p>
            <a:fld id="{1F90F471-3972-4120-B8B3-0237DE626C35}" type="slidenum">
              <a:rPr lang="en-US" smtClean="0"/>
              <a:pPr/>
              <a:t>19</a:t>
            </a:fld>
            <a:endParaRPr lang="en-US" dirty="0"/>
          </a:p>
        </p:txBody>
      </p:sp>
      <p:pic>
        <p:nvPicPr>
          <p:cNvPr id="11" name="Grafik 10">
            <a:extLst>
              <a:ext uri="{FF2B5EF4-FFF2-40B4-BE49-F238E27FC236}">
                <a16:creationId xmlns:a16="http://schemas.microsoft.com/office/drawing/2014/main" id="{0E6B69C8-D752-8192-165A-D0F3C99A3772}"/>
              </a:ext>
            </a:extLst>
          </p:cNvPr>
          <p:cNvPicPr>
            <a:picLocks noChangeAspect="1"/>
          </p:cNvPicPr>
          <p:nvPr/>
        </p:nvPicPr>
        <p:blipFill>
          <a:blip r:embed="rId2"/>
          <a:stretch>
            <a:fillRect/>
          </a:stretch>
        </p:blipFill>
        <p:spPr>
          <a:xfrm>
            <a:off x="380999" y="3670300"/>
            <a:ext cx="8166101" cy="2364782"/>
          </a:xfrm>
          <a:prstGeom prst="rect">
            <a:avLst/>
          </a:prstGeom>
          <a:ln>
            <a:solidFill>
              <a:schemeClr val="bg1">
                <a:lumMod val="50000"/>
              </a:schemeClr>
            </a:solidFill>
          </a:ln>
        </p:spPr>
      </p:pic>
    </p:spTree>
    <p:extLst>
      <p:ext uri="{BB962C8B-B14F-4D97-AF65-F5344CB8AC3E}">
        <p14:creationId xmlns:p14="http://schemas.microsoft.com/office/powerpoint/2010/main" val="13526049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0EB2A3E7-FA19-C093-52DD-22855C4C3CAA}"/>
              </a:ext>
            </a:extLst>
          </p:cNvPr>
          <p:cNvSpPr>
            <a:spLocks noGrp="1"/>
          </p:cNvSpPr>
          <p:nvPr>
            <p:ph type="title"/>
          </p:nvPr>
        </p:nvSpPr>
        <p:spPr/>
        <p:txBody>
          <a:bodyPr/>
          <a:lstStyle/>
          <a:p>
            <a:r>
              <a:rPr lang="en-GB" dirty="0"/>
              <a:t>Martin Berger </a:t>
            </a:r>
            <a:r>
              <a:rPr lang="en-CH" dirty="0"/>
              <a:t>– Modern Data Platforms</a:t>
            </a:r>
          </a:p>
        </p:txBody>
      </p:sp>
      <p:sp>
        <p:nvSpPr>
          <p:cNvPr id="19" name="Content Placeholder 18">
            <a:extLst>
              <a:ext uri="{FF2B5EF4-FFF2-40B4-BE49-F238E27FC236}">
                <a16:creationId xmlns:a16="http://schemas.microsoft.com/office/drawing/2014/main" id="{4452556C-B31F-2462-1421-20345716F8ED}"/>
              </a:ext>
            </a:extLst>
          </p:cNvPr>
          <p:cNvSpPr>
            <a:spLocks noGrp="1"/>
          </p:cNvSpPr>
          <p:nvPr>
            <p:ph sz="half" idx="18"/>
          </p:nvPr>
        </p:nvSpPr>
        <p:spPr>
          <a:xfrm>
            <a:off x="3557306" y="1947672"/>
            <a:ext cx="8253694" cy="4361688"/>
          </a:xfrm>
        </p:spPr>
        <p:txBody>
          <a:bodyPr/>
          <a:lstStyle/>
          <a:p>
            <a:pPr marL="0" indent="0">
              <a:buNone/>
            </a:pPr>
            <a:r>
              <a:rPr lang="en-GB" sz="2400" dirty="0">
                <a:latin typeface="+mj-lt"/>
              </a:rPr>
              <a:t>Tech Architecture Manager</a:t>
            </a:r>
          </a:p>
          <a:p>
            <a:r>
              <a:rPr lang="en-GB" dirty="0"/>
              <a:t>Since 1998 working in IT</a:t>
            </a:r>
          </a:p>
          <a:p>
            <a:r>
              <a:rPr lang="en-GB" dirty="0"/>
              <a:t>More than 22 years of experience in Oracle databases</a:t>
            </a:r>
          </a:p>
          <a:p>
            <a:r>
              <a:rPr lang="en-GB" dirty="0" err="1"/>
              <a:t>Kestenholz</a:t>
            </a:r>
            <a:r>
              <a:rPr lang="en-GB" dirty="0"/>
              <a:t> / </a:t>
            </a:r>
            <a:r>
              <a:rPr lang="en-GB" dirty="0" err="1"/>
              <a:t>Jurasüdfuss</a:t>
            </a:r>
            <a:r>
              <a:rPr lang="en-GB" dirty="0"/>
              <a:t> / Switzerland</a:t>
            </a:r>
          </a:p>
          <a:p>
            <a:r>
              <a:rPr lang="en-GB" dirty="0"/>
              <a:t>2 Junior-DBAs @ Home (8yrs &amp; 10yrs)</a:t>
            </a:r>
          </a:p>
          <a:p>
            <a:r>
              <a:rPr lang="en-GB" dirty="0"/>
              <a:t>Firefighter &amp; E-Biker</a:t>
            </a:r>
          </a:p>
          <a:p>
            <a:r>
              <a:rPr lang="en-GB" dirty="0"/>
              <a:t>Loves his companies' cultural values:	</a:t>
            </a:r>
          </a:p>
          <a:p>
            <a:r>
              <a:rPr lang="en-GB" dirty="0"/>
              <a:t>curiosity, doers, network, space, and together</a:t>
            </a:r>
          </a:p>
          <a:p>
            <a:r>
              <a:rPr lang="en-GB" dirty="0"/>
              <a:t>Focus: Let’s go into the Cloud!</a:t>
            </a:r>
          </a:p>
          <a:p>
            <a:r>
              <a:rPr lang="en-GB" dirty="0"/>
              <a:t>Co-author of the book The Oracle DBA (</a:t>
            </a:r>
            <a:r>
              <a:rPr lang="en-GB" dirty="0" err="1"/>
              <a:t>Hanser</a:t>
            </a:r>
            <a:r>
              <a:rPr lang="en-GB" dirty="0"/>
              <a:t>, 2016/07)</a:t>
            </a:r>
          </a:p>
          <a:p>
            <a:endParaRPr lang="en-GB" dirty="0"/>
          </a:p>
          <a:p>
            <a:endParaRPr lang="en-CH" dirty="0"/>
          </a:p>
        </p:txBody>
      </p:sp>
      <p:sp>
        <p:nvSpPr>
          <p:cNvPr id="18" name="Text Placeholder 17">
            <a:extLst>
              <a:ext uri="{FF2B5EF4-FFF2-40B4-BE49-F238E27FC236}">
                <a16:creationId xmlns:a16="http://schemas.microsoft.com/office/drawing/2014/main" id="{001F38FA-914A-C263-D471-9E1571B92756}"/>
              </a:ext>
            </a:extLst>
          </p:cNvPr>
          <p:cNvSpPr>
            <a:spLocks noGrp="1"/>
          </p:cNvSpPr>
          <p:nvPr>
            <p:ph type="body" sz="quarter" idx="11"/>
          </p:nvPr>
        </p:nvSpPr>
        <p:spPr/>
        <p:txBody>
          <a:bodyPr/>
          <a:lstStyle/>
          <a:p>
            <a:r>
              <a:rPr lang="en-CH" dirty="0"/>
              <a:t>stefan.oehrli@accenture.com</a:t>
            </a:r>
          </a:p>
        </p:txBody>
      </p:sp>
      <p:pic>
        <p:nvPicPr>
          <p:cNvPr id="20" name="Picture Placeholder 4">
            <a:extLst>
              <a:ext uri="{FF2B5EF4-FFF2-40B4-BE49-F238E27FC236}">
                <a16:creationId xmlns:a16="http://schemas.microsoft.com/office/drawing/2014/main" id="{F9A27A75-13C8-8DF7-897B-0C1C1AE44858}"/>
              </a:ext>
            </a:extLst>
          </p:cNvPr>
          <p:cNvPicPr>
            <a:picLocks noGrp="1" noChangeAspect="1"/>
          </p:cNvPicPr>
          <p:nvPr>
            <p:ph sz="half" idx="2"/>
          </p:nvPr>
        </p:nvPicPr>
        <p:blipFill rotWithShape="1">
          <a:blip r:embed="rId2"/>
          <a:srcRect l="849" r="849"/>
          <a:stretch/>
        </p:blipFill>
        <p:spPr>
          <a:xfrm>
            <a:off x="593464" y="1809223"/>
            <a:ext cx="2877668" cy="2978527"/>
          </a:xfrm>
          <a:prstGeom prst="ellipse">
            <a:avLst/>
          </a:prstGeom>
          <a:ln w="3175" cap="rnd">
            <a:solidFill>
              <a:schemeClr val="accent6"/>
            </a:solidFill>
          </a:ln>
          <a:effectLst>
            <a:outerShdw blurRad="381000" dist="152400" dir="5400000" sx="-80000" sy="-18000" rotWithShape="0">
              <a:srgbClr val="000000">
                <a:alpha val="20000"/>
              </a:srgbClr>
            </a:outerShdw>
          </a:effectLst>
          <a:scene3d>
            <a:camera prst="orthographicFront"/>
            <a:lightRig rig="contrasting" dir="t">
              <a:rot lat="0" lon="0" rev="3000000"/>
            </a:lightRig>
          </a:scene3d>
          <a:sp3d contourW="7620">
            <a:bevelT w="95250" h="31750"/>
            <a:contourClr>
              <a:srgbClr val="333333"/>
            </a:contourClr>
          </a:sp3d>
        </p:spPr>
      </p:pic>
      <p:sp>
        <p:nvSpPr>
          <p:cNvPr id="29" name="Content Placeholder 11">
            <a:extLst>
              <a:ext uri="{FF2B5EF4-FFF2-40B4-BE49-F238E27FC236}">
                <a16:creationId xmlns:a16="http://schemas.microsoft.com/office/drawing/2014/main" id="{91D68ABB-A757-F8E3-D746-A57545B76C6D}"/>
              </a:ext>
            </a:extLst>
          </p:cNvPr>
          <p:cNvSpPr txBox="1">
            <a:spLocks/>
          </p:cNvSpPr>
          <p:nvPr/>
        </p:nvSpPr>
        <p:spPr>
          <a:xfrm>
            <a:off x="3891752" y="5868705"/>
            <a:ext cx="2485307" cy="414339"/>
          </a:xfrm>
          <a:prstGeom prst="rect">
            <a:avLst/>
          </a:prstGeom>
        </p:spPr>
        <p:txBody>
          <a:bodyPr vert="horz" lIns="121920" tIns="60960" rIns="121920" bIns="60960" rtlCol="0">
            <a:normAutofit/>
          </a:bodyPr>
          <a:lstStyle>
            <a:lvl1pPr marL="257175" indent="-171450" algn="l" defTabSz="685800" rtl="0" eaLnBrk="1" latinLnBrk="0" hangingPunct="1">
              <a:lnSpc>
                <a:spcPct val="90000"/>
              </a:lnSpc>
              <a:spcBef>
                <a:spcPts val="300"/>
              </a:spcBef>
              <a:spcAft>
                <a:spcPts val="300"/>
              </a:spcAft>
              <a:buClr>
                <a:srgbClr val="9600FF"/>
              </a:buClr>
              <a:buFont typeface="Wingdings" pitchFamily="2" charset="2"/>
              <a:buChar char="§"/>
              <a:defRPr lang="en-US" sz="1350" b="0" kern="1200" baseline="0" dirty="0" smtClean="0">
                <a:solidFill>
                  <a:srgbClr val="1E2846"/>
                </a:solidFill>
                <a:latin typeface="Open Sans Light" panose="020B0306030504020204" pitchFamily="34" charset="0"/>
                <a:ea typeface="Open Sans Light" panose="020B0306030504020204" pitchFamily="34" charset="0"/>
                <a:cs typeface="Open Sans Light" panose="020B0306030504020204" pitchFamily="34" charset="0"/>
              </a:defRPr>
            </a:lvl1pPr>
            <a:lvl2pPr marL="557213" indent="-171450" algn="l" defTabSz="685800" rtl="0" eaLnBrk="1" latinLnBrk="0" hangingPunct="1">
              <a:lnSpc>
                <a:spcPct val="90000"/>
              </a:lnSpc>
              <a:spcBef>
                <a:spcPts val="300"/>
              </a:spcBef>
              <a:spcAft>
                <a:spcPts val="300"/>
              </a:spcAft>
              <a:buClr>
                <a:srgbClr val="9600FF"/>
              </a:buClr>
              <a:buFont typeface="Courier New" panose="02070309020205020404" pitchFamily="49" charset="0"/>
              <a:buChar char="o"/>
              <a:defRPr lang="en-US" sz="1350" b="0" kern="1200" baseline="0" dirty="0" smtClean="0">
                <a:solidFill>
                  <a:srgbClr val="1E2846"/>
                </a:solidFill>
                <a:latin typeface="Open Sans Light" panose="020B0306030504020204" pitchFamily="34" charset="0"/>
                <a:ea typeface="Open Sans Light" panose="020B0306030504020204" pitchFamily="34" charset="0"/>
                <a:cs typeface="Open Sans Light" panose="020B0306030504020204" pitchFamily="34" charset="0"/>
              </a:defRPr>
            </a:lvl2pPr>
            <a:lvl3pPr marL="857250" indent="-171450" algn="l" defTabSz="685800" rtl="0" eaLnBrk="1" latinLnBrk="0" hangingPunct="1">
              <a:lnSpc>
                <a:spcPct val="90000"/>
              </a:lnSpc>
              <a:spcBef>
                <a:spcPts val="300"/>
              </a:spcBef>
              <a:spcAft>
                <a:spcPts val="300"/>
              </a:spcAft>
              <a:buClr>
                <a:srgbClr val="9600FF"/>
              </a:buClr>
              <a:buFont typeface="Courier New" panose="02070309020205020404" pitchFamily="49" charset="0"/>
              <a:buChar char="o"/>
              <a:defRPr lang="en-US" sz="1350" b="0" kern="1200" baseline="0" dirty="0" smtClean="0">
                <a:solidFill>
                  <a:srgbClr val="1E2846"/>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200150" indent="-171450" algn="l" defTabSz="685800" rtl="0" eaLnBrk="1" latinLnBrk="0" hangingPunct="1">
              <a:lnSpc>
                <a:spcPct val="90000"/>
              </a:lnSpc>
              <a:spcBef>
                <a:spcPts val="300"/>
              </a:spcBef>
              <a:spcAft>
                <a:spcPts val="300"/>
              </a:spcAft>
              <a:buClr>
                <a:srgbClr val="9600FF"/>
              </a:buClr>
              <a:buFont typeface="Courier New" panose="02070309020205020404" pitchFamily="49" charset="0"/>
              <a:buChar char="o"/>
              <a:defRPr lang="en-US" sz="1350" b="0" kern="1200" baseline="0" dirty="0" smtClean="0">
                <a:solidFill>
                  <a:srgbClr val="1E2846"/>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543050" indent="-171450" algn="l" defTabSz="685800" rtl="0" eaLnBrk="1" latinLnBrk="0" hangingPunct="1">
              <a:lnSpc>
                <a:spcPct val="90000"/>
              </a:lnSpc>
              <a:spcBef>
                <a:spcPts val="300"/>
              </a:spcBef>
              <a:spcAft>
                <a:spcPts val="300"/>
              </a:spcAft>
              <a:buClr>
                <a:srgbClr val="9600FF"/>
              </a:buClr>
              <a:buFont typeface="Courier New" panose="02070309020205020404" pitchFamily="49" charset="0"/>
              <a:buChar char="o"/>
              <a:defRPr lang="en-US" sz="1350" b="0" kern="1200" baseline="0" dirty="0">
                <a:solidFill>
                  <a:srgbClr val="1E2846"/>
                </a:solidFill>
                <a:latin typeface="Open Sans Light" panose="020B0306030504020204" pitchFamily="34" charset="0"/>
                <a:ea typeface="Open Sans Light" panose="020B0306030504020204" pitchFamily="34" charset="0"/>
                <a:cs typeface="Open Sans Light" panose="020B0306030504020204" pitchFamily="34"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114297" indent="0">
              <a:buNone/>
            </a:pPr>
            <a:r>
              <a:rPr lang="de-CH" sz="1800" dirty="0" err="1">
                <a:latin typeface="+mn-lt"/>
              </a:rPr>
              <a:t>martinberger.com</a:t>
            </a:r>
            <a:endParaRPr lang="de-CH" sz="1800" dirty="0">
              <a:latin typeface="+mn-lt"/>
            </a:endParaRPr>
          </a:p>
        </p:txBody>
      </p:sp>
      <p:pic>
        <p:nvPicPr>
          <p:cNvPr id="31" name="Picture 30">
            <a:extLst>
              <a:ext uri="{FF2B5EF4-FFF2-40B4-BE49-F238E27FC236}">
                <a16:creationId xmlns:a16="http://schemas.microsoft.com/office/drawing/2014/main" id="{8462032C-0012-F97A-AD08-FF7EC647B76B}"/>
              </a:ext>
            </a:extLst>
          </p:cNvPr>
          <p:cNvPicPr>
            <a:picLocks noChangeAspect="1"/>
          </p:cNvPicPr>
          <p:nvPr/>
        </p:nvPicPr>
        <p:blipFill>
          <a:blip r:embed="rId3"/>
          <a:stretch>
            <a:fillRect/>
          </a:stretch>
        </p:blipFill>
        <p:spPr>
          <a:xfrm>
            <a:off x="3557306" y="5801394"/>
            <a:ext cx="548961" cy="548961"/>
          </a:xfrm>
          <a:prstGeom prst="rect">
            <a:avLst/>
          </a:prstGeom>
        </p:spPr>
      </p:pic>
      <p:pic>
        <p:nvPicPr>
          <p:cNvPr id="30" name="Picture 29" descr="Logo, icon&#10;&#10;Description automatically generated">
            <a:extLst>
              <a:ext uri="{FF2B5EF4-FFF2-40B4-BE49-F238E27FC236}">
                <a16:creationId xmlns:a16="http://schemas.microsoft.com/office/drawing/2014/main" id="{E6972F15-626C-0E12-876A-BDFDB11C854F}"/>
              </a:ext>
            </a:extLst>
          </p:cNvPr>
          <p:cNvPicPr>
            <a:picLocks noChangeAspect="1"/>
          </p:cNvPicPr>
          <p:nvPr/>
        </p:nvPicPr>
        <p:blipFill>
          <a:blip r:embed="rId4"/>
          <a:stretch>
            <a:fillRect/>
          </a:stretch>
        </p:blipFill>
        <p:spPr>
          <a:xfrm>
            <a:off x="6377059" y="5842389"/>
            <a:ext cx="453899" cy="453899"/>
          </a:xfrm>
          <a:prstGeom prst="rect">
            <a:avLst/>
          </a:prstGeom>
        </p:spPr>
      </p:pic>
      <p:sp>
        <p:nvSpPr>
          <p:cNvPr id="32" name="Content Placeholder 11">
            <a:extLst>
              <a:ext uri="{FF2B5EF4-FFF2-40B4-BE49-F238E27FC236}">
                <a16:creationId xmlns:a16="http://schemas.microsoft.com/office/drawing/2014/main" id="{C417181F-654B-F662-0DBB-9089B783A18D}"/>
              </a:ext>
            </a:extLst>
          </p:cNvPr>
          <p:cNvSpPr txBox="1">
            <a:spLocks/>
          </p:cNvSpPr>
          <p:nvPr/>
        </p:nvSpPr>
        <p:spPr>
          <a:xfrm>
            <a:off x="6663974" y="5868705"/>
            <a:ext cx="2485307" cy="414339"/>
          </a:xfrm>
          <a:prstGeom prst="rect">
            <a:avLst/>
          </a:prstGeom>
        </p:spPr>
        <p:txBody>
          <a:bodyPr vert="horz" lIns="121920" tIns="60960" rIns="121920" bIns="60960" rtlCol="0">
            <a:normAutofit/>
          </a:bodyPr>
          <a:lstStyle>
            <a:lvl1pPr marL="257175" indent="-171450" algn="l" defTabSz="685800" rtl="0" eaLnBrk="1" latinLnBrk="0" hangingPunct="1">
              <a:lnSpc>
                <a:spcPct val="90000"/>
              </a:lnSpc>
              <a:spcBef>
                <a:spcPts val="300"/>
              </a:spcBef>
              <a:spcAft>
                <a:spcPts val="300"/>
              </a:spcAft>
              <a:buClr>
                <a:srgbClr val="9600FF"/>
              </a:buClr>
              <a:buFont typeface="Wingdings" pitchFamily="2" charset="2"/>
              <a:buChar char="§"/>
              <a:defRPr lang="en-US" sz="1350" b="0" kern="1200" baseline="0" dirty="0" smtClean="0">
                <a:solidFill>
                  <a:srgbClr val="1E2846"/>
                </a:solidFill>
                <a:latin typeface="Open Sans Light" panose="020B0306030504020204" pitchFamily="34" charset="0"/>
                <a:ea typeface="Open Sans Light" panose="020B0306030504020204" pitchFamily="34" charset="0"/>
                <a:cs typeface="Open Sans Light" panose="020B0306030504020204" pitchFamily="34" charset="0"/>
              </a:defRPr>
            </a:lvl1pPr>
            <a:lvl2pPr marL="557213" indent="-171450" algn="l" defTabSz="685800" rtl="0" eaLnBrk="1" latinLnBrk="0" hangingPunct="1">
              <a:lnSpc>
                <a:spcPct val="90000"/>
              </a:lnSpc>
              <a:spcBef>
                <a:spcPts val="300"/>
              </a:spcBef>
              <a:spcAft>
                <a:spcPts val="300"/>
              </a:spcAft>
              <a:buClr>
                <a:srgbClr val="9600FF"/>
              </a:buClr>
              <a:buFont typeface="Courier New" panose="02070309020205020404" pitchFamily="49" charset="0"/>
              <a:buChar char="o"/>
              <a:defRPr lang="en-US" sz="1350" b="0" kern="1200" baseline="0" dirty="0" smtClean="0">
                <a:solidFill>
                  <a:srgbClr val="1E2846"/>
                </a:solidFill>
                <a:latin typeface="Open Sans Light" panose="020B0306030504020204" pitchFamily="34" charset="0"/>
                <a:ea typeface="Open Sans Light" panose="020B0306030504020204" pitchFamily="34" charset="0"/>
                <a:cs typeface="Open Sans Light" panose="020B0306030504020204" pitchFamily="34" charset="0"/>
              </a:defRPr>
            </a:lvl2pPr>
            <a:lvl3pPr marL="857250" indent="-171450" algn="l" defTabSz="685800" rtl="0" eaLnBrk="1" latinLnBrk="0" hangingPunct="1">
              <a:lnSpc>
                <a:spcPct val="90000"/>
              </a:lnSpc>
              <a:spcBef>
                <a:spcPts val="300"/>
              </a:spcBef>
              <a:spcAft>
                <a:spcPts val="300"/>
              </a:spcAft>
              <a:buClr>
                <a:srgbClr val="9600FF"/>
              </a:buClr>
              <a:buFont typeface="Courier New" panose="02070309020205020404" pitchFamily="49" charset="0"/>
              <a:buChar char="o"/>
              <a:defRPr lang="en-US" sz="1350" b="0" kern="1200" baseline="0" dirty="0" smtClean="0">
                <a:solidFill>
                  <a:srgbClr val="1E2846"/>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200150" indent="-171450" algn="l" defTabSz="685800" rtl="0" eaLnBrk="1" latinLnBrk="0" hangingPunct="1">
              <a:lnSpc>
                <a:spcPct val="90000"/>
              </a:lnSpc>
              <a:spcBef>
                <a:spcPts val="300"/>
              </a:spcBef>
              <a:spcAft>
                <a:spcPts val="300"/>
              </a:spcAft>
              <a:buClr>
                <a:srgbClr val="9600FF"/>
              </a:buClr>
              <a:buFont typeface="Courier New" panose="02070309020205020404" pitchFamily="49" charset="0"/>
              <a:buChar char="o"/>
              <a:defRPr lang="en-US" sz="1350" b="0" kern="1200" baseline="0" dirty="0" smtClean="0">
                <a:solidFill>
                  <a:srgbClr val="1E2846"/>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543050" indent="-171450" algn="l" defTabSz="685800" rtl="0" eaLnBrk="1" latinLnBrk="0" hangingPunct="1">
              <a:lnSpc>
                <a:spcPct val="90000"/>
              </a:lnSpc>
              <a:spcBef>
                <a:spcPts val="300"/>
              </a:spcBef>
              <a:spcAft>
                <a:spcPts val="300"/>
              </a:spcAft>
              <a:buClr>
                <a:srgbClr val="9600FF"/>
              </a:buClr>
              <a:buFont typeface="Courier New" panose="02070309020205020404" pitchFamily="49" charset="0"/>
              <a:buChar char="o"/>
              <a:defRPr lang="en-US" sz="1350" b="0" kern="1200" baseline="0" dirty="0">
                <a:solidFill>
                  <a:srgbClr val="1E2846"/>
                </a:solidFill>
                <a:latin typeface="Open Sans Light" panose="020B0306030504020204" pitchFamily="34" charset="0"/>
                <a:ea typeface="Open Sans Light" panose="020B0306030504020204" pitchFamily="34" charset="0"/>
                <a:cs typeface="Open Sans Light" panose="020B0306030504020204" pitchFamily="34"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85725" indent="0">
              <a:buNone/>
            </a:pPr>
            <a:r>
              <a:rPr lang="de-CH" sz="1800" dirty="0">
                <a:latin typeface="+mn-lt"/>
              </a:rPr>
              <a:t>@</a:t>
            </a:r>
            <a:r>
              <a:rPr lang="de-CH" sz="1800" dirty="0" err="1">
                <a:latin typeface="+mn-lt"/>
              </a:rPr>
              <a:t>martinberger_ch</a:t>
            </a:r>
            <a:endParaRPr lang="de-CH" sz="1800" dirty="0">
              <a:latin typeface="+mn-lt"/>
            </a:endParaRPr>
          </a:p>
        </p:txBody>
      </p:sp>
      <p:pic>
        <p:nvPicPr>
          <p:cNvPr id="34" name="Picture 2" descr="Image result for dba handbuch">
            <a:extLst>
              <a:ext uri="{FF2B5EF4-FFF2-40B4-BE49-F238E27FC236}">
                <a16:creationId xmlns:a16="http://schemas.microsoft.com/office/drawing/2014/main" id="{C3B20B5A-1BFC-13EB-9061-96EF4F5F518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753823" y="3292896"/>
            <a:ext cx="1057177" cy="148988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pSp>
        <p:nvGrpSpPr>
          <p:cNvPr id="37" name="Group 36">
            <a:extLst>
              <a:ext uri="{FF2B5EF4-FFF2-40B4-BE49-F238E27FC236}">
                <a16:creationId xmlns:a16="http://schemas.microsoft.com/office/drawing/2014/main" id="{98171000-07B5-D604-3B1D-D17E2FF369C0}"/>
              </a:ext>
            </a:extLst>
          </p:cNvPr>
          <p:cNvGrpSpPr/>
          <p:nvPr/>
        </p:nvGrpSpPr>
        <p:grpSpPr>
          <a:xfrm>
            <a:off x="9427131" y="242710"/>
            <a:ext cx="2450120" cy="995559"/>
            <a:chOff x="3064333" y="2754885"/>
            <a:chExt cx="5703054" cy="2032013"/>
          </a:xfrm>
        </p:grpSpPr>
        <p:grpSp>
          <p:nvGrpSpPr>
            <p:cNvPr id="16" name="Group 15">
              <a:extLst>
                <a:ext uri="{FF2B5EF4-FFF2-40B4-BE49-F238E27FC236}">
                  <a16:creationId xmlns:a16="http://schemas.microsoft.com/office/drawing/2014/main" id="{41CFAB29-83AB-BB4E-3827-1DD384EC7236}"/>
                </a:ext>
              </a:extLst>
            </p:cNvPr>
            <p:cNvGrpSpPr/>
            <p:nvPr/>
          </p:nvGrpSpPr>
          <p:grpSpPr>
            <a:xfrm>
              <a:off x="5512941" y="2754885"/>
              <a:ext cx="3254446" cy="1989398"/>
              <a:chOff x="5295227" y="803258"/>
              <a:chExt cx="3254446" cy="1989398"/>
            </a:xfrm>
          </p:grpSpPr>
          <p:sp>
            <p:nvSpPr>
              <p:cNvPr id="21" name="TextBox 20">
                <a:extLst>
                  <a:ext uri="{FF2B5EF4-FFF2-40B4-BE49-F238E27FC236}">
                    <a16:creationId xmlns:a16="http://schemas.microsoft.com/office/drawing/2014/main" id="{F6FAE0B8-1014-2959-9803-3BE200AAD638}"/>
                  </a:ext>
                </a:extLst>
              </p:cNvPr>
              <p:cNvSpPr txBox="1"/>
              <p:nvPr/>
            </p:nvSpPr>
            <p:spPr>
              <a:xfrm>
                <a:off x="5295227" y="803258"/>
                <a:ext cx="2418961" cy="628197"/>
              </a:xfrm>
              <a:prstGeom prst="rect">
                <a:avLst/>
              </a:prstGeom>
              <a:noFill/>
            </p:spPr>
            <p:txBody>
              <a:bodyPr wrap="square" lIns="0" tIns="0" rIns="0" bIns="0">
                <a:spAutoFit/>
              </a:bodyPr>
              <a:lstStyle/>
              <a:p>
                <a:r>
                  <a:rPr lang="en-CH" sz="2000" b="1" dirty="0"/>
                  <a:t>Modern</a:t>
                </a:r>
              </a:p>
            </p:txBody>
          </p:sp>
          <p:sp>
            <p:nvSpPr>
              <p:cNvPr id="22" name="TextBox 21">
                <a:extLst>
                  <a:ext uri="{FF2B5EF4-FFF2-40B4-BE49-F238E27FC236}">
                    <a16:creationId xmlns:a16="http://schemas.microsoft.com/office/drawing/2014/main" id="{3B04D1A6-A8A8-B21F-DCBA-A874C0092007}"/>
                  </a:ext>
                </a:extLst>
              </p:cNvPr>
              <p:cNvSpPr txBox="1"/>
              <p:nvPr/>
            </p:nvSpPr>
            <p:spPr>
              <a:xfrm>
                <a:off x="5295227" y="1450284"/>
                <a:ext cx="2660857" cy="628197"/>
              </a:xfrm>
              <a:prstGeom prst="rect">
                <a:avLst/>
              </a:prstGeom>
              <a:noFill/>
            </p:spPr>
            <p:txBody>
              <a:bodyPr wrap="square" lIns="0" tIns="0" rIns="0" bIns="0">
                <a:spAutoFit/>
              </a:bodyPr>
              <a:lstStyle/>
              <a:p>
                <a:r>
                  <a:rPr lang="en-CH" sz="2000" b="1" dirty="0"/>
                  <a:t>Data</a:t>
                </a:r>
              </a:p>
            </p:txBody>
          </p:sp>
          <p:sp>
            <p:nvSpPr>
              <p:cNvPr id="23" name="TextBox 22">
                <a:extLst>
                  <a:ext uri="{FF2B5EF4-FFF2-40B4-BE49-F238E27FC236}">
                    <a16:creationId xmlns:a16="http://schemas.microsoft.com/office/drawing/2014/main" id="{794FCA43-8DCB-8D5D-A840-A0C372A37E87}"/>
                  </a:ext>
                </a:extLst>
              </p:cNvPr>
              <p:cNvSpPr txBox="1"/>
              <p:nvPr/>
            </p:nvSpPr>
            <p:spPr>
              <a:xfrm>
                <a:off x="5295227" y="2164459"/>
                <a:ext cx="3254446" cy="628197"/>
              </a:xfrm>
              <a:prstGeom prst="rect">
                <a:avLst/>
              </a:prstGeom>
              <a:noFill/>
            </p:spPr>
            <p:txBody>
              <a:bodyPr wrap="square" lIns="0" tIns="0" rIns="0" bIns="0">
                <a:spAutoFit/>
              </a:bodyPr>
              <a:lstStyle/>
              <a:p>
                <a:r>
                  <a:rPr lang="en-CH" sz="2000" b="1" dirty="0"/>
                  <a:t>Platforms</a:t>
                </a:r>
              </a:p>
            </p:txBody>
          </p:sp>
        </p:grpSp>
        <p:grpSp>
          <p:nvGrpSpPr>
            <p:cNvPr id="24" name="Group 23">
              <a:extLst>
                <a:ext uri="{FF2B5EF4-FFF2-40B4-BE49-F238E27FC236}">
                  <a16:creationId xmlns:a16="http://schemas.microsoft.com/office/drawing/2014/main" id="{9ADF6806-5DBE-6864-62D3-A832282A8622}"/>
                </a:ext>
              </a:extLst>
            </p:cNvPr>
            <p:cNvGrpSpPr/>
            <p:nvPr/>
          </p:nvGrpSpPr>
          <p:grpSpPr>
            <a:xfrm>
              <a:off x="3064333" y="2896605"/>
              <a:ext cx="2367540" cy="1890293"/>
              <a:chOff x="861065" y="2586057"/>
              <a:chExt cx="2367540" cy="1890293"/>
            </a:xfrm>
            <a:solidFill>
              <a:schemeClr val="tx1"/>
            </a:solidFill>
          </p:grpSpPr>
          <p:sp>
            <p:nvSpPr>
              <p:cNvPr id="25" name="Freeform 147">
                <a:extLst>
                  <a:ext uri="{FF2B5EF4-FFF2-40B4-BE49-F238E27FC236}">
                    <a16:creationId xmlns:a16="http://schemas.microsoft.com/office/drawing/2014/main" id="{9E09B3D6-68D3-4625-3879-638801586451}"/>
                  </a:ext>
                </a:extLst>
              </p:cNvPr>
              <p:cNvSpPr>
                <a:spLocks noChangeAspect="1" noEditPoints="1"/>
              </p:cNvSpPr>
              <p:nvPr/>
            </p:nvSpPr>
            <p:spPr bwMode="auto">
              <a:xfrm>
                <a:off x="1760613" y="3554112"/>
                <a:ext cx="1467992" cy="922238"/>
              </a:xfrm>
              <a:custGeom>
                <a:avLst/>
                <a:gdLst>
                  <a:gd name="T0" fmla="*/ 54 w 288"/>
                  <a:gd name="T1" fmla="*/ 180 h 180"/>
                  <a:gd name="T2" fmla="*/ 14 w 288"/>
                  <a:gd name="T3" fmla="*/ 164 h 180"/>
                  <a:gd name="T4" fmla="*/ 0 w 288"/>
                  <a:gd name="T5" fmla="*/ 129 h 180"/>
                  <a:gd name="T6" fmla="*/ 19 w 288"/>
                  <a:gd name="T7" fmla="*/ 89 h 180"/>
                  <a:gd name="T8" fmla="*/ 55 w 288"/>
                  <a:gd name="T9" fmla="*/ 78 h 180"/>
                  <a:gd name="T10" fmla="*/ 144 w 288"/>
                  <a:gd name="T11" fmla="*/ 0 h 180"/>
                  <a:gd name="T12" fmla="*/ 224 w 288"/>
                  <a:gd name="T13" fmla="*/ 48 h 180"/>
                  <a:gd name="T14" fmla="*/ 268 w 288"/>
                  <a:gd name="T15" fmla="*/ 66 h 180"/>
                  <a:gd name="T16" fmla="*/ 288 w 288"/>
                  <a:gd name="T17" fmla="*/ 114 h 180"/>
                  <a:gd name="T18" fmla="*/ 229 w 288"/>
                  <a:gd name="T19" fmla="*/ 180 h 180"/>
                  <a:gd name="T20" fmla="*/ 228 w 288"/>
                  <a:gd name="T21" fmla="*/ 180 h 180"/>
                  <a:gd name="T22" fmla="*/ 54 w 288"/>
                  <a:gd name="T23" fmla="*/ 180 h 180"/>
                  <a:gd name="T24" fmla="*/ 54 w 288"/>
                  <a:gd name="T25" fmla="*/ 180 h 180"/>
                  <a:gd name="T26" fmla="*/ 51 w 288"/>
                  <a:gd name="T27" fmla="*/ 90 h 180"/>
                  <a:gd name="T28" fmla="*/ 27 w 288"/>
                  <a:gd name="T29" fmla="*/ 99 h 180"/>
                  <a:gd name="T30" fmla="*/ 12 w 288"/>
                  <a:gd name="T31" fmla="*/ 129 h 180"/>
                  <a:gd name="T32" fmla="*/ 22 w 288"/>
                  <a:gd name="T33" fmla="*/ 156 h 180"/>
                  <a:gd name="T34" fmla="*/ 54 w 288"/>
                  <a:gd name="T35" fmla="*/ 168 h 180"/>
                  <a:gd name="T36" fmla="*/ 54 w 288"/>
                  <a:gd name="T37" fmla="*/ 168 h 180"/>
                  <a:gd name="T38" fmla="*/ 228 w 288"/>
                  <a:gd name="T39" fmla="*/ 168 h 180"/>
                  <a:gd name="T40" fmla="*/ 276 w 288"/>
                  <a:gd name="T41" fmla="*/ 114 h 180"/>
                  <a:gd name="T42" fmla="*/ 260 w 288"/>
                  <a:gd name="T43" fmla="*/ 75 h 180"/>
                  <a:gd name="T44" fmla="*/ 220 w 288"/>
                  <a:gd name="T45" fmla="*/ 60 h 180"/>
                  <a:gd name="T46" fmla="*/ 215 w 288"/>
                  <a:gd name="T47" fmla="*/ 57 h 180"/>
                  <a:gd name="T48" fmla="*/ 144 w 288"/>
                  <a:gd name="T49" fmla="*/ 12 h 180"/>
                  <a:gd name="T50" fmla="*/ 66 w 288"/>
                  <a:gd name="T51" fmla="*/ 85 h 180"/>
                  <a:gd name="T52" fmla="*/ 64 w 288"/>
                  <a:gd name="T53" fmla="*/ 90 h 180"/>
                  <a:gd name="T54" fmla="*/ 59 w 288"/>
                  <a:gd name="T55" fmla="*/ 91 h 180"/>
                  <a:gd name="T56" fmla="*/ 51 w 288"/>
                  <a:gd name="T57" fmla="*/ 9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8" h="180">
                    <a:moveTo>
                      <a:pt x="54" y="180"/>
                    </a:moveTo>
                    <a:cubicBezTo>
                      <a:pt x="51" y="180"/>
                      <a:pt x="29" y="179"/>
                      <a:pt x="14" y="164"/>
                    </a:cubicBezTo>
                    <a:cubicBezTo>
                      <a:pt x="5" y="156"/>
                      <a:pt x="0" y="144"/>
                      <a:pt x="0" y="129"/>
                    </a:cubicBezTo>
                    <a:cubicBezTo>
                      <a:pt x="0" y="113"/>
                      <a:pt x="7" y="99"/>
                      <a:pt x="19" y="89"/>
                    </a:cubicBezTo>
                    <a:cubicBezTo>
                      <a:pt x="29" y="81"/>
                      <a:pt x="42" y="77"/>
                      <a:pt x="55" y="78"/>
                    </a:cubicBezTo>
                    <a:cubicBezTo>
                      <a:pt x="61" y="34"/>
                      <a:pt x="99" y="0"/>
                      <a:pt x="144" y="0"/>
                    </a:cubicBezTo>
                    <a:cubicBezTo>
                      <a:pt x="177" y="0"/>
                      <a:pt x="208" y="19"/>
                      <a:pt x="224" y="48"/>
                    </a:cubicBezTo>
                    <a:cubicBezTo>
                      <a:pt x="240" y="48"/>
                      <a:pt x="256" y="55"/>
                      <a:pt x="268" y="66"/>
                    </a:cubicBezTo>
                    <a:cubicBezTo>
                      <a:pt x="281" y="79"/>
                      <a:pt x="288" y="96"/>
                      <a:pt x="288" y="114"/>
                    </a:cubicBezTo>
                    <a:cubicBezTo>
                      <a:pt x="288" y="171"/>
                      <a:pt x="230" y="180"/>
                      <a:pt x="229" y="180"/>
                    </a:cubicBezTo>
                    <a:cubicBezTo>
                      <a:pt x="229" y="180"/>
                      <a:pt x="228" y="180"/>
                      <a:pt x="228" y="180"/>
                    </a:cubicBezTo>
                    <a:cubicBezTo>
                      <a:pt x="54" y="180"/>
                      <a:pt x="54" y="180"/>
                      <a:pt x="54" y="180"/>
                    </a:cubicBezTo>
                    <a:cubicBezTo>
                      <a:pt x="54" y="180"/>
                      <a:pt x="54" y="180"/>
                      <a:pt x="54" y="180"/>
                    </a:cubicBezTo>
                    <a:close/>
                    <a:moveTo>
                      <a:pt x="51" y="90"/>
                    </a:moveTo>
                    <a:cubicBezTo>
                      <a:pt x="42" y="90"/>
                      <a:pt x="34" y="93"/>
                      <a:pt x="27" y="99"/>
                    </a:cubicBezTo>
                    <a:cubicBezTo>
                      <a:pt x="17" y="106"/>
                      <a:pt x="12" y="117"/>
                      <a:pt x="12" y="129"/>
                    </a:cubicBezTo>
                    <a:cubicBezTo>
                      <a:pt x="12" y="140"/>
                      <a:pt x="16" y="149"/>
                      <a:pt x="22" y="156"/>
                    </a:cubicBezTo>
                    <a:cubicBezTo>
                      <a:pt x="34" y="168"/>
                      <a:pt x="53" y="168"/>
                      <a:pt x="54" y="168"/>
                    </a:cubicBezTo>
                    <a:cubicBezTo>
                      <a:pt x="54" y="168"/>
                      <a:pt x="54" y="168"/>
                      <a:pt x="54" y="168"/>
                    </a:cubicBezTo>
                    <a:cubicBezTo>
                      <a:pt x="228" y="168"/>
                      <a:pt x="228" y="168"/>
                      <a:pt x="228" y="168"/>
                    </a:cubicBezTo>
                    <a:cubicBezTo>
                      <a:pt x="233" y="167"/>
                      <a:pt x="276" y="159"/>
                      <a:pt x="276" y="114"/>
                    </a:cubicBezTo>
                    <a:cubicBezTo>
                      <a:pt x="276" y="99"/>
                      <a:pt x="270" y="85"/>
                      <a:pt x="260" y="75"/>
                    </a:cubicBezTo>
                    <a:cubicBezTo>
                      <a:pt x="249" y="65"/>
                      <a:pt x="235" y="59"/>
                      <a:pt x="220" y="60"/>
                    </a:cubicBezTo>
                    <a:cubicBezTo>
                      <a:pt x="218" y="60"/>
                      <a:pt x="216" y="59"/>
                      <a:pt x="215" y="57"/>
                    </a:cubicBezTo>
                    <a:cubicBezTo>
                      <a:pt x="202" y="29"/>
                      <a:pt x="174" y="12"/>
                      <a:pt x="144" y="12"/>
                    </a:cubicBezTo>
                    <a:cubicBezTo>
                      <a:pt x="103" y="12"/>
                      <a:pt x="69" y="44"/>
                      <a:pt x="66" y="85"/>
                    </a:cubicBezTo>
                    <a:cubicBezTo>
                      <a:pt x="66" y="87"/>
                      <a:pt x="66" y="88"/>
                      <a:pt x="64" y="90"/>
                    </a:cubicBezTo>
                    <a:cubicBezTo>
                      <a:pt x="63" y="91"/>
                      <a:pt x="61" y="91"/>
                      <a:pt x="59" y="91"/>
                    </a:cubicBezTo>
                    <a:cubicBezTo>
                      <a:pt x="57" y="90"/>
                      <a:pt x="54" y="90"/>
                      <a:pt x="51" y="9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solidFill>
                    <a:schemeClr val="bg1"/>
                  </a:solidFill>
                  <a:effectLst/>
                  <a:uLnTx/>
                  <a:uFillTx/>
                  <a:cs typeface="Arial" charset="0"/>
                </a:endParaRPr>
              </a:p>
            </p:txBody>
          </p:sp>
          <p:sp>
            <p:nvSpPr>
              <p:cNvPr id="26" name="Freeform 159">
                <a:extLst>
                  <a:ext uri="{FF2B5EF4-FFF2-40B4-BE49-F238E27FC236}">
                    <a16:creationId xmlns:a16="http://schemas.microsoft.com/office/drawing/2014/main" id="{BC837DD7-E529-D7D4-B720-0BE9B88793D9}"/>
                  </a:ext>
                </a:extLst>
              </p:cNvPr>
              <p:cNvSpPr>
                <a:spLocks noEditPoints="1"/>
              </p:cNvSpPr>
              <p:nvPr/>
            </p:nvSpPr>
            <p:spPr bwMode="auto">
              <a:xfrm>
                <a:off x="861065" y="2586057"/>
                <a:ext cx="1686691" cy="758063"/>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3" y="108"/>
                      <a:pt x="0" y="84"/>
                      <a:pt x="0" y="54"/>
                    </a:cubicBezTo>
                    <a:cubicBezTo>
                      <a:pt x="0" y="23"/>
                      <a:pt x="53"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dirty="0">
                  <a:ln>
                    <a:noFill/>
                  </a:ln>
                  <a:solidFill>
                    <a:schemeClr val="bg1"/>
                  </a:solidFill>
                  <a:effectLst/>
                  <a:uLnTx/>
                  <a:uFillTx/>
                  <a:cs typeface="Arial" charset="0"/>
                </a:endParaRPr>
              </a:p>
            </p:txBody>
          </p:sp>
          <p:sp>
            <p:nvSpPr>
              <p:cNvPr id="27" name="Freeform 160">
                <a:extLst>
                  <a:ext uri="{FF2B5EF4-FFF2-40B4-BE49-F238E27FC236}">
                    <a16:creationId xmlns:a16="http://schemas.microsoft.com/office/drawing/2014/main" id="{F93ED3C9-408F-9F9A-6C24-09E85D284B5B}"/>
                  </a:ext>
                </a:extLst>
              </p:cNvPr>
              <p:cNvSpPr>
                <a:spLocks/>
              </p:cNvSpPr>
              <p:nvPr/>
            </p:nvSpPr>
            <p:spPr bwMode="auto">
              <a:xfrm>
                <a:off x="861065" y="3258838"/>
                <a:ext cx="885987" cy="421673"/>
              </a:xfrm>
              <a:custGeom>
                <a:avLst/>
                <a:gdLst>
                  <a:gd name="T0" fmla="*/ 120 w 126"/>
                  <a:gd name="T1" fmla="*/ 60 h 60"/>
                  <a:gd name="T2" fmla="*/ 0 w 126"/>
                  <a:gd name="T3" fmla="*/ 6 h 60"/>
                  <a:gd name="T4" fmla="*/ 6 w 126"/>
                  <a:gd name="T5" fmla="*/ 0 h 60"/>
                  <a:gd name="T6" fmla="*/ 12 w 126"/>
                  <a:gd name="T7" fmla="*/ 6 h 60"/>
                  <a:gd name="T8" fmla="*/ 120 w 126"/>
                  <a:gd name="T9" fmla="*/ 48 h 60"/>
                  <a:gd name="T10" fmla="*/ 126 w 126"/>
                  <a:gd name="T11" fmla="*/ 54 h 60"/>
                  <a:gd name="T12" fmla="*/ 120 w 126"/>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6" h="60">
                    <a:moveTo>
                      <a:pt x="120" y="60"/>
                    </a:moveTo>
                    <a:cubicBezTo>
                      <a:pt x="53" y="60"/>
                      <a:pt x="0" y="36"/>
                      <a:pt x="0" y="6"/>
                    </a:cubicBezTo>
                    <a:cubicBezTo>
                      <a:pt x="0" y="2"/>
                      <a:pt x="3" y="0"/>
                      <a:pt x="6" y="0"/>
                    </a:cubicBezTo>
                    <a:cubicBezTo>
                      <a:pt x="9" y="0"/>
                      <a:pt x="12" y="2"/>
                      <a:pt x="12" y="6"/>
                    </a:cubicBezTo>
                    <a:cubicBezTo>
                      <a:pt x="12" y="26"/>
                      <a:pt x="56" y="48"/>
                      <a:pt x="120" y="48"/>
                    </a:cubicBezTo>
                    <a:cubicBezTo>
                      <a:pt x="123" y="48"/>
                      <a:pt x="126" y="50"/>
                      <a:pt x="126" y="54"/>
                    </a:cubicBezTo>
                    <a:cubicBezTo>
                      <a:pt x="126" y="57"/>
                      <a:pt x="123"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chemeClr val="bg1"/>
                  </a:solidFill>
                  <a:effectLst/>
                  <a:uLnTx/>
                  <a:uFillTx/>
                  <a:cs typeface="Arial" charset="0"/>
                </a:endParaRPr>
              </a:p>
            </p:txBody>
          </p:sp>
          <p:sp>
            <p:nvSpPr>
              <p:cNvPr id="28" name="Freeform 161">
                <a:extLst>
                  <a:ext uri="{FF2B5EF4-FFF2-40B4-BE49-F238E27FC236}">
                    <a16:creationId xmlns:a16="http://schemas.microsoft.com/office/drawing/2014/main" id="{6A3E7BB3-E6D0-4728-4C11-4FD5847703D4}"/>
                  </a:ext>
                </a:extLst>
              </p:cNvPr>
              <p:cNvSpPr>
                <a:spLocks/>
              </p:cNvSpPr>
              <p:nvPr/>
            </p:nvSpPr>
            <p:spPr bwMode="auto">
              <a:xfrm>
                <a:off x="861065" y="3637870"/>
                <a:ext cx="758064" cy="412197"/>
              </a:xfrm>
              <a:custGeom>
                <a:avLst/>
                <a:gdLst>
                  <a:gd name="T0" fmla="*/ 102 w 108"/>
                  <a:gd name="T1" fmla="*/ 59 h 59"/>
                  <a:gd name="T2" fmla="*/ 101 w 108"/>
                  <a:gd name="T3" fmla="*/ 59 h 59"/>
                  <a:gd name="T4" fmla="*/ 0 w 108"/>
                  <a:gd name="T5" fmla="*/ 6 h 59"/>
                  <a:gd name="T6" fmla="*/ 6 w 108"/>
                  <a:gd name="T7" fmla="*/ 0 h 59"/>
                  <a:gd name="T8" fmla="*/ 12 w 108"/>
                  <a:gd name="T9" fmla="*/ 6 h 59"/>
                  <a:gd name="T10" fmla="*/ 102 w 108"/>
                  <a:gd name="T11" fmla="*/ 47 h 59"/>
                  <a:gd name="T12" fmla="*/ 108 w 108"/>
                  <a:gd name="T13" fmla="*/ 53 h 59"/>
                  <a:gd name="T14" fmla="*/ 102 w 108"/>
                  <a:gd name="T15" fmla="*/ 59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59">
                    <a:moveTo>
                      <a:pt x="102" y="59"/>
                    </a:moveTo>
                    <a:cubicBezTo>
                      <a:pt x="102" y="59"/>
                      <a:pt x="102" y="59"/>
                      <a:pt x="101" y="59"/>
                    </a:cubicBezTo>
                    <a:cubicBezTo>
                      <a:pt x="42" y="55"/>
                      <a:pt x="0" y="33"/>
                      <a:pt x="0" y="6"/>
                    </a:cubicBezTo>
                    <a:cubicBezTo>
                      <a:pt x="0" y="2"/>
                      <a:pt x="3" y="0"/>
                      <a:pt x="6" y="0"/>
                    </a:cubicBezTo>
                    <a:cubicBezTo>
                      <a:pt x="9" y="0"/>
                      <a:pt x="12" y="2"/>
                      <a:pt x="12" y="6"/>
                    </a:cubicBezTo>
                    <a:cubicBezTo>
                      <a:pt x="12" y="25"/>
                      <a:pt x="52" y="44"/>
                      <a:pt x="102" y="47"/>
                    </a:cubicBezTo>
                    <a:cubicBezTo>
                      <a:pt x="106" y="47"/>
                      <a:pt x="108" y="50"/>
                      <a:pt x="108" y="53"/>
                    </a:cubicBezTo>
                    <a:cubicBezTo>
                      <a:pt x="108" y="57"/>
                      <a:pt x="105" y="59"/>
                      <a:pt x="10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chemeClr val="bg1"/>
                  </a:solidFill>
                  <a:effectLst/>
                  <a:uLnTx/>
                  <a:uFillTx/>
                  <a:cs typeface="Arial" charset="0"/>
                </a:endParaRPr>
              </a:p>
            </p:txBody>
          </p:sp>
          <p:sp>
            <p:nvSpPr>
              <p:cNvPr id="33" name="Freeform 162">
                <a:extLst>
                  <a:ext uri="{FF2B5EF4-FFF2-40B4-BE49-F238E27FC236}">
                    <a16:creationId xmlns:a16="http://schemas.microsoft.com/office/drawing/2014/main" id="{4B776AD4-07CA-2F71-90F1-AD8750861D53}"/>
                  </a:ext>
                </a:extLst>
              </p:cNvPr>
              <p:cNvSpPr>
                <a:spLocks/>
              </p:cNvSpPr>
              <p:nvPr/>
            </p:nvSpPr>
            <p:spPr bwMode="auto">
              <a:xfrm>
                <a:off x="861065" y="2922448"/>
                <a:ext cx="800705" cy="1506650"/>
              </a:xfrm>
              <a:custGeom>
                <a:avLst/>
                <a:gdLst>
                  <a:gd name="T0" fmla="*/ 108 w 114"/>
                  <a:gd name="T1" fmla="*/ 215 h 215"/>
                  <a:gd name="T2" fmla="*/ 108 w 114"/>
                  <a:gd name="T3" fmla="*/ 215 h 215"/>
                  <a:gd name="T4" fmla="*/ 0 w 114"/>
                  <a:gd name="T5" fmla="*/ 162 h 215"/>
                  <a:gd name="T6" fmla="*/ 0 w 114"/>
                  <a:gd name="T7" fmla="*/ 6 h 215"/>
                  <a:gd name="T8" fmla="*/ 6 w 114"/>
                  <a:gd name="T9" fmla="*/ 0 h 215"/>
                  <a:gd name="T10" fmla="*/ 12 w 114"/>
                  <a:gd name="T11" fmla="*/ 6 h 215"/>
                  <a:gd name="T12" fmla="*/ 12 w 114"/>
                  <a:gd name="T13" fmla="*/ 162 h 215"/>
                  <a:gd name="T14" fmla="*/ 108 w 114"/>
                  <a:gd name="T15" fmla="*/ 203 h 215"/>
                  <a:gd name="T16" fmla="*/ 114 w 114"/>
                  <a:gd name="T17" fmla="*/ 210 h 215"/>
                  <a:gd name="T18" fmla="*/ 108 w 114"/>
                  <a:gd name="T19"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15">
                    <a:moveTo>
                      <a:pt x="108" y="215"/>
                    </a:moveTo>
                    <a:cubicBezTo>
                      <a:pt x="108" y="215"/>
                      <a:pt x="108" y="215"/>
                      <a:pt x="108" y="215"/>
                    </a:cubicBezTo>
                    <a:cubicBezTo>
                      <a:pt x="45" y="213"/>
                      <a:pt x="0" y="190"/>
                      <a:pt x="0" y="162"/>
                    </a:cubicBezTo>
                    <a:cubicBezTo>
                      <a:pt x="0" y="6"/>
                      <a:pt x="0" y="6"/>
                      <a:pt x="0" y="6"/>
                    </a:cubicBezTo>
                    <a:cubicBezTo>
                      <a:pt x="0" y="2"/>
                      <a:pt x="3" y="0"/>
                      <a:pt x="6" y="0"/>
                    </a:cubicBezTo>
                    <a:cubicBezTo>
                      <a:pt x="9" y="0"/>
                      <a:pt x="12" y="2"/>
                      <a:pt x="12" y="6"/>
                    </a:cubicBezTo>
                    <a:cubicBezTo>
                      <a:pt x="12" y="162"/>
                      <a:pt x="12" y="162"/>
                      <a:pt x="12" y="162"/>
                    </a:cubicBezTo>
                    <a:cubicBezTo>
                      <a:pt x="12" y="180"/>
                      <a:pt x="49" y="201"/>
                      <a:pt x="108" y="203"/>
                    </a:cubicBezTo>
                    <a:cubicBezTo>
                      <a:pt x="111" y="204"/>
                      <a:pt x="114" y="206"/>
                      <a:pt x="114" y="210"/>
                    </a:cubicBezTo>
                    <a:cubicBezTo>
                      <a:pt x="114" y="213"/>
                      <a:pt x="111" y="215"/>
                      <a:pt x="108" y="2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chemeClr val="bg1"/>
                  </a:solidFill>
                  <a:effectLst/>
                  <a:uLnTx/>
                  <a:uFillTx/>
                  <a:cs typeface="Arial" charset="0"/>
                </a:endParaRPr>
              </a:p>
            </p:txBody>
          </p:sp>
          <p:sp>
            <p:nvSpPr>
              <p:cNvPr id="36" name="Freeform 163">
                <a:extLst>
                  <a:ext uri="{FF2B5EF4-FFF2-40B4-BE49-F238E27FC236}">
                    <a16:creationId xmlns:a16="http://schemas.microsoft.com/office/drawing/2014/main" id="{723F06DB-8A4E-72A8-F2B3-1B0260ED9F9B}"/>
                  </a:ext>
                </a:extLst>
              </p:cNvPr>
              <p:cNvSpPr>
                <a:spLocks/>
              </p:cNvSpPr>
              <p:nvPr/>
            </p:nvSpPr>
            <p:spPr bwMode="auto">
              <a:xfrm>
                <a:off x="2462474" y="2922447"/>
                <a:ext cx="85282" cy="464314"/>
              </a:xfrm>
              <a:custGeom>
                <a:avLst/>
                <a:gdLst>
                  <a:gd name="T0" fmla="*/ 6 w 12"/>
                  <a:gd name="T1" fmla="*/ 66 h 66"/>
                  <a:gd name="T2" fmla="*/ 0 w 12"/>
                  <a:gd name="T3" fmla="*/ 60 h 66"/>
                  <a:gd name="T4" fmla="*/ 0 w 12"/>
                  <a:gd name="T5" fmla="*/ 6 h 66"/>
                  <a:gd name="T6" fmla="*/ 6 w 12"/>
                  <a:gd name="T7" fmla="*/ 0 h 66"/>
                  <a:gd name="T8" fmla="*/ 12 w 12"/>
                  <a:gd name="T9" fmla="*/ 6 h 66"/>
                  <a:gd name="T10" fmla="*/ 12 w 12"/>
                  <a:gd name="T11" fmla="*/ 60 h 66"/>
                  <a:gd name="T12" fmla="*/ 6 w 12"/>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2" h="66">
                    <a:moveTo>
                      <a:pt x="6" y="66"/>
                    </a:moveTo>
                    <a:cubicBezTo>
                      <a:pt x="3" y="66"/>
                      <a:pt x="0" y="63"/>
                      <a:pt x="0" y="60"/>
                    </a:cubicBezTo>
                    <a:cubicBezTo>
                      <a:pt x="0" y="6"/>
                      <a:pt x="0" y="6"/>
                      <a:pt x="0" y="6"/>
                    </a:cubicBezTo>
                    <a:cubicBezTo>
                      <a:pt x="0" y="2"/>
                      <a:pt x="3" y="0"/>
                      <a:pt x="6" y="0"/>
                    </a:cubicBezTo>
                    <a:cubicBezTo>
                      <a:pt x="9" y="0"/>
                      <a:pt x="12" y="2"/>
                      <a:pt x="12" y="6"/>
                    </a:cubicBezTo>
                    <a:cubicBezTo>
                      <a:pt x="12" y="60"/>
                      <a:pt x="12" y="60"/>
                      <a:pt x="12" y="60"/>
                    </a:cubicBezTo>
                    <a:cubicBezTo>
                      <a:pt x="12" y="63"/>
                      <a:pt x="9" y="66"/>
                      <a:pt x="6"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chemeClr val="bg1"/>
                  </a:solidFill>
                  <a:effectLst/>
                  <a:uLnTx/>
                  <a:uFillTx/>
                  <a:cs typeface="Arial" charset="0"/>
                </a:endParaRPr>
              </a:p>
            </p:txBody>
          </p:sp>
        </p:grpSp>
      </p:grpSp>
      <p:sp>
        <p:nvSpPr>
          <p:cNvPr id="40" name="Footer Placeholder 39">
            <a:extLst>
              <a:ext uri="{FF2B5EF4-FFF2-40B4-BE49-F238E27FC236}">
                <a16:creationId xmlns:a16="http://schemas.microsoft.com/office/drawing/2014/main" id="{2F79E84A-F8F1-F320-9F99-8460024C83FF}"/>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41" name="Slide Number Placeholder 40">
            <a:extLst>
              <a:ext uri="{FF2B5EF4-FFF2-40B4-BE49-F238E27FC236}">
                <a16:creationId xmlns:a16="http://schemas.microsoft.com/office/drawing/2014/main" id="{0428C4AA-3DC1-C788-99F9-DE74D951FC62}"/>
              </a:ext>
            </a:extLst>
          </p:cNvPr>
          <p:cNvSpPr>
            <a:spLocks noGrp="1"/>
          </p:cNvSpPr>
          <p:nvPr>
            <p:ph type="sldNum" sz="quarter" idx="20"/>
          </p:nvPr>
        </p:nvSpPr>
        <p:spPr/>
        <p:txBody>
          <a:bodyPr/>
          <a:lstStyle/>
          <a:p>
            <a:fld id="{1F90F471-3972-4120-B8B3-0237DE626C35}" type="slidenum">
              <a:rPr lang="en-US" smtClean="0"/>
              <a:pPr/>
              <a:t>2</a:t>
            </a:fld>
            <a:endParaRPr lang="en-US" dirty="0"/>
          </a:p>
        </p:txBody>
      </p:sp>
      <p:pic>
        <p:nvPicPr>
          <p:cNvPr id="7" name="Picture 6">
            <a:extLst>
              <a:ext uri="{FF2B5EF4-FFF2-40B4-BE49-F238E27FC236}">
                <a16:creationId xmlns:a16="http://schemas.microsoft.com/office/drawing/2014/main" id="{B32CCDDB-A5AB-3C1F-F6F0-AF44DCEF297E}"/>
              </a:ext>
            </a:extLst>
          </p:cNvPr>
          <p:cNvPicPr>
            <a:picLocks noChangeAspect="1"/>
          </p:cNvPicPr>
          <p:nvPr/>
        </p:nvPicPr>
        <p:blipFill>
          <a:blip r:embed="rId6"/>
          <a:stretch>
            <a:fillRect/>
          </a:stretch>
        </p:blipFill>
        <p:spPr>
          <a:xfrm>
            <a:off x="10494273" y="1635538"/>
            <a:ext cx="1333596" cy="1477143"/>
          </a:xfrm>
          <a:prstGeom prst="rect">
            <a:avLst/>
          </a:prstGeom>
        </p:spPr>
      </p:pic>
      <p:pic>
        <p:nvPicPr>
          <p:cNvPr id="8" name="Picture 7" descr="A black background with white text&#10;&#10;Description automatically generated with low confidence">
            <a:extLst>
              <a:ext uri="{FF2B5EF4-FFF2-40B4-BE49-F238E27FC236}">
                <a16:creationId xmlns:a16="http://schemas.microsoft.com/office/drawing/2014/main" id="{997B9697-D079-6179-0C9B-DCBA672C1EC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19923" y="1002016"/>
            <a:ext cx="2399080" cy="945092"/>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B2A58C51-D889-5766-E023-2FF867E1A7F5}"/>
              </a:ext>
            </a:extLst>
          </p:cNvPr>
          <p:cNvPicPr>
            <a:picLocks noChangeAspect="1"/>
          </p:cNvPicPr>
          <p:nvPr/>
        </p:nvPicPr>
        <p:blipFill>
          <a:blip r:embed="rId8"/>
          <a:stretch>
            <a:fillRect/>
          </a:stretch>
        </p:blipFill>
        <p:spPr>
          <a:xfrm>
            <a:off x="8461367" y="1335226"/>
            <a:ext cx="1156081" cy="1345917"/>
          </a:xfrm>
          <a:prstGeom prst="rect">
            <a:avLst/>
          </a:prstGeom>
          <a:ln w="9525" cap="sq">
            <a:solidFill>
              <a:schemeClr val="accent6"/>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2414623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B54B36-73C4-B2B5-336D-A5E2BFB8A430}"/>
              </a:ext>
            </a:extLst>
          </p:cNvPr>
          <p:cNvSpPr>
            <a:spLocks noGrp="1"/>
          </p:cNvSpPr>
          <p:nvPr>
            <p:ph type="title"/>
          </p:nvPr>
        </p:nvSpPr>
        <p:spPr/>
        <p:txBody>
          <a:bodyPr/>
          <a:lstStyle/>
          <a:p>
            <a:r>
              <a:rPr lang="de-CH" dirty="0" err="1"/>
              <a:t>Notification</a:t>
            </a:r>
            <a:endParaRPr lang="de-CH" dirty="0"/>
          </a:p>
        </p:txBody>
      </p:sp>
      <p:sp>
        <p:nvSpPr>
          <p:cNvPr id="3" name="Inhaltsplatzhalter 2">
            <a:extLst>
              <a:ext uri="{FF2B5EF4-FFF2-40B4-BE49-F238E27FC236}">
                <a16:creationId xmlns:a16="http://schemas.microsoft.com/office/drawing/2014/main" id="{D233D7DD-3C1E-9338-6F72-2A70EE081CBE}"/>
              </a:ext>
            </a:extLst>
          </p:cNvPr>
          <p:cNvSpPr>
            <a:spLocks noGrp="1"/>
          </p:cNvSpPr>
          <p:nvPr>
            <p:ph sz="quarter" idx="10"/>
          </p:nvPr>
        </p:nvSpPr>
        <p:spPr/>
        <p:txBody>
          <a:bodyPr/>
          <a:lstStyle/>
          <a:p>
            <a:r>
              <a:rPr lang="de-CH" dirty="0"/>
              <a:t>Be </a:t>
            </a:r>
            <a:r>
              <a:rPr lang="de-CH" dirty="0" err="1"/>
              <a:t>informed</a:t>
            </a:r>
            <a:r>
              <a:rPr lang="de-CH" dirty="0"/>
              <a:t> </a:t>
            </a:r>
            <a:r>
              <a:rPr lang="de-CH" dirty="0" err="1"/>
              <a:t>whenever</a:t>
            </a:r>
            <a:r>
              <a:rPr lang="de-CH" dirty="0"/>
              <a:t> Cloud </a:t>
            </a:r>
            <a:r>
              <a:rPr lang="de-CH" dirty="0" err="1"/>
              <a:t>Guard</a:t>
            </a:r>
            <a:r>
              <a:rPr lang="de-CH" dirty="0"/>
              <a:t> </a:t>
            </a:r>
            <a:r>
              <a:rPr lang="de-CH" dirty="0" err="1"/>
              <a:t>has</a:t>
            </a:r>
            <a:r>
              <a:rPr lang="de-CH" dirty="0"/>
              <a:t> </a:t>
            </a:r>
            <a:r>
              <a:rPr lang="de-CH" dirty="0" err="1"/>
              <a:t>detected</a:t>
            </a:r>
            <a:r>
              <a:rPr lang="de-CH" dirty="0"/>
              <a:t> </a:t>
            </a:r>
            <a:r>
              <a:rPr lang="de-CH" dirty="0" err="1"/>
              <a:t>or</a:t>
            </a:r>
            <a:r>
              <a:rPr lang="de-CH" dirty="0"/>
              <a:t> auto-</a:t>
            </a:r>
            <a:r>
              <a:rPr lang="de-CH" dirty="0" err="1"/>
              <a:t>resolved</a:t>
            </a:r>
            <a:r>
              <a:rPr lang="de-CH" dirty="0"/>
              <a:t> </a:t>
            </a:r>
            <a:r>
              <a:rPr lang="de-CH" dirty="0" err="1"/>
              <a:t>the</a:t>
            </a:r>
            <a:r>
              <a:rPr lang="de-CH" dirty="0"/>
              <a:t> </a:t>
            </a:r>
            <a:r>
              <a:rPr lang="de-CH" dirty="0" err="1"/>
              <a:t>problem</a:t>
            </a:r>
            <a:r>
              <a:rPr lang="de-CH" dirty="0"/>
              <a:t> </a:t>
            </a:r>
            <a:r>
              <a:rPr lang="de-CH" dirty="0" err="1"/>
              <a:t>by</a:t>
            </a:r>
            <a:r>
              <a:rPr lang="de-CH" dirty="0"/>
              <a:t> </a:t>
            </a:r>
            <a:r>
              <a:rPr lang="de-CH" dirty="0" err="1"/>
              <a:t>definig</a:t>
            </a:r>
            <a:r>
              <a:rPr lang="de-CH" dirty="0"/>
              <a:t> Rules.</a:t>
            </a:r>
          </a:p>
          <a:p>
            <a:endParaRPr lang="de-CH" dirty="0"/>
          </a:p>
          <a:p>
            <a:endParaRPr lang="de-CH" dirty="0"/>
          </a:p>
          <a:p>
            <a:pPr marL="0" indent="0">
              <a:buNone/>
            </a:pPr>
            <a:endParaRPr lang="de-CH" dirty="0"/>
          </a:p>
        </p:txBody>
      </p:sp>
      <p:sp>
        <p:nvSpPr>
          <p:cNvPr id="4" name="Fußzeilenplatzhalter 3">
            <a:extLst>
              <a:ext uri="{FF2B5EF4-FFF2-40B4-BE49-F238E27FC236}">
                <a16:creationId xmlns:a16="http://schemas.microsoft.com/office/drawing/2014/main" id="{50C6A290-8471-08F6-C21D-2DF403DA0F71}"/>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5" name="Foliennummernplatzhalter 4">
            <a:extLst>
              <a:ext uri="{FF2B5EF4-FFF2-40B4-BE49-F238E27FC236}">
                <a16:creationId xmlns:a16="http://schemas.microsoft.com/office/drawing/2014/main" id="{C5118162-A1BE-662D-79A0-95693F5D6050}"/>
              </a:ext>
            </a:extLst>
          </p:cNvPr>
          <p:cNvSpPr>
            <a:spLocks noGrp="1"/>
          </p:cNvSpPr>
          <p:nvPr>
            <p:ph type="sldNum" sz="quarter" idx="11"/>
          </p:nvPr>
        </p:nvSpPr>
        <p:spPr/>
        <p:txBody>
          <a:bodyPr/>
          <a:lstStyle/>
          <a:p>
            <a:fld id="{1F90F471-3972-4120-B8B3-0237DE626C35}" type="slidenum">
              <a:rPr lang="en-US" smtClean="0"/>
              <a:pPr/>
              <a:t>20</a:t>
            </a:fld>
            <a:endParaRPr lang="en-US" dirty="0"/>
          </a:p>
        </p:txBody>
      </p:sp>
      <p:pic>
        <p:nvPicPr>
          <p:cNvPr id="7" name="Grafik 6">
            <a:extLst>
              <a:ext uri="{FF2B5EF4-FFF2-40B4-BE49-F238E27FC236}">
                <a16:creationId xmlns:a16="http://schemas.microsoft.com/office/drawing/2014/main" id="{5F4633AF-7103-1F41-C09F-D0C751FB5E2E}"/>
              </a:ext>
            </a:extLst>
          </p:cNvPr>
          <p:cNvPicPr>
            <a:picLocks noChangeAspect="1"/>
          </p:cNvPicPr>
          <p:nvPr/>
        </p:nvPicPr>
        <p:blipFill>
          <a:blip r:embed="rId2"/>
          <a:stretch>
            <a:fillRect/>
          </a:stretch>
        </p:blipFill>
        <p:spPr>
          <a:xfrm>
            <a:off x="546024" y="2101605"/>
            <a:ext cx="10883976" cy="2400789"/>
          </a:xfrm>
          <a:prstGeom prst="rect">
            <a:avLst/>
          </a:prstGeom>
          <a:ln>
            <a:solidFill>
              <a:schemeClr val="bg1">
                <a:lumMod val="50000"/>
              </a:schemeClr>
            </a:solidFill>
          </a:ln>
        </p:spPr>
      </p:pic>
      <p:pic>
        <p:nvPicPr>
          <p:cNvPr id="9" name="Grafik 8">
            <a:extLst>
              <a:ext uri="{FF2B5EF4-FFF2-40B4-BE49-F238E27FC236}">
                <a16:creationId xmlns:a16="http://schemas.microsoft.com/office/drawing/2014/main" id="{A98C4A56-1E2C-D798-561C-68A00988E684}"/>
              </a:ext>
            </a:extLst>
          </p:cNvPr>
          <p:cNvPicPr>
            <a:picLocks noChangeAspect="1"/>
          </p:cNvPicPr>
          <p:nvPr/>
        </p:nvPicPr>
        <p:blipFill>
          <a:blip r:embed="rId3"/>
          <a:stretch>
            <a:fillRect/>
          </a:stretch>
        </p:blipFill>
        <p:spPr>
          <a:xfrm>
            <a:off x="5011026" y="3978390"/>
            <a:ext cx="6990476" cy="1847619"/>
          </a:xfrm>
          <a:prstGeom prst="rect">
            <a:avLst/>
          </a:prstGeom>
          <a:ln>
            <a:solidFill>
              <a:schemeClr val="bg1">
                <a:lumMod val="50000"/>
              </a:schemeClr>
            </a:solidFill>
          </a:ln>
        </p:spPr>
      </p:pic>
    </p:spTree>
    <p:extLst>
      <p:ext uri="{BB962C8B-B14F-4D97-AF65-F5344CB8AC3E}">
        <p14:creationId xmlns:p14="http://schemas.microsoft.com/office/powerpoint/2010/main" val="23536126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356132-B12D-E754-2680-968A210E0DD6}"/>
              </a:ext>
            </a:extLst>
          </p:cNvPr>
          <p:cNvSpPr>
            <a:spLocks noGrp="1"/>
          </p:cNvSpPr>
          <p:nvPr>
            <p:ph type="title"/>
          </p:nvPr>
        </p:nvSpPr>
        <p:spPr/>
        <p:txBody>
          <a:bodyPr/>
          <a:lstStyle/>
          <a:p>
            <a:r>
              <a:rPr lang="de-CH" dirty="0" err="1"/>
              <a:t>Notification</a:t>
            </a:r>
            <a:endParaRPr lang="de-CH" dirty="0"/>
          </a:p>
        </p:txBody>
      </p:sp>
      <p:sp>
        <p:nvSpPr>
          <p:cNvPr id="4" name="Fußzeilenplatzhalter 3">
            <a:extLst>
              <a:ext uri="{FF2B5EF4-FFF2-40B4-BE49-F238E27FC236}">
                <a16:creationId xmlns:a16="http://schemas.microsoft.com/office/drawing/2014/main" id="{10A288A1-B381-B3AF-C153-9A0A20EA6CF0}"/>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5" name="Foliennummernplatzhalter 4">
            <a:extLst>
              <a:ext uri="{FF2B5EF4-FFF2-40B4-BE49-F238E27FC236}">
                <a16:creationId xmlns:a16="http://schemas.microsoft.com/office/drawing/2014/main" id="{5C173973-D375-1F01-F6DA-06902B86E9D4}"/>
              </a:ext>
            </a:extLst>
          </p:cNvPr>
          <p:cNvSpPr>
            <a:spLocks noGrp="1"/>
          </p:cNvSpPr>
          <p:nvPr>
            <p:ph type="sldNum" sz="quarter" idx="11"/>
          </p:nvPr>
        </p:nvSpPr>
        <p:spPr/>
        <p:txBody>
          <a:bodyPr/>
          <a:lstStyle/>
          <a:p>
            <a:fld id="{1F90F471-3972-4120-B8B3-0237DE626C35}" type="slidenum">
              <a:rPr lang="en-US" smtClean="0"/>
              <a:pPr/>
              <a:t>21</a:t>
            </a:fld>
            <a:endParaRPr lang="en-US" dirty="0"/>
          </a:p>
        </p:txBody>
      </p:sp>
      <p:pic>
        <p:nvPicPr>
          <p:cNvPr id="9" name="Grafik 8">
            <a:extLst>
              <a:ext uri="{FF2B5EF4-FFF2-40B4-BE49-F238E27FC236}">
                <a16:creationId xmlns:a16="http://schemas.microsoft.com/office/drawing/2014/main" id="{87B80071-D6C7-C222-CDB2-ADA125949684}"/>
              </a:ext>
            </a:extLst>
          </p:cNvPr>
          <p:cNvPicPr>
            <a:picLocks noChangeAspect="1"/>
          </p:cNvPicPr>
          <p:nvPr/>
        </p:nvPicPr>
        <p:blipFill>
          <a:blip r:embed="rId2"/>
          <a:stretch>
            <a:fillRect/>
          </a:stretch>
        </p:blipFill>
        <p:spPr>
          <a:xfrm>
            <a:off x="571500" y="1058685"/>
            <a:ext cx="10160000" cy="5097639"/>
          </a:xfrm>
          <a:prstGeom prst="rect">
            <a:avLst/>
          </a:prstGeom>
        </p:spPr>
      </p:pic>
    </p:spTree>
    <p:extLst>
      <p:ext uri="{BB962C8B-B14F-4D97-AF65-F5344CB8AC3E}">
        <p14:creationId xmlns:p14="http://schemas.microsoft.com/office/powerpoint/2010/main" val="25208854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a:extLst>
              <a:ext uri="{FF2B5EF4-FFF2-40B4-BE49-F238E27FC236}">
                <a16:creationId xmlns:a16="http://schemas.microsoft.com/office/drawing/2014/main" id="{81C32163-2FCE-1D0A-32E6-87C45FE8B73F}"/>
              </a:ext>
            </a:extLst>
          </p:cNvPr>
          <p:cNvSpPr>
            <a:spLocks noGrp="1"/>
          </p:cNvSpPr>
          <p:nvPr>
            <p:ph type="title"/>
          </p:nvPr>
        </p:nvSpPr>
        <p:spPr/>
        <p:txBody>
          <a:bodyPr/>
          <a:lstStyle/>
          <a:p>
            <a:r>
              <a:rPr lang="en-GB" dirty="0"/>
              <a:t>Practical Use Cases</a:t>
            </a:r>
            <a:endParaRPr lang="en-CH" dirty="0"/>
          </a:p>
        </p:txBody>
      </p:sp>
      <p:sp>
        <p:nvSpPr>
          <p:cNvPr id="39" name="Text Placeholder 38">
            <a:extLst>
              <a:ext uri="{FF2B5EF4-FFF2-40B4-BE49-F238E27FC236}">
                <a16:creationId xmlns:a16="http://schemas.microsoft.com/office/drawing/2014/main" id="{A6E29AF1-44F3-982F-705B-C75E1D360B58}"/>
              </a:ext>
            </a:extLst>
          </p:cNvPr>
          <p:cNvSpPr>
            <a:spLocks noGrp="1"/>
          </p:cNvSpPr>
          <p:nvPr>
            <p:ph type="body" idx="10"/>
          </p:nvPr>
        </p:nvSpPr>
        <p:spPr/>
        <p:txBody>
          <a:bodyPr/>
          <a:lstStyle/>
          <a:p>
            <a:r>
              <a:rPr lang="de-CH" dirty="0"/>
              <a:t>2</a:t>
            </a:r>
            <a:endParaRPr lang="en-CH" dirty="0"/>
          </a:p>
        </p:txBody>
      </p:sp>
      <p:sp>
        <p:nvSpPr>
          <p:cNvPr id="40" name="Text Placeholder 39">
            <a:extLst>
              <a:ext uri="{FF2B5EF4-FFF2-40B4-BE49-F238E27FC236}">
                <a16:creationId xmlns:a16="http://schemas.microsoft.com/office/drawing/2014/main" id="{F812FB05-C283-CDA9-B557-B5415BD2668A}"/>
              </a:ext>
            </a:extLst>
          </p:cNvPr>
          <p:cNvSpPr>
            <a:spLocks noGrp="1"/>
          </p:cNvSpPr>
          <p:nvPr>
            <p:ph type="body" sz="quarter" idx="15"/>
          </p:nvPr>
        </p:nvSpPr>
        <p:spPr/>
        <p:txBody>
          <a:bodyPr/>
          <a:lstStyle/>
          <a:p>
            <a:r>
              <a:rPr lang="en-GB" dirty="0"/>
              <a:t>What about the Database Security?</a:t>
            </a:r>
            <a:endParaRPr lang="en-CH" dirty="0"/>
          </a:p>
        </p:txBody>
      </p:sp>
      <p:sp>
        <p:nvSpPr>
          <p:cNvPr id="36" name="Footer Placeholder 35">
            <a:extLst>
              <a:ext uri="{FF2B5EF4-FFF2-40B4-BE49-F238E27FC236}">
                <a16:creationId xmlns:a16="http://schemas.microsoft.com/office/drawing/2014/main" id="{D14BE949-61B3-1CD1-A107-50B467A7CC86}"/>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37" name="Slide Number Placeholder 36">
            <a:extLst>
              <a:ext uri="{FF2B5EF4-FFF2-40B4-BE49-F238E27FC236}">
                <a16:creationId xmlns:a16="http://schemas.microsoft.com/office/drawing/2014/main" id="{77419519-CF95-EE0E-2030-F4F25194BCB4}"/>
              </a:ext>
            </a:extLst>
          </p:cNvPr>
          <p:cNvSpPr>
            <a:spLocks noGrp="1"/>
          </p:cNvSpPr>
          <p:nvPr>
            <p:ph type="sldNum" sz="quarter" idx="17"/>
          </p:nvPr>
        </p:nvSpPr>
        <p:spPr/>
        <p:txBody>
          <a:bodyPr/>
          <a:lstStyle/>
          <a:p>
            <a:fld id="{1F90F471-3972-4120-B8B3-0237DE626C35}" type="slidenum">
              <a:rPr lang="en-US" smtClean="0"/>
              <a:pPr/>
              <a:t>22</a:t>
            </a:fld>
            <a:endParaRPr lang="en-US" dirty="0"/>
          </a:p>
        </p:txBody>
      </p:sp>
    </p:spTree>
    <p:extLst>
      <p:ext uri="{BB962C8B-B14F-4D97-AF65-F5344CB8AC3E}">
        <p14:creationId xmlns:p14="http://schemas.microsoft.com/office/powerpoint/2010/main" val="38756008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2D3E9B-560E-6487-9EB6-305A62D51601}"/>
              </a:ext>
            </a:extLst>
          </p:cNvPr>
          <p:cNvSpPr>
            <a:spLocks noGrp="1"/>
          </p:cNvSpPr>
          <p:nvPr>
            <p:ph type="title"/>
          </p:nvPr>
        </p:nvSpPr>
        <p:spPr/>
        <p:txBody>
          <a:bodyPr/>
          <a:lstStyle/>
          <a:p>
            <a:r>
              <a:rPr lang="en-US" b="1" i="0" dirty="0">
                <a:solidFill>
                  <a:srgbClr val="242424"/>
                </a:solidFill>
                <a:effectLst/>
                <a:latin typeface="Segoe UI" panose="020B0502040204020203" pitchFamily="34" charset="0"/>
              </a:rPr>
              <a:t>Use Case: Detecting Misconfigured Resources</a:t>
            </a:r>
            <a:endParaRPr lang="de-CH" dirty="0"/>
          </a:p>
        </p:txBody>
      </p:sp>
      <p:sp>
        <p:nvSpPr>
          <p:cNvPr id="3" name="Inhaltsplatzhalter 2">
            <a:extLst>
              <a:ext uri="{FF2B5EF4-FFF2-40B4-BE49-F238E27FC236}">
                <a16:creationId xmlns:a16="http://schemas.microsoft.com/office/drawing/2014/main" id="{18558EA7-1DC9-F161-7958-5892135681A0}"/>
              </a:ext>
            </a:extLst>
          </p:cNvPr>
          <p:cNvSpPr>
            <a:spLocks noGrp="1"/>
          </p:cNvSpPr>
          <p:nvPr>
            <p:ph sz="quarter" idx="10"/>
          </p:nvPr>
        </p:nvSpPr>
        <p:spPr/>
        <p:txBody>
          <a:bodyPr/>
          <a:lstStyle/>
          <a:p>
            <a:endParaRPr lang="de-CH"/>
          </a:p>
        </p:txBody>
      </p:sp>
      <p:sp>
        <p:nvSpPr>
          <p:cNvPr id="4" name="Fußzeilenplatzhalter 3">
            <a:extLst>
              <a:ext uri="{FF2B5EF4-FFF2-40B4-BE49-F238E27FC236}">
                <a16:creationId xmlns:a16="http://schemas.microsoft.com/office/drawing/2014/main" id="{6395DE61-911A-BDC4-3E97-87A404CF76D0}"/>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5" name="Foliennummernplatzhalter 4">
            <a:extLst>
              <a:ext uri="{FF2B5EF4-FFF2-40B4-BE49-F238E27FC236}">
                <a16:creationId xmlns:a16="http://schemas.microsoft.com/office/drawing/2014/main" id="{D465C3EF-F638-5567-941B-004947253DE6}"/>
              </a:ext>
            </a:extLst>
          </p:cNvPr>
          <p:cNvSpPr>
            <a:spLocks noGrp="1"/>
          </p:cNvSpPr>
          <p:nvPr>
            <p:ph type="sldNum" sz="quarter" idx="11"/>
          </p:nvPr>
        </p:nvSpPr>
        <p:spPr/>
        <p:txBody>
          <a:bodyPr/>
          <a:lstStyle/>
          <a:p>
            <a:fld id="{1F90F471-3972-4120-B8B3-0237DE626C35}" type="slidenum">
              <a:rPr lang="en-US" smtClean="0"/>
              <a:pPr/>
              <a:t>23</a:t>
            </a:fld>
            <a:endParaRPr lang="en-US" dirty="0"/>
          </a:p>
        </p:txBody>
      </p:sp>
    </p:spTree>
    <p:extLst>
      <p:ext uri="{BB962C8B-B14F-4D97-AF65-F5344CB8AC3E}">
        <p14:creationId xmlns:p14="http://schemas.microsoft.com/office/powerpoint/2010/main" val="42169694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6E8C83-5604-6800-8503-08C9674A39D3}"/>
              </a:ext>
            </a:extLst>
          </p:cNvPr>
          <p:cNvSpPr>
            <a:spLocks noGrp="1"/>
          </p:cNvSpPr>
          <p:nvPr>
            <p:ph type="title"/>
          </p:nvPr>
        </p:nvSpPr>
        <p:spPr/>
        <p:txBody>
          <a:bodyPr/>
          <a:lstStyle/>
          <a:p>
            <a:r>
              <a:rPr lang="en-US" b="1" i="0" dirty="0">
                <a:solidFill>
                  <a:srgbClr val="242424"/>
                </a:solidFill>
                <a:effectLst/>
                <a:latin typeface="Segoe UI" panose="020B0502040204020203" pitchFamily="34" charset="0"/>
              </a:rPr>
              <a:t>Use Case: Monitoring Insecure Activities</a:t>
            </a:r>
            <a:endParaRPr lang="de-CH" dirty="0"/>
          </a:p>
        </p:txBody>
      </p:sp>
      <p:sp>
        <p:nvSpPr>
          <p:cNvPr id="3" name="Inhaltsplatzhalter 2">
            <a:extLst>
              <a:ext uri="{FF2B5EF4-FFF2-40B4-BE49-F238E27FC236}">
                <a16:creationId xmlns:a16="http://schemas.microsoft.com/office/drawing/2014/main" id="{998C4BBF-A242-24EA-B3CA-4B13BF528F10}"/>
              </a:ext>
            </a:extLst>
          </p:cNvPr>
          <p:cNvSpPr>
            <a:spLocks noGrp="1"/>
          </p:cNvSpPr>
          <p:nvPr>
            <p:ph sz="quarter" idx="10"/>
          </p:nvPr>
        </p:nvSpPr>
        <p:spPr/>
        <p:txBody>
          <a:bodyPr/>
          <a:lstStyle/>
          <a:p>
            <a:endParaRPr lang="de-CH"/>
          </a:p>
        </p:txBody>
      </p:sp>
      <p:sp>
        <p:nvSpPr>
          <p:cNvPr id="4" name="Fußzeilenplatzhalter 3">
            <a:extLst>
              <a:ext uri="{FF2B5EF4-FFF2-40B4-BE49-F238E27FC236}">
                <a16:creationId xmlns:a16="http://schemas.microsoft.com/office/drawing/2014/main" id="{2D039DF2-BF9E-9282-B390-A81448E0838A}"/>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5" name="Foliennummernplatzhalter 4">
            <a:extLst>
              <a:ext uri="{FF2B5EF4-FFF2-40B4-BE49-F238E27FC236}">
                <a16:creationId xmlns:a16="http://schemas.microsoft.com/office/drawing/2014/main" id="{97343006-E830-249D-A108-601C1138EE1C}"/>
              </a:ext>
            </a:extLst>
          </p:cNvPr>
          <p:cNvSpPr>
            <a:spLocks noGrp="1"/>
          </p:cNvSpPr>
          <p:nvPr>
            <p:ph type="sldNum" sz="quarter" idx="11"/>
          </p:nvPr>
        </p:nvSpPr>
        <p:spPr/>
        <p:txBody>
          <a:bodyPr/>
          <a:lstStyle/>
          <a:p>
            <a:fld id="{1F90F471-3972-4120-B8B3-0237DE626C35}" type="slidenum">
              <a:rPr lang="en-US" smtClean="0"/>
              <a:pPr/>
              <a:t>24</a:t>
            </a:fld>
            <a:endParaRPr lang="en-US" dirty="0"/>
          </a:p>
        </p:txBody>
      </p:sp>
    </p:spTree>
    <p:extLst>
      <p:ext uri="{BB962C8B-B14F-4D97-AF65-F5344CB8AC3E}">
        <p14:creationId xmlns:p14="http://schemas.microsoft.com/office/powerpoint/2010/main" val="10224715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6E8C83-5604-6800-8503-08C9674A39D3}"/>
              </a:ext>
            </a:extLst>
          </p:cNvPr>
          <p:cNvSpPr>
            <a:spLocks noGrp="1"/>
          </p:cNvSpPr>
          <p:nvPr>
            <p:ph type="title"/>
          </p:nvPr>
        </p:nvSpPr>
        <p:spPr/>
        <p:txBody>
          <a:bodyPr/>
          <a:lstStyle/>
          <a:p>
            <a:r>
              <a:rPr lang="de-CH" b="1" i="0" dirty="0">
                <a:solidFill>
                  <a:srgbClr val="242424"/>
                </a:solidFill>
                <a:effectLst/>
                <a:latin typeface="Segoe UI" panose="020B0502040204020203" pitchFamily="34" charset="0"/>
              </a:rPr>
              <a:t>Use Case: </a:t>
            </a:r>
            <a:r>
              <a:rPr lang="de-CH" b="1" i="0" dirty="0" err="1">
                <a:solidFill>
                  <a:srgbClr val="242424"/>
                </a:solidFill>
                <a:effectLst/>
                <a:latin typeface="Segoe UI" panose="020B0502040204020203" pitchFamily="34" charset="0"/>
              </a:rPr>
              <a:t>Automated</a:t>
            </a:r>
            <a:r>
              <a:rPr lang="de-CH" b="1" i="0" dirty="0">
                <a:solidFill>
                  <a:srgbClr val="242424"/>
                </a:solidFill>
                <a:effectLst/>
                <a:latin typeface="Segoe UI" panose="020B0502040204020203" pitchFamily="34" charset="0"/>
              </a:rPr>
              <a:t> </a:t>
            </a:r>
            <a:r>
              <a:rPr lang="de-CH" b="1" i="0" dirty="0" err="1">
                <a:solidFill>
                  <a:srgbClr val="242424"/>
                </a:solidFill>
                <a:effectLst/>
                <a:latin typeface="Segoe UI" panose="020B0502040204020203" pitchFamily="34" charset="0"/>
              </a:rPr>
              <a:t>Remediation</a:t>
            </a:r>
            <a:endParaRPr lang="de-CH" dirty="0"/>
          </a:p>
        </p:txBody>
      </p:sp>
      <p:sp>
        <p:nvSpPr>
          <p:cNvPr id="3" name="Inhaltsplatzhalter 2">
            <a:extLst>
              <a:ext uri="{FF2B5EF4-FFF2-40B4-BE49-F238E27FC236}">
                <a16:creationId xmlns:a16="http://schemas.microsoft.com/office/drawing/2014/main" id="{998C4BBF-A242-24EA-B3CA-4B13BF528F10}"/>
              </a:ext>
            </a:extLst>
          </p:cNvPr>
          <p:cNvSpPr>
            <a:spLocks noGrp="1"/>
          </p:cNvSpPr>
          <p:nvPr>
            <p:ph sz="quarter" idx="10"/>
          </p:nvPr>
        </p:nvSpPr>
        <p:spPr/>
        <p:txBody>
          <a:bodyPr/>
          <a:lstStyle/>
          <a:p>
            <a:endParaRPr lang="de-CH"/>
          </a:p>
        </p:txBody>
      </p:sp>
      <p:sp>
        <p:nvSpPr>
          <p:cNvPr id="4" name="Fußzeilenplatzhalter 3">
            <a:extLst>
              <a:ext uri="{FF2B5EF4-FFF2-40B4-BE49-F238E27FC236}">
                <a16:creationId xmlns:a16="http://schemas.microsoft.com/office/drawing/2014/main" id="{2D039DF2-BF9E-9282-B390-A81448E0838A}"/>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5" name="Foliennummernplatzhalter 4">
            <a:extLst>
              <a:ext uri="{FF2B5EF4-FFF2-40B4-BE49-F238E27FC236}">
                <a16:creationId xmlns:a16="http://schemas.microsoft.com/office/drawing/2014/main" id="{97343006-E830-249D-A108-601C1138EE1C}"/>
              </a:ext>
            </a:extLst>
          </p:cNvPr>
          <p:cNvSpPr>
            <a:spLocks noGrp="1"/>
          </p:cNvSpPr>
          <p:nvPr>
            <p:ph type="sldNum" sz="quarter" idx="11"/>
          </p:nvPr>
        </p:nvSpPr>
        <p:spPr/>
        <p:txBody>
          <a:bodyPr/>
          <a:lstStyle/>
          <a:p>
            <a:fld id="{1F90F471-3972-4120-B8B3-0237DE626C35}" type="slidenum">
              <a:rPr lang="en-US" smtClean="0"/>
              <a:pPr/>
              <a:t>25</a:t>
            </a:fld>
            <a:endParaRPr lang="en-US" dirty="0"/>
          </a:p>
        </p:txBody>
      </p:sp>
    </p:spTree>
    <p:extLst>
      <p:ext uri="{BB962C8B-B14F-4D97-AF65-F5344CB8AC3E}">
        <p14:creationId xmlns:p14="http://schemas.microsoft.com/office/powerpoint/2010/main" val="8030057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a:extLst>
              <a:ext uri="{FF2B5EF4-FFF2-40B4-BE49-F238E27FC236}">
                <a16:creationId xmlns:a16="http://schemas.microsoft.com/office/drawing/2014/main" id="{81C32163-2FCE-1D0A-32E6-87C45FE8B73F}"/>
              </a:ext>
            </a:extLst>
          </p:cNvPr>
          <p:cNvSpPr>
            <a:spLocks noGrp="1"/>
          </p:cNvSpPr>
          <p:nvPr>
            <p:ph type="title"/>
          </p:nvPr>
        </p:nvSpPr>
        <p:spPr/>
        <p:txBody>
          <a:bodyPr/>
          <a:lstStyle/>
          <a:p>
            <a:r>
              <a:rPr lang="en-GB" dirty="0"/>
              <a:t>Advanced Topics</a:t>
            </a:r>
            <a:endParaRPr lang="en-CH" dirty="0"/>
          </a:p>
        </p:txBody>
      </p:sp>
      <p:sp>
        <p:nvSpPr>
          <p:cNvPr id="39" name="Text Placeholder 38">
            <a:extLst>
              <a:ext uri="{FF2B5EF4-FFF2-40B4-BE49-F238E27FC236}">
                <a16:creationId xmlns:a16="http://schemas.microsoft.com/office/drawing/2014/main" id="{A6E29AF1-44F3-982F-705B-C75E1D360B58}"/>
              </a:ext>
            </a:extLst>
          </p:cNvPr>
          <p:cNvSpPr>
            <a:spLocks noGrp="1"/>
          </p:cNvSpPr>
          <p:nvPr>
            <p:ph type="body" idx="10"/>
          </p:nvPr>
        </p:nvSpPr>
        <p:spPr/>
        <p:txBody>
          <a:bodyPr/>
          <a:lstStyle/>
          <a:p>
            <a:r>
              <a:rPr lang="de-CH" dirty="0"/>
              <a:t>3</a:t>
            </a:r>
            <a:endParaRPr lang="en-CH" dirty="0"/>
          </a:p>
        </p:txBody>
      </p:sp>
      <p:sp>
        <p:nvSpPr>
          <p:cNvPr id="40" name="Text Placeholder 39">
            <a:extLst>
              <a:ext uri="{FF2B5EF4-FFF2-40B4-BE49-F238E27FC236}">
                <a16:creationId xmlns:a16="http://schemas.microsoft.com/office/drawing/2014/main" id="{F812FB05-C283-CDA9-B557-B5415BD2668A}"/>
              </a:ext>
            </a:extLst>
          </p:cNvPr>
          <p:cNvSpPr>
            <a:spLocks noGrp="1"/>
          </p:cNvSpPr>
          <p:nvPr>
            <p:ph type="body" sz="quarter" idx="15"/>
          </p:nvPr>
        </p:nvSpPr>
        <p:spPr/>
        <p:txBody>
          <a:bodyPr/>
          <a:lstStyle/>
          <a:p>
            <a:r>
              <a:rPr lang="en-GB" dirty="0"/>
              <a:t>What about the Database Security?</a:t>
            </a:r>
            <a:endParaRPr lang="en-CH" dirty="0"/>
          </a:p>
        </p:txBody>
      </p:sp>
      <p:sp>
        <p:nvSpPr>
          <p:cNvPr id="36" name="Footer Placeholder 35">
            <a:extLst>
              <a:ext uri="{FF2B5EF4-FFF2-40B4-BE49-F238E27FC236}">
                <a16:creationId xmlns:a16="http://schemas.microsoft.com/office/drawing/2014/main" id="{D14BE949-61B3-1CD1-A107-50B467A7CC86}"/>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37" name="Slide Number Placeholder 36">
            <a:extLst>
              <a:ext uri="{FF2B5EF4-FFF2-40B4-BE49-F238E27FC236}">
                <a16:creationId xmlns:a16="http://schemas.microsoft.com/office/drawing/2014/main" id="{77419519-CF95-EE0E-2030-F4F25194BCB4}"/>
              </a:ext>
            </a:extLst>
          </p:cNvPr>
          <p:cNvSpPr>
            <a:spLocks noGrp="1"/>
          </p:cNvSpPr>
          <p:nvPr>
            <p:ph type="sldNum" sz="quarter" idx="17"/>
          </p:nvPr>
        </p:nvSpPr>
        <p:spPr/>
        <p:txBody>
          <a:bodyPr/>
          <a:lstStyle/>
          <a:p>
            <a:fld id="{1F90F471-3972-4120-B8B3-0237DE626C35}" type="slidenum">
              <a:rPr lang="en-US" smtClean="0"/>
              <a:pPr/>
              <a:t>26</a:t>
            </a:fld>
            <a:endParaRPr lang="en-US" dirty="0"/>
          </a:p>
        </p:txBody>
      </p:sp>
    </p:spTree>
    <p:extLst>
      <p:ext uri="{BB962C8B-B14F-4D97-AF65-F5344CB8AC3E}">
        <p14:creationId xmlns:p14="http://schemas.microsoft.com/office/powerpoint/2010/main" val="17356395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6E8C83-5604-6800-8503-08C9674A39D3}"/>
              </a:ext>
            </a:extLst>
          </p:cNvPr>
          <p:cNvSpPr>
            <a:spLocks noGrp="1"/>
          </p:cNvSpPr>
          <p:nvPr>
            <p:ph type="title"/>
          </p:nvPr>
        </p:nvSpPr>
        <p:spPr/>
        <p:txBody>
          <a:bodyPr/>
          <a:lstStyle/>
          <a:p>
            <a:r>
              <a:rPr lang="en-US" b="1" i="0" dirty="0">
                <a:solidFill>
                  <a:srgbClr val="242424"/>
                </a:solidFill>
                <a:effectLst/>
                <a:latin typeface="Segoe UI" panose="020B0502040204020203" pitchFamily="34" charset="0"/>
              </a:rPr>
              <a:t>Integrating Cloud Guard with Other OCI Services</a:t>
            </a:r>
            <a:endParaRPr lang="de-CH" dirty="0"/>
          </a:p>
        </p:txBody>
      </p:sp>
      <p:sp>
        <p:nvSpPr>
          <p:cNvPr id="3" name="Inhaltsplatzhalter 2">
            <a:extLst>
              <a:ext uri="{FF2B5EF4-FFF2-40B4-BE49-F238E27FC236}">
                <a16:creationId xmlns:a16="http://schemas.microsoft.com/office/drawing/2014/main" id="{998C4BBF-A242-24EA-B3CA-4B13BF528F10}"/>
              </a:ext>
            </a:extLst>
          </p:cNvPr>
          <p:cNvSpPr>
            <a:spLocks noGrp="1"/>
          </p:cNvSpPr>
          <p:nvPr>
            <p:ph sz="quarter" idx="10"/>
          </p:nvPr>
        </p:nvSpPr>
        <p:spPr/>
        <p:txBody>
          <a:bodyPr/>
          <a:lstStyle/>
          <a:p>
            <a:r>
              <a:rPr lang="en-US" b="0" i="0" dirty="0">
                <a:solidFill>
                  <a:srgbClr val="242424"/>
                </a:solidFill>
                <a:effectLst/>
                <a:latin typeface="Segoe UI" panose="020B0502040204020203" pitchFamily="34" charset="0"/>
              </a:rPr>
              <a:t>Integration with OCI Events, Notifications, and Functions</a:t>
            </a:r>
            <a:r>
              <a:rPr lang="en-US" b="0" i="0" u="none" strike="noStrike" dirty="0">
                <a:solidFill>
                  <a:srgbClr val="242424"/>
                </a:solidFill>
                <a:effectLst/>
                <a:latin typeface="var(--fontFamilyBase)"/>
              </a:rPr>
              <a:t>1</a:t>
            </a:r>
            <a:endParaRPr lang="en-US" b="0" i="0" dirty="0">
              <a:solidFill>
                <a:srgbClr val="242424"/>
              </a:solidFill>
              <a:effectLst/>
              <a:latin typeface="Segoe UI" panose="020B0502040204020203" pitchFamily="34" charset="0"/>
            </a:endParaRPr>
          </a:p>
          <a:p>
            <a:pPr marL="0" indent="0">
              <a:buNone/>
            </a:pPr>
            <a:endParaRPr lang="de-CH" dirty="0"/>
          </a:p>
        </p:txBody>
      </p:sp>
      <p:sp>
        <p:nvSpPr>
          <p:cNvPr id="4" name="Fußzeilenplatzhalter 3">
            <a:extLst>
              <a:ext uri="{FF2B5EF4-FFF2-40B4-BE49-F238E27FC236}">
                <a16:creationId xmlns:a16="http://schemas.microsoft.com/office/drawing/2014/main" id="{2D039DF2-BF9E-9282-B390-A81448E0838A}"/>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5" name="Foliennummernplatzhalter 4">
            <a:extLst>
              <a:ext uri="{FF2B5EF4-FFF2-40B4-BE49-F238E27FC236}">
                <a16:creationId xmlns:a16="http://schemas.microsoft.com/office/drawing/2014/main" id="{97343006-E830-249D-A108-601C1138EE1C}"/>
              </a:ext>
            </a:extLst>
          </p:cNvPr>
          <p:cNvSpPr>
            <a:spLocks noGrp="1"/>
          </p:cNvSpPr>
          <p:nvPr>
            <p:ph type="sldNum" sz="quarter" idx="11"/>
          </p:nvPr>
        </p:nvSpPr>
        <p:spPr/>
        <p:txBody>
          <a:bodyPr/>
          <a:lstStyle/>
          <a:p>
            <a:fld id="{1F90F471-3972-4120-B8B3-0237DE626C35}" type="slidenum">
              <a:rPr lang="en-US" smtClean="0"/>
              <a:pPr/>
              <a:t>27</a:t>
            </a:fld>
            <a:endParaRPr lang="en-US" dirty="0"/>
          </a:p>
        </p:txBody>
      </p:sp>
    </p:spTree>
    <p:extLst>
      <p:ext uri="{BB962C8B-B14F-4D97-AF65-F5344CB8AC3E}">
        <p14:creationId xmlns:p14="http://schemas.microsoft.com/office/powerpoint/2010/main" val="33583348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6E8C83-5604-6800-8503-08C9674A39D3}"/>
              </a:ext>
            </a:extLst>
          </p:cNvPr>
          <p:cNvSpPr>
            <a:spLocks noGrp="1"/>
          </p:cNvSpPr>
          <p:nvPr>
            <p:ph type="title"/>
          </p:nvPr>
        </p:nvSpPr>
        <p:spPr/>
        <p:txBody>
          <a:bodyPr/>
          <a:lstStyle/>
          <a:p>
            <a:r>
              <a:rPr lang="en-US" b="1" i="0" dirty="0">
                <a:solidFill>
                  <a:srgbClr val="242424"/>
                </a:solidFill>
                <a:effectLst/>
                <a:latin typeface="Segoe UI" panose="020B0502040204020203" pitchFamily="34" charset="0"/>
              </a:rPr>
              <a:t>Best Practices for Using OCI Cloud Guard</a:t>
            </a:r>
            <a:endParaRPr lang="de-CH" dirty="0"/>
          </a:p>
        </p:txBody>
      </p:sp>
      <p:sp>
        <p:nvSpPr>
          <p:cNvPr id="3" name="Inhaltsplatzhalter 2">
            <a:extLst>
              <a:ext uri="{FF2B5EF4-FFF2-40B4-BE49-F238E27FC236}">
                <a16:creationId xmlns:a16="http://schemas.microsoft.com/office/drawing/2014/main" id="{998C4BBF-A242-24EA-B3CA-4B13BF528F10}"/>
              </a:ext>
            </a:extLst>
          </p:cNvPr>
          <p:cNvSpPr>
            <a:spLocks noGrp="1"/>
          </p:cNvSpPr>
          <p:nvPr>
            <p:ph sz="quarter" idx="10"/>
          </p:nvPr>
        </p:nvSpPr>
        <p:spPr/>
        <p:txBody>
          <a:bodyPr/>
          <a:lstStyle/>
          <a:p>
            <a:endParaRPr lang="de-CH"/>
          </a:p>
        </p:txBody>
      </p:sp>
      <p:sp>
        <p:nvSpPr>
          <p:cNvPr id="4" name="Fußzeilenplatzhalter 3">
            <a:extLst>
              <a:ext uri="{FF2B5EF4-FFF2-40B4-BE49-F238E27FC236}">
                <a16:creationId xmlns:a16="http://schemas.microsoft.com/office/drawing/2014/main" id="{2D039DF2-BF9E-9282-B390-A81448E0838A}"/>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5" name="Foliennummernplatzhalter 4">
            <a:extLst>
              <a:ext uri="{FF2B5EF4-FFF2-40B4-BE49-F238E27FC236}">
                <a16:creationId xmlns:a16="http://schemas.microsoft.com/office/drawing/2014/main" id="{97343006-E830-249D-A108-601C1138EE1C}"/>
              </a:ext>
            </a:extLst>
          </p:cNvPr>
          <p:cNvSpPr>
            <a:spLocks noGrp="1"/>
          </p:cNvSpPr>
          <p:nvPr>
            <p:ph type="sldNum" sz="quarter" idx="11"/>
          </p:nvPr>
        </p:nvSpPr>
        <p:spPr/>
        <p:txBody>
          <a:bodyPr/>
          <a:lstStyle/>
          <a:p>
            <a:fld id="{1F90F471-3972-4120-B8B3-0237DE626C35}" type="slidenum">
              <a:rPr lang="en-US" smtClean="0"/>
              <a:pPr/>
              <a:t>28</a:t>
            </a:fld>
            <a:endParaRPr lang="en-US" dirty="0"/>
          </a:p>
        </p:txBody>
      </p:sp>
    </p:spTree>
    <p:extLst>
      <p:ext uri="{BB962C8B-B14F-4D97-AF65-F5344CB8AC3E}">
        <p14:creationId xmlns:p14="http://schemas.microsoft.com/office/powerpoint/2010/main" val="25675366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a:extLst>
              <a:ext uri="{FF2B5EF4-FFF2-40B4-BE49-F238E27FC236}">
                <a16:creationId xmlns:a16="http://schemas.microsoft.com/office/drawing/2014/main" id="{81C32163-2FCE-1D0A-32E6-87C45FE8B73F}"/>
              </a:ext>
            </a:extLst>
          </p:cNvPr>
          <p:cNvSpPr>
            <a:spLocks noGrp="1"/>
          </p:cNvSpPr>
          <p:nvPr>
            <p:ph type="title"/>
          </p:nvPr>
        </p:nvSpPr>
        <p:spPr/>
        <p:txBody>
          <a:bodyPr/>
          <a:lstStyle/>
          <a:p>
            <a:r>
              <a:rPr lang="de-CH" dirty="0"/>
              <a:t>Hands-On Labs</a:t>
            </a:r>
            <a:endParaRPr lang="en-CH" dirty="0"/>
          </a:p>
        </p:txBody>
      </p:sp>
      <p:sp>
        <p:nvSpPr>
          <p:cNvPr id="39" name="Text Placeholder 38">
            <a:extLst>
              <a:ext uri="{FF2B5EF4-FFF2-40B4-BE49-F238E27FC236}">
                <a16:creationId xmlns:a16="http://schemas.microsoft.com/office/drawing/2014/main" id="{A6E29AF1-44F3-982F-705B-C75E1D360B58}"/>
              </a:ext>
            </a:extLst>
          </p:cNvPr>
          <p:cNvSpPr>
            <a:spLocks noGrp="1"/>
          </p:cNvSpPr>
          <p:nvPr>
            <p:ph type="body" idx="10"/>
          </p:nvPr>
        </p:nvSpPr>
        <p:spPr/>
        <p:txBody>
          <a:bodyPr/>
          <a:lstStyle/>
          <a:p>
            <a:r>
              <a:rPr lang="de-CH" dirty="0"/>
              <a:t>4</a:t>
            </a:r>
            <a:endParaRPr lang="en-CH" dirty="0"/>
          </a:p>
        </p:txBody>
      </p:sp>
      <p:sp>
        <p:nvSpPr>
          <p:cNvPr id="40" name="Text Placeholder 39">
            <a:extLst>
              <a:ext uri="{FF2B5EF4-FFF2-40B4-BE49-F238E27FC236}">
                <a16:creationId xmlns:a16="http://schemas.microsoft.com/office/drawing/2014/main" id="{F812FB05-C283-CDA9-B557-B5415BD2668A}"/>
              </a:ext>
            </a:extLst>
          </p:cNvPr>
          <p:cNvSpPr>
            <a:spLocks noGrp="1"/>
          </p:cNvSpPr>
          <p:nvPr>
            <p:ph type="body" sz="quarter" idx="15"/>
          </p:nvPr>
        </p:nvSpPr>
        <p:spPr/>
        <p:txBody>
          <a:bodyPr/>
          <a:lstStyle/>
          <a:p>
            <a:r>
              <a:rPr lang="en-GB" dirty="0"/>
              <a:t>What about the Database Security?</a:t>
            </a:r>
            <a:endParaRPr lang="en-CH" dirty="0"/>
          </a:p>
        </p:txBody>
      </p:sp>
      <p:sp>
        <p:nvSpPr>
          <p:cNvPr id="36" name="Footer Placeholder 35">
            <a:extLst>
              <a:ext uri="{FF2B5EF4-FFF2-40B4-BE49-F238E27FC236}">
                <a16:creationId xmlns:a16="http://schemas.microsoft.com/office/drawing/2014/main" id="{D14BE949-61B3-1CD1-A107-50B467A7CC86}"/>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37" name="Slide Number Placeholder 36">
            <a:extLst>
              <a:ext uri="{FF2B5EF4-FFF2-40B4-BE49-F238E27FC236}">
                <a16:creationId xmlns:a16="http://schemas.microsoft.com/office/drawing/2014/main" id="{77419519-CF95-EE0E-2030-F4F25194BCB4}"/>
              </a:ext>
            </a:extLst>
          </p:cNvPr>
          <p:cNvSpPr>
            <a:spLocks noGrp="1"/>
          </p:cNvSpPr>
          <p:nvPr>
            <p:ph type="sldNum" sz="quarter" idx="17"/>
          </p:nvPr>
        </p:nvSpPr>
        <p:spPr/>
        <p:txBody>
          <a:bodyPr/>
          <a:lstStyle/>
          <a:p>
            <a:fld id="{1F90F471-3972-4120-B8B3-0237DE626C35}" type="slidenum">
              <a:rPr lang="en-US" smtClean="0"/>
              <a:pPr/>
              <a:t>29</a:t>
            </a:fld>
            <a:endParaRPr lang="en-US" dirty="0"/>
          </a:p>
        </p:txBody>
      </p:sp>
    </p:spTree>
    <p:extLst>
      <p:ext uri="{BB962C8B-B14F-4D97-AF65-F5344CB8AC3E}">
        <p14:creationId xmlns:p14="http://schemas.microsoft.com/office/powerpoint/2010/main" val="39082977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0EB2A3E7-FA19-C093-52DD-22855C4C3CAA}"/>
              </a:ext>
            </a:extLst>
          </p:cNvPr>
          <p:cNvSpPr>
            <a:spLocks noGrp="1"/>
          </p:cNvSpPr>
          <p:nvPr>
            <p:ph type="title"/>
          </p:nvPr>
        </p:nvSpPr>
        <p:spPr/>
        <p:txBody>
          <a:bodyPr/>
          <a:lstStyle/>
          <a:p>
            <a:r>
              <a:rPr lang="en-CH" dirty="0"/>
              <a:t>Stefan Oehrli – Modern Data Platforms</a:t>
            </a:r>
          </a:p>
        </p:txBody>
      </p:sp>
      <p:sp>
        <p:nvSpPr>
          <p:cNvPr id="19" name="Content Placeholder 18">
            <a:extLst>
              <a:ext uri="{FF2B5EF4-FFF2-40B4-BE49-F238E27FC236}">
                <a16:creationId xmlns:a16="http://schemas.microsoft.com/office/drawing/2014/main" id="{4452556C-B31F-2462-1421-20345716F8ED}"/>
              </a:ext>
            </a:extLst>
          </p:cNvPr>
          <p:cNvSpPr>
            <a:spLocks noGrp="1"/>
          </p:cNvSpPr>
          <p:nvPr>
            <p:ph sz="half" idx="18"/>
          </p:nvPr>
        </p:nvSpPr>
        <p:spPr>
          <a:xfrm>
            <a:off x="3557306" y="1947672"/>
            <a:ext cx="8253694" cy="4361688"/>
          </a:xfrm>
        </p:spPr>
        <p:txBody>
          <a:bodyPr/>
          <a:lstStyle/>
          <a:p>
            <a:pPr marL="0" indent="0">
              <a:buNone/>
            </a:pPr>
            <a:r>
              <a:rPr lang="en-GB" sz="2400" dirty="0">
                <a:latin typeface="+mj-lt"/>
              </a:rPr>
              <a:t>Tech Architecture Manager</a:t>
            </a:r>
          </a:p>
          <a:p>
            <a:r>
              <a:rPr lang="en-GB" dirty="0"/>
              <a:t>Since 1997 </a:t>
            </a:r>
            <a:r>
              <a:rPr lang="en-GB" dirty="0">
                <a:latin typeface="+mj-lt"/>
              </a:rPr>
              <a:t>active</a:t>
            </a:r>
            <a:r>
              <a:rPr lang="en-GB" dirty="0"/>
              <a:t> in various IT areas</a:t>
            </a:r>
          </a:p>
          <a:p>
            <a:r>
              <a:rPr lang="en-GB" dirty="0"/>
              <a:t>More than 25 years of experience in Oracle databases</a:t>
            </a:r>
          </a:p>
          <a:p>
            <a:r>
              <a:rPr lang="en-GB" dirty="0"/>
              <a:t>Focus: Protecting data and operating databases securely</a:t>
            </a:r>
          </a:p>
          <a:p>
            <a:pPr lvl="1"/>
            <a:r>
              <a:rPr lang="en-GB" dirty="0"/>
              <a:t>Security assessments and reviews </a:t>
            </a:r>
          </a:p>
          <a:p>
            <a:pPr lvl="1"/>
            <a:r>
              <a:rPr lang="en-GB" dirty="0"/>
              <a:t>Database security concepts and their implementation</a:t>
            </a:r>
          </a:p>
          <a:p>
            <a:pPr lvl="1"/>
            <a:r>
              <a:rPr lang="en-GB" dirty="0"/>
              <a:t>Oracle Backup &amp; Recovery concepts and troubleshooting</a:t>
            </a:r>
          </a:p>
          <a:p>
            <a:pPr lvl="1"/>
            <a:r>
              <a:rPr lang="en-GB" dirty="0"/>
              <a:t>Oracle Enterprise User and Advanced Security, DB Vault, …</a:t>
            </a:r>
          </a:p>
          <a:p>
            <a:pPr lvl="1"/>
            <a:r>
              <a:rPr lang="en-GB" dirty="0"/>
              <a:t>Oracle Directory Services</a:t>
            </a:r>
          </a:p>
          <a:p>
            <a:r>
              <a:rPr lang="en-GB" dirty="0"/>
              <a:t>Co-author of the book The Oracle DBA (</a:t>
            </a:r>
            <a:r>
              <a:rPr lang="en-GB" dirty="0" err="1"/>
              <a:t>Hanser</a:t>
            </a:r>
            <a:r>
              <a:rPr lang="en-GB" dirty="0"/>
              <a:t>, 2016/07)</a:t>
            </a:r>
          </a:p>
          <a:p>
            <a:endParaRPr lang="en-GB" dirty="0"/>
          </a:p>
          <a:p>
            <a:endParaRPr lang="en-CH" dirty="0"/>
          </a:p>
        </p:txBody>
      </p:sp>
      <p:sp>
        <p:nvSpPr>
          <p:cNvPr id="18" name="Text Placeholder 17">
            <a:extLst>
              <a:ext uri="{FF2B5EF4-FFF2-40B4-BE49-F238E27FC236}">
                <a16:creationId xmlns:a16="http://schemas.microsoft.com/office/drawing/2014/main" id="{001F38FA-914A-C263-D471-9E1571B92756}"/>
              </a:ext>
            </a:extLst>
          </p:cNvPr>
          <p:cNvSpPr>
            <a:spLocks noGrp="1"/>
          </p:cNvSpPr>
          <p:nvPr>
            <p:ph type="body" sz="quarter" idx="11"/>
          </p:nvPr>
        </p:nvSpPr>
        <p:spPr/>
        <p:txBody>
          <a:bodyPr/>
          <a:lstStyle/>
          <a:p>
            <a:r>
              <a:rPr lang="en-CH" dirty="0"/>
              <a:t>stefan.oehrli@accenture.com</a:t>
            </a:r>
          </a:p>
        </p:txBody>
      </p:sp>
      <p:pic>
        <p:nvPicPr>
          <p:cNvPr id="20" name="Picture Placeholder 4">
            <a:extLst>
              <a:ext uri="{FF2B5EF4-FFF2-40B4-BE49-F238E27FC236}">
                <a16:creationId xmlns:a16="http://schemas.microsoft.com/office/drawing/2014/main" id="{F9A27A75-13C8-8DF7-897B-0C1C1AE44858}"/>
              </a:ext>
            </a:extLst>
          </p:cNvPr>
          <p:cNvPicPr>
            <a:picLocks noGrp="1" noChangeAspect="1"/>
          </p:cNvPicPr>
          <p:nvPr>
            <p:ph sz="half" idx="2"/>
          </p:nvPr>
        </p:nvPicPr>
        <p:blipFill rotWithShape="1">
          <a:blip r:embed="rId2"/>
          <a:srcRect l="15160" t="2567" r="12494" b="41271"/>
          <a:stretch/>
        </p:blipFill>
        <p:spPr>
          <a:xfrm>
            <a:off x="593464" y="1809223"/>
            <a:ext cx="2877668" cy="2978527"/>
          </a:xfrm>
          <a:prstGeom prst="ellipse">
            <a:avLst/>
          </a:prstGeom>
          <a:ln w="3175" cap="rnd">
            <a:solidFill>
              <a:schemeClr val="accent6"/>
            </a:solidFill>
          </a:ln>
          <a:effectLst>
            <a:outerShdw blurRad="381000" dist="152400" dir="5400000" sx="-80000" sy="-18000" rotWithShape="0">
              <a:srgbClr val="000000">
                <a:alpha val="20000"/>
              </a:srgbClr>
            </a:outerShdw>
          </a:effectLst>
          <a:scene3d>
            <a:camera prst="orthographicFront"/>
            <a:lightRig rig="contrasting" dir="t">
              <a:rot lat="0" lon="0" rev="3000000"/>
            </a:lightRig>
          </a:scene3d>
          <a:sp3d contourW="7620">
            <a:bevelT w="95250" h="31750"/>
            <a:contourClr>
              <a:srgbClr val="333333"/>
            </a:contourClr>
          </a:sp3d>
        </p:spPr>
      </p:pic>
      <p:sp>
        <p:nvSpPr>
          <p:cNvPr id="29" name="Content Placeholder 11">
            <a:extLst>
              <a:ext uri="{FF2B5EF4-FFF2-40B4-BE49-F238E27FC236}">
                <a16:creationId xmlns:a16="http://schemas.microsoft.com/office/drawing/2014/main" id="{91D68ABB-A757-F8E3-D746-A57545B76C6D}"/>
              </a:ext>
            </a:extLst>
          </p:cNvPr>
          <p:cNvSpPr txBox="1">
            <a:spLocks/>
          </p:cNvSpPr>
          <p:nvPr/>
        </p:nvSpPr>
        <p:spPr>
          <a:xfrm>
            <a:off x="3891752" y="5868705"/>
            <a:ext cx="2485307" cy="414339"/>
          </a:xfrm>
          <a:prstGeom prst="rect">
            <a:avLst/>
          </a:prstGeom>
        </p:spPr>
        <p:txBody>
          <a:bodyPr vert="horz" lIns="121920" tIns="60960" rIns="121920" bIns="60960" rtlCol="0">
            <a:normAutofit/>
          </a:bodyPr>
          <a:lstStyle>
            <a:lvl1pPr marL="257175" indent="-171450" algn="l" defTabSz="685800" rtl="0" eaLnBrk="1" latinLnBrk="0" hangingPunct="1">
              <a:lnSpc>
                <a:spcPct val="90000"/>
              </a:lnSpc>
              <a:spcBef>
                <a:spcPts val="300"/>
              </a:spcBef>
              <a:spcAft>
                <a:spcPts val="300"/>
              </a:spcAft>
              <a:buClr>
                <a:srgbClr val="9600FF"/>
              </a:buClr>
              <a:buFont typeface="Wingdings" pitchFamily="2" charset="2"/>
              <a:buChar char="§"/>
              <a:defRPr lang="en-US" sz="1350" b="0" kern="1200" baseline="0" dirty="0" smtClean="0">
                <a:solidFill>
                  <a:srgbClr val="1E2846"/>
                </a:solidFill>
                <a:latin typeface="Open Sans Light" panose="020B0306030504020204" pitchFamily="34" charset="0"/>
                <a:ea typeface="Open Sans Light" panose="020B0306030504020204" pitchFamily="34" charset="0"/>
                <a:cs typeface="Open Sans Light" panose="020B0306030504020204" pitchFamily="34" charset="0"/>
              </a:defRPr>
            </a:lvl1pPr>
            <a:lvl2pPr marL="557213" indent="-171450" algn="l" defTabSz="685800" rtl="0" eaLnBrk="1" latinLnBrk="0" hangingPunct="1">
              <a:lnSpc>
                <a:spcPct val="90000"/>
              </a:lnSpc>
              <a:spcBef>
                <a:spcPts val="300"/>
              </a:spcBef>
              <a:spcAft>
                <a:spcPts val="300"/>
              </a:spcAft>
              <a:buClr>
                <a:srgbClr val="9600FF"/>
              </a:buClr>
              <a:buFont typeface="Courier New" panose="02070309020205020404" pitchFamily="49" charset="0"/>
              <a:buChar char="o"/>
              <a:defRPr lang="en-US" sz="1350" b="0" kern="1200" baseline="0" dirty="0" smtClean="0">
                <a:solidFill>
                  <a:srgbClr val="1E2846"/>
                </a:solidFill>
                <a:latin typeface="Open Sans Light" panose="020B0306030504020204" pitchFamily="34" charset="0"/>
                <a:ea typeface="Open Sans Light" panose="020B0306030504020204" pitchFamily="34" charset="0"/>
                <a:cs typeface="Open Sans Light" panose="020B0306030504020204" pitchFamily="34" charset="0"/>
              </a:defRPr>
            </a:lvl2pPr>
            <a:lvl3pPr marL="857250" indent="-171450" algn="l" defTabSz="685800" rtl="0" eaLnBrk="1" latinLnBrk="0" hangingPunct="1">
              <a:lnSpc>
                <a:spcPct val="90000"/>
              </a:lnSpc>
              <a:spcBef>
                <a:spcPts val="300"/>
              </a:spcBef>
              <a:spcAft>
                <a:spcPts val="300"/>
              </a:spcAft>
              <a:buClr>
                <a:srgbClr val="9600FF"/>
              </a:buClr>
              <a:buFont typeface="Courier New" panose="02070309020205020404" pitchFamily="49" charset="0"/>
              <a:buChar char="o"/>
              <a:defRPr lang="en-US" sz="1350" b="0" kern="1200" baseline="0" dirty="0" smtClean="0">
                <a:solidFill>
                  <a:srgbClr val="1E2846"/>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200150" indent="-171450" algn="l" defTabSz="685800" rtl="0" eaLnBrk="1" latinLnBrk="0" hangingPunct="1">
              <a:lnSpc>
                <a:spcPct val="90000"/>
              </a:lnSpc>
              <a:spcBef>
                <a:spcPts val="300"/>
              </a:spcBef>
              <a:spcAft>
                <a:spcPts val="300"/>
              </a:spcAft>
              <a:buClr>
                <a:srgbClr val="9600FF"/>
              </a:buClr>
              <a:buFont typeface="Courier New" panose="02070309020205020404" pitchFamily="49" charset="0"/>
              <a:buChar char="o"/>
              <a:defRPr lang="en-US" sz="1350" b="0" kern="1200" baseline="0" dirty="0" smtClean="0">
                <a:solidFill>
                  <a:srgbClr val="1E2846"/>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543050" indent="-171450" algn="l" defTabSz="685800" rtl="0" eaLnBrk="1" latinLnBrk="0" hangingPunct="1">
              <a:lnSpc>
                <a:spcPct val="90000"/>
              </a:lnSpc>
              <a:spcBef>
                <a:spcPts val="300"/>
              </a:spcBef>
              <a:spcAft>
                <a:spcPts val="300"/>
              </a:spcAft>
              <a:buClr>
                <a:srgbClr val="9600FF"/>
              </a:buClr>
              <a:buFont typeface="Courier New" panose="02070309020205020404" pitchFamily="49" charset="0"/>
              <a:buChar char="o"/>
              <a:defRPr lang="en-US" sz="1350" b="0" kern="1200" baseline="0" dirty="0">
                <a:solidFill>
                  <a:srgbClr val="1E2846"/>
                </a:solidFill>
                <a:latin typeface="Open Sans Light" panose="020B0306030504020204" pitchFamily="34" charset="0"/>
                <a:ea typeface="Open Sans Light" panose="020B0306030504020204" pitchFamily="34" charset="0"/>
                <a:cs typeface="Open Sans Light" panose="020B0306030504020204" pitchFamily="34"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114297" indent="0">
              <a:buNone/>
            </a:pPr>
            <a:r>
              <a:rPr lang="de-CH" sz="1800" dirty="0" err="1">
                <a:latin typeface="+mn-lt"/>
              </a:rPr>
              <a:t>oradba.ch</a:t>
            </a:r>
            <a:endParaRPr lang="de-CH" sz="1800" dirty="0">
              <a:latin typeface="+mn-lt"/>
            </a:endParaRPr>
          </a:p>
          <a:p>
            <a:endParaRPr lang="de-CH" sz="1800" dirty="0"/>
          </a:p>
        </p:txBody>
      </p:sp>
      <p:pic>
        <p:nvPicPr>
          <p:cNvPr id="31" name="Picture 30">
            <a:extLst>
              <a:ext uri="{FF2B5EF4-FFF2-40B4-BE49-F238E27FC236}">
                <a16:creationId xmlns:a16="http://schemas.microsoft.com/office/drawing/2014/main" id="{8462032C-0012-F97A-AD08-FF7EC647B76B}"/>
              </a:ext>
            </a:extLst>
          </p:cNvPr>
          <p:cNvPicPr>
            <a:picLocks noChangeAspect="1"/>
          </p:cNvPicPr>
          <p:nvPr/>
        </p:nvPicPr>
        <p:blipFill>
          <a:blip r:embed="rId3"/>
          <a:stretch>
            <a:fillRect/>
          </a:stretch>
        </p:blipFill>
        <p:spPr>
          <a:xfrm>
            <a:off x="3557306" y="5801394"/>
            <a:ext cx="548961" cy="548961"/>
          </a:xfrm>
          <a:prstGeom prst="rect">
            <a:avLst/>
          </a:prstGeom>
        </p:spPr>
      </p:pic>
      <p:pic>
        <p:nvPicPr>
          <p:cNvPr id="30" name="Picture 29" descr="Logo, icon&#10;&#10;Description automatically generated">
            <a:extLst>
              <a:ext uri="{FF2B5EF4-FFF2-40B4-BE49-F238E27FC236}">
                <a16:creationId xmlns:a16="http://schemas.microsoft.com/office/drawing/2014/main" id="{E6972F15-626C-0E12-876A-BDFDB11C854F}"/>
              </a:ext>
            </a:extLst>
          </p:cNvPr>
          <p:cNvPicPr>
            <a:picLocks noChangeAspect="1"/>
          </p:cNvPicPr>
          <p:nvPr/>
        </p:nvPicPr>
        <p:blipFill>
          <a:blip r:embed="rId4"/>
          <a:stretch>
            <a:fillRect/>
          </a:stretch>
        </p:blipFill>
        <p:spPr>
          <a:xfrm>
            <a:off x="5809085" y="5868705"/>
            <a:ext cx="453899" cy="453899"/>
          </a:xfrm>
          <a:prstGeom prst="rect">
            <a:avLst/>
          </a:prstGeom>
        </p:spPr>
      </p:pic>
      <p:sp>
        <p:nvSpPr>
          <p:cNvPr id="32" name="Content Placeholder 11">
            <a:extLst>
              <a:ext uri="{FF2B5EF4-FFF2-40B4-BE49-F238E27FC236}">
                <a16:creationId xmlns:a16="http://schemas.microsoft.com/office/drawing/2014/main" id="{C417181F-654B-F662-0DBB-9089B783A18D}"/>
              </a:ext>
            </a:extLst>
          </p:cNvPr>
          <p:cNvSpPr txBox="1">
            <a:spLocks/>
          </p:cNvSpPr>
          <p:nvPr/>
        </p:nvSpPr>
        <p:spPr>
          <a:xfrm>
            <a:off x="6096000" y="5895021"/>
            <a:ext cx="2485307" cy="414339"/>
          </a:xfrm>
          <a:prstGeom prst="rect">
            <a:avLst/>
          </a:prstGeom>
        </p:spPr>
        <p:txBody>
          <a:bodyPr vert="horz" lIns="121920" tIns="60960" rIns="121920" bIns="60960" rtlCol="0">
            <a:normAutofit/>
          </a:bodyPr>
          <a:lstStyle>
            <a:lvl1pPr marL="257175" indent="-171450" algn="l" defTabSz="685800" rtl="0" eaLnBrk="1" latinLnBrk="0" hangingPunct="1">
              <a:lnSpc>
                <a:spcPct val="90000"/>
              </a:lnSpc>
              <a:spcBef>
                <a:spcPts val="300"/>
              </a:spcBef>
              <a:spcAft>
                <a:spcPts val="300"/>
              </a:spcAft>
              <a:buClr>
                <a:srgbClr val="9600FF"/>
              </a:buClr>
              <a:buFont typeface="Wingdings" pitchFamily="2" charset="2"/>
              <a:buChar char="§"/>
              <a:defRPr lang="en-US" sz="1350" b="0" kern="1200" baseline="0" dirty="0" smtClean="0">
                <a:solidFill>
                  <a:srgbClr val="1E2846"/>
                </a:solidFill>
                <a:latin typeface="Open Sans Light" panose="020B0306030504020204" pitchFamily="34" charset="0"/>
                <a:ea typeface="Open Sans Light" panose="020B0306030504020204" pitchFamily="34" charset="0"/>
                <a:cs typeface="Open Sans Light" panose="020B0306030504020204" pitchFamily="34" charset="0"/>
              </a:defRPr>
            </a:lvl1pPr>
            <a:lvl2pPr marL="557213" indent="-171450" algn="l" defTabSz="685800" rtl="0" eaLnBrk="1" latinLnBrk="0" hangingPunct="1">
              <a:lnSpc>
                <a:spcPct val="90000"/>
              </a:lnSpc>
              <a:spcBef>
                <a:spcPts val="300"/>
              </a:spcBef>
              <a:spcAft>
                <a:spcPts val="300"/>
              </a:spcAft>
              <a:buClr>
                <a:srgbClr val="9600FF"/>
              </a:buClr>
              <a:buFont typeface="Courier New" panose="02070309020205020404" pitchFamily="49" charset="0"/>
              <a:buChar char="o"/>
              <a:defRPr lang="en-US" sz="1350" b="0" kern="1200" baseline="0" dirty="0" smtClean="0">
                <a:solidFill>
                  <a:srgbClr val="1E2846"/>
                </a:solidFill>
                <a:latin typeface="Open Sans Light" panose="020B0306030504020204" pitchFamily="34" charset="0"/>
                <a:ea typeface="Open Sans Light" panose="020B0306030504020204" pitchFamily="34" charset="0"/>
                <a:cs typeface="Open Sans Light" panose="020B0306030504020204" pitchFamily="34" charset="0"/>
              </a:defRPr>
            </a:lvl2pPr>
            <a:lvl3pPr marL="857250" indent="-171450" algn="l" defTabSz="685800" rtl="0" eaLnBrk="1" latinLnBrk="0" hangingPunct="1">
              <a:lnSpc>
                <a:spcPct val="90000"/>
              </a:lnSpc>
              <a:spcBef>
                <a:spcPts val="300"/>
              </a:spcBef>
              <a:spcAft>
                <a:spcPts val="300"/>
              </a:spcAft>
              <a:buClr>
                <a:srgbClr val="9600FF"/>
              </a:buClr>
              <a:buFont typeface="Courier New" panose="02070309020205020404" pitchFamily="49" charset="0"/>
              <a:buChar char="o"/>
              <a:defRPr lang="en-US" sz="1350" b="0" kern="1200" baseline="0" dirty="0" smtClean="0">
                <a:solidFill>
                  <a:srgbClr val="1E2846"/>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200150" indent="-171450" algn="l" defTabSz="685800" rtl="0" eaLnBrk="1" latinLnBrk="0" hangingPunct="1">
              <a:lnSpc>
                <a:spcPct val="90000"/>
              </a:lnSpc>
              <a:spcBef>
                <a:spcPts val="300"/>
              </a:spcBef>
              <a:spcAft>
                <a:spcPts val="300"/>
              </a:spcAft>
              <a:buClr>
                <a:srgbClr val="9600FF"/>
              </a:buClr>
              <a:buFont typeface="Courier New" panose="02070309020205020404" pitchFamily="49" charset="0"/>
              <a:buChar char="o"/>
              <a:defRPr lang="en-US" sz="1350" b="0" kern="1200" baseline="0" dirty="0" smtClean="0">
                <a:solidFill>
                  <a:srgbClr val="1E2846"/>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543050" indent="-171450" algn="l" defTabSz="685800" rtl="0" eaLnBrk="1" latinLnBrk="0" hangingPunct="1">
              <a:lnSpc>
                <a:spcPct val="90000"/>
              </a:lnSpc>
              <a:spcBef>
                <a:spcPts val="300"/>
              </a:spcBef>
              <a:spcAft>
                <a:spcPts val="300"/>
              </a:spcAft>
              <a:buClr>
                <a:srgbClr val="9600FF"/>
              </a:buClr>
              <a:buFont typeface="Courier New" panose="02070309020205020404" pitchFamily="49" charset="0"/>
              <a:buChar char="o"/>
              <a:defRPr lang="en-US" sz="1350" b="0" kern="1200" baseline="0" dirty="0">
                <a:solidFill>
                  <a:srgbClr val="1E2846"/>
                </a:solidFill>
                <a:latin typeface="Open Sans Light" panose="020B0306030504020204" pitchFamily="34" charset="0"/>
                <a:ea typeface="Open Sans Light" panose="020B0306030504020204" pitchFamily="34" charset="0"/>
                <a:cs typeface="Open Sans Light" panose="020B0306030504020204" pitchFamily="34"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85725" indent="0">
              <a:buNone/>
            </a:pPr>
            <a:r>
              <a:rPr lang="de-CH" sz="1800" dirty="0">
                <a:latin typeface="+mn-lt"/>
              </a:rPr>
              <a:t>@</a:t>
            </a:r>
            <a:r>
              <a:rPr lang="de-CH" sz="1800" dirty="0" err="1">
                <a:latin typeface="+mn-lt"/>
              </a:rPr>
              <a:t>stefanoehrli</a:t>
            </a:r>
            <a:endParaRPr lang="de-CH" sz="1800" dirty="0">
              <a:latin typeface="+mn-lt"/>
            </a:endParaRPr>
          </a:p>
        </p:txBody>
      </p:sp>
      <p:pic>
        <p:nvPicPr>
          <p:cNvPr id="34" name="Picture 2" descr="Image result for dba handbuch">
            <a:extLst>
              <a:ext uri="{FF2B5EF4-FFF2-40B4-BE49-F238E27FC236}">
                <a16:creationId xmlns:a16="http://schemas.microsoft.com/office/drawing/2014/main" id="{C3B20B5A-1BFC-13EB-9061-96EF4F5F518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753823" y="3292896"/>
            <a:ext cx="1057177" cy="148988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35" name="Picture 34" descr="A picture containing application&#10;&#10;Description automatically generated">
            <a:extLst>
              <a:ext uri="{FF2B5EF4-FFF2-40B4-BE49-F238E27FC236}">
                <a16:creationId xmlns:a16="http://schemas.microsoft.com/office/drawing/2014/main" id="{73ABD427-27CE-C838-0454-7938396B4941}"/>
              </a:ext>
            </a:extLst>
          </p:cNvPr>
          <p:cNvPicPr>
            <a:picLocks noChangeAspect="1"/>
          </p:cNvPicPr>
          <p:nvPr/>
        </p:nvPicPr>
        <p:blipFill>
          <a:blip r:embed="rId6"/>
          <a:stretch>
            <a:fillRect/>
          </a:stretch>
        </p:blipFill>
        <p:spPr>
          <a:xfrm>
            <a:off x="8619347" y="1356326"/>
            <a:ext cx="1156204" cy="1156204"/>
          </a:xfrm>
          <a:prstGeom prst="rect">
            <a:avLst/>
          </a:prstGeom>
          <a:ln>
            <a:noFill/>
          </a:ln>
          <a:effectLst>
            <a:outerShdw blurRad="292100" dist="139700" dir="2700000" algn="tl" rotWithShape="0">
              <a:srgbClr val="333333">
                <a:alpha val="65000"/>
              </a:srgbClr>
            </a:outerShdw>
          </a:effectLst>
        </p:spPr>
      </p:pic>
      <p:pic>
        <p:nvPicPr>
          <p:cNvPr id="3" name="Picture 2">
            <a:extLst>
              <a:ext uri="{FF2B5EF4-FFF2-40B4-BE49-F238E27FC236}">
                <a16:creationId xmlns:a16="http://schemas.microsoft.com/office/drawing/2014/main" id="{EA690C77-120F-E5E0-063D-D1ABCE284564}"/>
              </a:ext>
            </a:extLst>
          </p:cNvPr>
          <p:cNvPicPr>
            <a:picLocks noChangeAspect="1"/>
          </p:cNvPicPr>
          <p:nvPr/>
        </p:nvPicPr>
        <p:blipFill>
          <a:blip r:embed="rId7"/>
          <a:srcRect/>
          <a:stretch/>
        </p:blipFill>
        <p:spPr>
          <a:xfrm>
            <a:off x="6131187" y="817881"/>
            <a:ext cx="2450120" cy="965199"/>
          </a:xfrm>
          <a:prstGeom prst="rect">
            <a:avLst/>
          </a:prstGeom>
          <a:ln>
            <a:noFill/>
          </a:ln>
          <a:effectLst>
            <a:outerShdw blurRad="292100" dist="139700" dir="2700000" algn="tl" rotWithShape="0">
              <a:srgbClr val="333333">
                <a:alpha val="65000"/>
              </a:srgbClr>
            </a:outerShdw>
          </a:effectLst>
        </p:spPr>
      </p:pic>
      <p:pic>
        <p:nvPicPr>
          <p:cNvPr id="4" name="Picture 3" descr="A black square with a gold and black logo&#10;&#10;Description automatically generated">
            <a:extLst>
              <a:ext uri="{FF2B5EF4-FFF2-40B4-BE49-F238E27FC236}">
                <a16:creationId xmlns:a16="http://schemas.microsoft.com/office/drawing/2014/main" id="{BDA661E5-2CB1-4379-3D9C-82BF4C5BC6E7}"/>
              </a:ext>
            </a:extLst>
          </p:cNvPr>
          <p:cNvPicPr>
            <a:picLocks noChangeAspect="1"/>
          </p:cNvPicPr>
          <p:nvPr/>
        </p:nvPicPr>
        <p:blipFill>
          <a:blip r:embed="rId8"/>
          <a:stretch>
            <a:fillRect/>
          </a:stretch>
        </p:blipFill>
        <p:spPr>
          <a:xfrm>
            <a:off x="10151759" y="1758427"/>
            <a:ext cx="1435824" cy="1435824"/>
          </a:xfrm>
          <a:prstGeom prst="rect">
            <a:avLst/>
          </a:prstGeom>
          <a:ln>
            <a:noFill/>
          </a:ln>
          <a:effectLst>
            <a:outerShdw blurRad="292100" dist="139700" dir="2700000" algn="tl" rotWithShape="0">
              <a:srgbClr val="333333">
                <a:alpha val="65000"/>
              </a:srgbClr>
            </a:outerShdw>
          </a:effectLst>
        </p:spPr>
      </p:pic>
      <p:grpSp>
        <p:nvGrpSpPr>
          <p:cNvPr id="37" name="Group 36">
            <a:extLst>
              <a:ext uri="{FF2B5EF4-FFF2-40B4-BE49-F238E27FC236}">
                <a16:creationId xmlns:a16="http://schemas.microsoft.com/office/drawing/2014/main" id="{98171000-07B5-D604-3B1D-D17E2FF369C0}"/>
              </a:ext>
            </a:extLst>
          </p:cNvPr>
          <p:cNvGrpSpPr/>
          <p:nvPr/>
        </p:nvGrpSpPr>
        <p:grpSpPr>
          <a:xfrm>
            <a:off x="9427131" y="242710"/>
            <a:ext cx="2450120" cy="995559"/>
            <a:chOff x="3064333" y="2754885"/>
            <a:chExt cx="5703054" cy="2032013"/>
          </a:xfrm>
        </p:grpSpPr>
        <p:grpSp>
          <p:nvGrpSpPr>
            <p:cNvPr id="16" name="Group 15">
              <a:extLst>
                <a:ext uri="{FF2B5EF4-FFF2-40B4-BE49-F238E27FC236}">
                  <a16:creationId xmlns:a16="http://schemas.microsoft.com/office/drawing/2014/main" id="{41CFAB29-83AB-BB4E-3827-1DD384EC7236}"/>
                </a:ext>
              </a:extLst>
            </p:cNvPr>
            <p:cNvGrpSpPr/>
            <p:nvPr/>
          </p:nvGrpSpPr>
          <p:grpSpPr>
            <a:xfrm>
              <a:off x="5512941" y="2754885"/>
              <a:ext cx="3254446" cy="1989398"/>
              <a:chOff x="5295227" y="803258"/>
              <a:chExt cx="3254446" cy="1989398"/>
            </a:xfrm>
          </p:grpSpPr>
          <p:sp>
            <p:nvSpPr>
              <p:cNvPr id="21" name="TextBox 20">
                <a:extLst>
                  <a:ext uri="{FF2B5EF4-FFF2-40B4-BE49-F238E27FC236}">
                    <a16:creationId xmlns:a16="http://schemas.microsoft.com/office/drawing/2014/main" id="{F6FAE0B8-1014-2959-9803-3BE200AAD638}"/>
                  </a:ext>
                </a:extLst>
              </p:cNvPr>
              <p:cNvSpPr txBox="1"/>
              <p:nvPr/>
            </p:nvSpPr>
            <p:spPr>
              <a:xfrm>
                <a:off x="5295227" y="803258"/>
                <a:ext cx="2418961" cy="628197"/>
              </a:xfrm>
              <a:prstGeom prst="rect">
                <a:avLst/>
              </a:prstGeom>
              <a:noFill/>
            </p:spPr>
            <p:txBody>
              <a:bodyPr wrap="square" lIns="0" tIns="0" rIns="0" bIns="0">
                <a:spAutoFit/>
              </a:bodyPr>
              <a:lstStyle/>
              <a:p>
                <a:r>
                  <a:rPr lang="en-CH" sz="2000" b="1" dirty="0"/>
                  <a:t>Modern</a:t>
                </a:r>
              </a:p>
            </p:txBody>
          </p:sp>
          <p:sp>
            <p:nvSpPr>
              <p:cNvPr id="22" name="TextBox 21">
                <a:extLst>
                  <a:ext uri="{FF2B5EF4-FFF2-40B4-BE49-F238E27FC236}">
                    <a16:creationId xmlns:a16="http://schemas.microsoft.com/office/drawing/2014/main" id="{3B04D1A6-A8A8-B21F-DCBA-A874C0092007}"/>
                  </a:ext>
                </a:extLst>
              </p:cNvPr>
              <p:cNvSpPr txBox="1"/>
              <p:nvPr/>
            </p:nvSpPr>
            <p:spPr>
              <a:xfrm>
                <a:off x="5295227" y="1450284"/>
                <a:ext cx="2660857" cy="628197"/>
              </a:xfrm>
              <a:prstGeom prst="rect">
                <a:avLst/>
              </a:prstGeom>
              <a:noFill/>
            </p:spPr>
            <p:txBody>
              <a:bodyPr wrap="square" lIns="0" tIns="0" rIns="0" bIns="0">
                <a:spAutoFit/>
              </a:bodyPr>
              <a:lstStyle/>
              <a:p>
                <a:r>
                  <a:rPr lang="en-CH" sz="2000" b="1" dirty="0"/>
                  <a:t>Data</a:t>
                </a:r>
              </a:p>
            </p:txBody>
          </p:sp>
          <p:sp>
            <p:nvSpPr>
              <p:cNvPr id="23" name="TextBox 22">
                <a:extLst>
                  <a:ext uri="{FF2B5EF4-FFF2-40B4-BE49-F238E27FC236}">
                    <a16:creationId xmlns:a16="http://schemas.microsoft.com/office/drawing/2014/main" id="{794FCA43-8DCB-8D5D-A840-A0C372A37E87}"/>
                  </a:ext>
                </a:extLst>
              </p:cNvPr>
              <p:cNvSpPr txBox="1"/>
              <p:nvPr/>
            </p:nvSpPr>
            <p:spPr>
              <a:xfrm>
                <a:off x="5295227" y="2164459"/>
                <a:ext cx="3254446" cy="628197"/>
              </a:xfrm>
              <a:prstGeom prst="rect">
                <a:avLst/>
              </a:prstGeom>
              <a:noFill/>
            </p:spPr>
            <p:txBody>
              <a:bodyPr wrap="square" lIns="0" tIns="0" rIns="0" bIns="0">
                <a:spAutoFit/>
              </a:bodyPr>
              <a:lstStyle/>
              <a:p>
                <a:r>
                  <a:rPr lang="en-CH" sz="2000" b="1" dirty="0"/>
                  <a:t>Platforms</a:t>
                </a:r>
              </a:p>
            </p:txBody>
          </p:sp>
        </p:grpSp>
        <p:grpSp>
          <p:nvGrpSpPr>
            <p:cNvPr id="24" name="Group 23">
              <a:extLst>
                <a:ext uri="{FF2B5EF4-FFF2-40B4-BE49-F238E27FC236}">
                  <a16:creationId xmlns:a16="http://schemas.microsoft.com/office/drawing/2014/main" id="{9ADF6806-5DBE-6864-62D3-A832282A8622}"/>
                </a:ext>
              </a:extLst>
            </p:cNvPr>
            <p:cNvGrpSpPr/>
            <p:nvPr/>
          </p:nvGrpSpPr>
          <p:grpSpPr>
            <a:xfrm>
              <a:off x="3064333" y="2896605"/>
              <a:ext cx="2367540" cy="1890293"/>
              <a:chOff x="861065" y="2586057"/>
              <a:chExt cx="2367540" cy="1890293"/>
            </a:xfrm>
            <a:solidFill>
              <a:schemeClr val="tx1"/>
            </a:solidFill>
          </p:grpSpPr>
          <p:sp>
            <p:nvSpPr>
              <p:cNvPr id="25" name="Freeform 147">
                <a:extLst>
                  <a:ext uri="{FF2B5EF4-FFF2-40B4-BE49-F238E27FC236}">
                    <a16:creationId xmlns:a16="http://schemas.microsoft.com/office/drawing/2014/main" id="{9E09B3D6-68D3-4625-3879-638801586451}"/>
                  </a:ext>
                </a:extLst>
              </p:cNvPr>
              <p:cNvSpPr>
                <a:spLocks noChangeAspect="1" noEditPoints="1"/>
              </p:cNvSpPr>
              <p:nvPr/>
            </p:nvSpPr>
            <p:spPr bwMode="auto">
              <a:xfrm>
                <a:off x="1760613" y="3554112"/>
                <a:ext cx="1467992" cy="922238"/>
              </a:xfrm>
              <a:custGeom>
                <a:avLst/>
                <a:gdLst>
                  <a:gd name="T0" fmla="*/ 54 w 288"/>
                  <a:gd name="T1" fmla="*/ 180 h 180"/>
                  <a:gd name="T2" fmla="*/ 14 w 288"/>
                  <a:gd name="T3" fmla="*/ 164 h 180"/>
                  <a:gd name="T4" fmla="*/ 0 w 288"/>
                  <a:gd name="T5" fmla="*/ 129 h 180"/>
                  <a:gd name="T6" fmla="*/ 19 w 288"/>
                  <a:gd name="T7" fmla="*/ 89 h 180"/>
                  <a:gd name="T8" fmla="*/ 55 w 288"/>
                  <a:gd name="T9" fmla="*/ 78 h 180"/>
                  <a:gd name="T10" fmla="*/ 144 w 288"/>
                  <a:gd name="T11" fmla="*/ 0 h 180"/>
                  <a:gd name="T12" fmla="*/ 224 w 288"/>
                  <a:gd name="T13" fmla="*/ 48 h 180"/>
                  <a:gd name="T14" fmla="*/ 268 w 288"/>
                  <a:gd name="T15" fmla="*/ 66 h 180"/>
                  <a:gd name="T16" fmla="*/ 288 w 288"/>
                  <a:gd name="T17" fmla="*/ 114 h 180"/>
                  <a:gd name="T18" fmla="*/ 229 w 288"/>
                  <a:gd name="T19" fmla="*/ 180 h 180"/>
                  <a:gd name="T20" fmla="*/ 228 w 288"/>
                  <a:gd name="T21" fmla="*/ 180 h 180"/>
                  <a:gd name="T22" fmla="*/ 54 w 288"/>
                  <a:gd name="T23" fmla="*/ 180 h 180"/>
                  <a:gd name="T24" fmla="*/ 54 w 288"/>
                  <a:gd name="T25" fmla="*/ 180 h 180"/>
                  <a:gd name="T26" fmla="*/ 51 w 288"/>
                  <a:gd name="T27" fmla="*/ 90 h 180"/>
                  <a:gd name="T28" fmla="*/ 27 w 288"/>
                  <a:gd name="T29" fmla="*/ 99 h 180"/>
                  <a:gd name="T30" fmla="*/ 12 w 288"/>
                  <a:gd name="T31" fmla="*/ 129 h 180"/>
                  <a:gd name="T32" fmla="*/ 22 w 288"/>
                  <a:gd name="T33" fmla="*/ 156 h 180"/>
                  <a:gd name="T34" fmla="*/ 54 w 288"/>
                  <a:gd name="T35" fmla="*/ 168 h 180"/>
                  <a:gd name="T36" fmla="*/ 54 w 288"/>
                  <a:gd name="T37" fmla="*/ 168 h 180"/>
                  <a:gd name="T38" fmla="*/ 228 w 288"/>
                  <a:gd name="T39" fmla="*/ 168 h 180"/>
                  <a:gd name="T40" fmla="*/ 276 w 288"/>
                  <a:gd name="T41" fmla="*/ 114 h 180"/>
                  <a:gd name="T42" fmla="*/ 260 w 288"/>
                  <a:gd name="T43" fmla="*/ 75 h 180"/>
                  <a:gd name="T44" fmla="*/ 220 w 288"/>
                  <a:gd name="T45" fmla="*/ 60 h 180"/>
                  <a:gd name="T46" fmla="*/ 215 w 288"/>
                  <a:gd name="T47" fmla="*/ 57 h 180"/>
                  <a:gd name="T48" fmla="*/ 144 w 288"/>
                  <a:gd name="T49" fmla="*/ 12 h 180"/>
                  <a:gd name="T50" fmla="*/ 66 w 288"/>
                  <a:gd name="T51" fmla="*/ 85 h 180"/>
                  <a:gd name="T52" fmla="*/ 64 w 288"/>
                  <a:gd name="T53" fmla="*/ 90 h 180"/>
                  <a:gd name="T54" fmla="*/ 59 w 288"/>
                  <a:gd name="T55" fmla="*/ 91 h 180"/>
                  <a:gd name="T56" fmla="*/ 51 w 288"/>
                  <a:gd name="T57" fmla="*/ 9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8" h="180">
                    <a:moveTo>
                      <a:pt x="54" y="180"/>
                    </a:moveTo>
                    <a:cubicBezTo>
                      <a:pt x="51" y="180"/>
                      <a:pt x="29" y="179"/>
                      <a:pt x="14" y="164"/>
                    </a:cubicBezTo>
                    <a:cubicBezTo>
                      <a:pt x="5" y="156"/>
                      <a:pt x="0" y="144"/>
                      <a:pt x="0" y="129"/>
                    </a:cubicBezTo>
                    <a:cubicBezTo>
                      <a:pt x="0" y="113"/>
                      <a:pt x="7" y="99"/>
                      <a:pt x="19" y="89"/>
                    </a:cubicBezTo>
                    <a:cubicBezTo>
                      <a:pt x="29" y="81"/>
                      <a:pt x="42" y="77"/>
                      <a:pt x="55" y="78"/>
                    </a:cubicBezTo>
                    <a:cubicBezTo>
                      <a:pt x="61" y="34"/>
                      <a:pt x="99" y="0"/>
                      <a:pt x="144" y="0"/>
                    </a:cubicBezTo>
                    <a:cubicBezTo>
                      <a:pt x="177" y="0"/>
                      <a:pt x="208" y="19"/>
                      <a:pt x="224" y="48"/>
                    </a:cubicBezTo>
                    <a:cubicBezTo>
                      <a:pt x="240" y="48"/>
                      <a:pt x="256" y="55"/>
                      <a:pt x="268" y="66"/>
                    </a:cubicBezTo>
                    <a:cubicBezTo>
                      <a:pt x="281" y="79"/>
                      <a:pt x="288" y="96"/>
                      <a:pt x="288" y="114"/>
                    </a:cubicBezTo>
                    <a:cubicBezTo>
                      <a:pt x="288" y="171"/>
                      <a:pt x="230" y="180"/>
                      <a:pt x="229" y="180"/>
                    </a:cubicBezTo>
                    <a:cubicBezTo>
                      <a:pt x="229" y="180"/>
                      <a:pt x="228" y="180"/>
                      <a:pt x="228" y="180"/>
                    </a:cubicBezTo>
                    <a:cubicBezTo>
                      <a:pt x="54" y="180"/>
                      <a:pt x="54" y="180"/>
                      <a:pt x="54" y="180"/>
                    </a:cubicBezTo>
                    <a:cubicBezTo>
                      <a:pt x="54" y="180"/>
                      <a:pt x="54" y="180"/>
                      <a:pt x="54" y="180"/>
                    </a:cubicBezTo>
                    <a:close/>
                    <a:moveTo>
                      <a:pt x="51" y="90"/>
                    </a:moveTo>
                    <a:cubicBezTo>
                      <a:pt x="42" y="90"/>
                      <a:pt x="34" y="93"/>
                      <a:pt x="27" y="99"/>
                    </a:cubicBezTo>
                    <a:cubicBezTo>
                      <a:pt x="17" y="106"/>
                      <a:pt x="12" y="117"/>
                      <a:pt x="12" y="129"/>
                    </a:cubicBezTo>
                    <a:cubicBezTo>
                      <a:pt x="12" y="140"/>
                      <a:pt x="16" y="149"/>
                      <a:pt x="22" y="156"/>
                    </a:cubicBezTo>
                    <a:cubicBezTo>
                      <a:pt x="34" y="168"/>
                      <a:pt x="53" y="168"/>
                      <a:pt x="54" y="168"/>
                    </a:cubicBezTo>
                    <a:cubicBezTo>
                      <a:pt x="54" y="168"/>
                      <a:pt x="54" y="168"/>
                      <a:pt x="54" y="168"/>
                    </a:cubicBezTo>
                    <a:cubicBezTo>
                      <a:pt x="228" y="168"/>
                      <a:pt x="228" y="168"/>
                      <a:pt x="228" y="168"/>
                    </a:cubicBezTo>
                    <a:cubicBezTo>
                      <a:pt x="233" y="167"/>
                      <a:pt x="276" y="159"/>
                      <a:pt x="276" y="114"/>
                    </a:cubicBezTo>
                    <a:cubicBezTo>
                      <a:pt x="276" y="99"/>
                      <a:pt x="270" y="85"/>
                      <a:pt x="260" y="75"/>
                    </a:cubicBezTo>
                    <a:cubicBezTo>
                      <a:pt x="249" y="65"/>
                      <a:pt x="235" y="59"/>
                      <a:pt x="220" y="60"/>
                    </a:cubicBezTo>
                    <a:cubicBezTo>
                      <a:pt x="218" y="60"/>
                      <a:pt x="216" y="59"/>
                      <a:pt x="215" y="57"/>
                    </a:cubicBezTo>
                    <a:cubicBezTo>
                      <a:pt x="202" y="29"/>
                      <a:pt x="174" y="12"/>
                      <a:pt x="144" y="12"/>
                    </a:cubicBezTo>
                    <a:cubicBezTo>
                      <a:pt x="103" y="12"/>
                      <a:pt x="69" y="44"/>
                      <a:pt x="66" y="85"/>
                    </a:cubicBezTo>
                    <a:cubicBezTo>
                      <a:pt x="66" y="87"/>
                      <a:pt x="66" y="88"/>
                      <a:pt x="64" y="90"/>
                    </a:cubicBezTo>
                    <a:cubicBezTo>
                      <a:pt x="63" y="91"/>
                      <a:pt x="61" y="91"/>
                      <a:pt x="59" y="91"/>
                    </a:cubicBezTo>
                    <a:cubicBezTo>
                      <a:pt x="57" y="90"/>
                      <a:pt x="54" y="90"/>
                      <a:pt x="51" y="9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solidFill>
                    <a:schemeClr val="bg1"/>
                  </a:solidFill>
                  <a:effectLst/>
                  <a:uLnTx/>
                  <a:uFillTx/>
                  <a:cs typeface="Arial" charset="0"/>
                </a:endParaRPr>
              </a:p>
            </p:txBody>
          </p:sp>
          <p:sp>
            <p:nvSpPr>
              <p:cNvPr id="26" name="Freeform 159">
                <a:extLst>
                  <a:ext uri="{FF2B5EF4-FFF2-40B4-BE49-F238E27FC236}">
                    <a16:creationId xmlns:a16="http://schemas.microsoft.com/office/drawing/2014/main" id="{BC837DD7-E529-D7D4-B720-0BE9B88793D9}"/>
                  </a:ext>
                </a:extLst>
              </p:cNvPr>
              <p:cNvSpPr>
                <a:spLocks noEditPoints="1"/>
              </p:cNvSpPr>
              <p:nvPr/>
            </p:nvSpPr>
            <p:spPr bwMode="auto">
              <a:xfrm>
                <a:off x="861065" y="2586057"/>
                <a:ext cx="1686691" cy="758063"/>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3" y="108"/>
                      <a:pt x="0" y="84"/>
                      <a:pt x="0" y="54"/>
                    </a:cubicBezTo>
                    <a:cubicBezTo>
                      <a:pt x="0" y="23"/>
                      <a:pt x="53"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dirty="0">
                  <a:ln>
                    <a:noFill/>
                  </a:ln>
                  <a:solidFill>
                    <a:schemeClr val="bg1"/>
                  </a:solidFill>
                  <a:effectLst/>
                  <a:uLnTx/>
                  <a:uFillTx/>
                  <a:cs typeface="Arial" charset="0"/>
                </a:endParaRPr>
              </a:p>
            </p:txBody>
          </p:sp>
          <p:sp>
            <p:nvSpPr>
              <p:cNvPr id="27" name="Freeform 160">
                <a:extLst>
                  <a:ext uri="{FF2B5EF4-FFF2-40B4-BE49-F238E27FC236}">
                    <a16:creationId xmlns:a16="http://schemas.microsoft.com/office/drawing/2014/main" id="{F93ED3C9-408F-9F9A-6C24-09E85D284B5B}"/>
                  </a:ext>
                </a:extLst>
              </p:cNvPr>
              <p:cNvSpPr>
                <a:spLocks/>
              </p:cNvSpPr>
              <p:nvPr/>
            </p:nvSpPr>
            <p:spPr bwMode="auto">
              <a:xfrm>
                <a:off x="861065" y="3258838"/>
                <a:ext cx="885987" cy="421673"/>
              </a:xfrm>
              <a:custGeom>
                <a:avLst/>
                <a:gdLst>
                  <a:gd name="T0" fmla="*/ 120 w 126"/>
                  <a:gd name="T1" fmla="*/ 60 h 60"/>
                  <a:gd name="T2" fmla="*/ 0 w 126"/>
                  <a:gd name="T3" fmla="*/ 6 h 60"/>
                  <a:gd name="T4" fmla="*/ 6 w 126"/>
                  <a:gd name="T5" fmla="*/ 0 h 60"/>
                  <a:gd name="T6" fmla="*/ 12 w 126"/>
                  <a:gd name="T7" fmla="*/ 6 h 60"/>
                  <a:gd name="T8" fmla="*/ 120 w 126"/>
                  <a:gd name="T9" fmla="*/ 48 h 60"/>
                  <a:gd name="T10" fmla="*/ 126 w 126"/>
                  <a:gd name="T11" fmla="*/ 54 h 60"/>
                  <a:gd name="T12" fmla="*/ 120 w 126"/>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6" h="60">
                    <a:moveTo>
                      <a:pt x="120" y="60"/>
                    </a:moveTo>
                    <a:cubicBezTo>
                      <a:pt x="53" y="60"/>
                      <a:pt x="0" y="36"/>
                      <a:pt x="0" y="6"/>
                    </a:cubicBezTo>
                    <a:cubicBezTo>
                      <a:pt x="0" y="2"/>
                      <a:pt x="3" y="0"/>
                      <a:pt x="6" y="0"/>
                    </a:cubicBezTo>
                    <a:cubicBezTo>
                      <a:pt x="9" y="0"/>
                      <a:pt x="12" y="2"/>
                      <a:pt x="12" y="6"/>
                    </a:cubicBezTo>
                    <a:cubicBezTo>
                      <a:pt x="12" y="26"/>
                      <a:pt x="56" y="48"/>
                      <a:pt x="120" y="48"/>
                    </a:cubicBezTo>
                    <a:cubicBezTo>
                      <a:pt x="123" y="48"/>
                      <a:pt x="126" y="50"/>
                      <a:pt x="126" y="54"/>
                    </a:cubicBezTo>
                    <a:cubicBezTo>
                      <a:pt x="126" y="57"/>
                      <a:pt x="123"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chemeClr val="bg1"/>
                  </a:solidFill>
                  <a:effectLst/>
                  <a:uLnTx/>
                  <a:uFillTx/>
                  <a:cs typeface="Arial" charset="0"/>
                </a:endParaRPr>
              </a:p>
            </p:txBody>
          </p:sp>
          <p:sp>
            <p:nvSpPr>
              <p:cNvPr id="28" name="Freeform 161">
                <a:extLst>
                  <a:ext uri="{FF2B5EF4-FFF2-40B4-BE49-F238E27FC236}">
                    <a16:creationId xmlns:a16="http://schemas.microsoft.com/office/drawing/2014/main" id="{6A3E7BB3-E6D0-4728-4C11-4FD5847703D4}"/>
                  </a:ext>
                </a:extLst>
              </p:cNvPr>
              <p:cNvSpPr>
                <a:spLocks/>
              </p:cNvSpPr>
              <p:nvPr/>
            </p:nvSpPr>
            <p:spPr bwMode="auto">
              <a:xfrm>
                <a:off x="861065" y="3637870"/>
                <a:ext cx="758064" cy="412197"/>
              </a:xfrm>
              <a:custGeom>
                <a:avLst/>
                <a:gdLst>
                  <a:gd name="T0" fmla="*/ 102 w 108"/>
                  <a:gd name="T1" fmla="*/ 59 h 59"/>
                  <a:gd name="T2" fmla="*/ 101 w 108"/>
                  <a:gd name="T3" fmla="*/ 59 h 59"/>
                  <a:gd name="T4" fmla="*/ 0 w 108"/>
                  <a:gd name="T5" fmla="*/ 6 h 59"/>
                  <a:gd name="T6" fmla="*/ 6 w 108"/>
                  <a:gd name="T7" fmla="*/ 0 h 59"/>
                  <a:gd name="T8" fmla="*/ 12 w 108"/>
                  <a:gd name="T9" fmla="*/ 6 h 59"/>
                  <a:gd name="T10" fmla="*/ 102 w 108"/>
                  <a:gd name="T11" fmla="*/ 47 h 59"/>
                  <a:gd name="T12" fmla="*/ 108 w 108"/>
                  <a:gd name="T13" fmla="*/ 53 h 59"/>
                  <a:gd name="T14" fmla="*/ 102 w 108"/>
                  <a:gd name="T15" fmla="*/ 59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59">
                    <a:moveTo>
                      <a:pt x="102" y="59"/>
                    </a:moveTo>
                    <a:cubicBezTo>
                      <a:pt x="102" y="59"/>
                      <a:pt x="102" y="59"/>
                      <a:pt x="101" y="59"/>
                    </a:cubicBezTo>
                    <a:cubicBezTo>
                      <a:pt x="42" y="55"/>
                      <a:pt x="0" y="33"/>
                      <a:pt x="0" y="6"/>
                    </a:cubicBezTo>
                    <a:cubicBezTo>
                      <a:pt x="0" y="2"/>
                      <a:pt x="3" y="0"/>
                      <a:pt x="6" y="0"/>
                    </a:cubicBezTo>
                    <a:cubicBezTo>
                      <a:pt x="9" y="0"/>
                      <a:pt x="12" y="2"/>
                      <a:pt x="12" y="6"/>
                    </a:cubicBezTo>
                    <a:cubicBezTo>
                      <a:pt x="12" y="25"/>
                      <a:pt x="52" y="44"/>
                      <a:pt x="102" y="47"/>
                    </a:cubicBezTo>
                    <a:cubicBezTo>
                      <a:pt x="106" y="47"/>
                      <a:pt x="108" y="50"/>
                      <a:pt x="108" y="53"/>
                    </a:cubicBezTo>
                    <a:cubicBezTo>
                      <a:pt x="108" y="57"/>
                      <a:pt x="105" y="59"/>
                      <a:pt x="10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chemeClr val="bg1"/>
                  </a:solidFill>
                  <a:effectLst/>
                  <a:uLnTx/>
                  <a:uFillTx/>
                  <a:cs typeface="Arial" charset="0"/>
                </a:endParaRPr>
              </a:p>
            </p:txBody>
          </p:sp>
          <p:sp>
            <p:nvSpPr>
              <p:cNvPr id="33" name="Freeform 162">
                <a:extLst>
                  <a:ext uri="{FF2B5EF4-FFF2-40B4-BE49-F238E27FC236}">
                    <a16:creationId xmlns:a16="http://schemas.microsoft.com/office/drawing/2014/main" id="{4B776AD4-07CA-2F71-90F1-AD8750861D53}"/>
                  </a:ext>
                </a:extLst>
              </p:cNvPr>
              <p:cNvSpPr>
                <a:spLocks/>
              </p:cNvSpPr>
              <p:nvPr/>
            </p:nvSpPr>
            <p:spPr bwMode="auto">
              <a:xfrm>
                <a:off x="861065" y="2922448"/>
                <a:ext cx="800705" cy="1506650"/>
              </a:xfrm>
              <a:custGeom>
                <a:avLst/>
                <a:gdLst>
                  <a:gd name="T0" fmla="*/ 108 w 114"/>
                  <a:gd name="T1" fmla="*/ 215 h 215"/>
                  <a:gd name="T2" fmla="*/ 108 w 114"/>
                  <a:gd name="T3" fmla="*/ 215 h 215"/>
                  <a:gd name="T4" fmla="*/ 0 w 114"/>
                  <a:gd name="T5" fmla="*/ 162 h 215"/>
                  <a:gd name="T6" fmla="*/ 0 w 114"/>
                  <a:gd name="T7" fmla="*/ 6 h 215"/>
                  <a:gd name="T8" fmla="*/ 6 w 114"/>
                  <a:gd name="T9" fmla="*/ 0 h 215"/>
                  <a:gd name="T10" fmla="*/ 12 w 114"/>
                  <a:gd name="T11" fmla="*/ 6 h 215"/>
                  <a:gd name="T12" fmla="*/ 12 w 114"/>
                  <a:gd name="T13" fmla="*/ 162 h 215"/>
                  <a:gd name="T14" fmla="*/ 108 w 114"/>
                  <a:gd name="T15" fmla="*/ 203 h 215"/>
                  <a:gd name="T16" fmla="*/ 114 w 114"/>
                  <a:gd name="T17" fmla="*/ 210 h 215"/>
                  <a:gd name="T18" fmla="*/ 108 w 114"/>
                  <a:gd name="T19"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15">
                    <a:moveTo>
                      <a:pt x="108" y="215"/>
                    </a:moveTo>
                    <a:cubicBezTo>
                      <a:pt x="108" y="215"/>
                      <a:pt x="108" y="215"/>
                      <a:pt x="108" y="215"/>
                    </a:cubicBezTo>
                    <a:cubicBezTo>
                      <a:pt x="45" y="213"/>
                      <a:pt x="0" y="190"/>
                      <a:pt x="0" y="162"/>
                    </a:cubicBezTo>
                    <a:cubicBezTo>
                      <a:pt x="0" y="6"/>
                      <a:pt x="0" y="6"/>
                      <a:pt x="0" y="6"/>
                    </a:cubicBezTo>
                    <a:cubicBezTo>
                      <a:pt x="0" y="2"/>
                      <a:pt x="3" y="0"/>
                      <a:pt x="6" y="0"/>
                    </a:cubicBezTo>
                    <a:cubicBezTo>
                      <a:pt x="9" y="0"/>
                      <a:pt x="12" y="2"/>
                      <a:pt x="12" y="6"/>
                    </a:cubicBezTo>
                    <a:cubicBezTo>
                      <a:pt x="12" y="162"/>
                      <a:pt x="12" y="162"/>
                      <a:pt x="12" y="162"/>
                    </a:cubicBezTo>
                    <a:cubicBezTo>
                      <a:pt x="12" y="180"/>
                      <a:pt x="49" y="201"/>
                      <a:pt x="108" y="203"/>
                    </a:cubicBezTo>
                    <a:cubicBezTo>
                      <a:pt x="111" y="204"/>
                      <a:pt x="114" y="206"/>
                      <a:pt x="114" y="210"/>
                    </a:cubicBezTo>
                    <a:cubicBezTo>
                      <a:pt x="114" y="213"/>
                      <a:pt x="111" y="215"/>
                      <a:pt x="108" y="2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chemeClr val="bg1"/>
                  </a:solidFill>
                  <a:effectLst/>
                  <a:uLnTx/>
                  <a:uFillTx/>
                  <a:cs typeface="Arial" charset="0"/>
                </a:endParaRPr>
              </a:p>
            </p:txBody>
          </p:sp>
          <p:sp>
            <p:nvSpPr>
              <p:cNvPr id="36" name="Freeform 163">
                <a:extLst>
                  <a:ext uri="{FF2B5EF4-FFF2-40B4-BE49-F238E27FC236}">
                    <a16:creationId xmlns:a16="http://schemas.microsoft.com/office/drawing/2014/main" id="{723F06DB-8A4E-72A8-F2B3-1B0260ED9F9B}"/>
                  </a:ext>
                </a:extLst>
              </p:cNvPr>
              <p:cNvSpPr>
                <a:spLocks/>
              </p:cNvSpPr>
              <p:nvPr/>
            </p:nvSpPr>
            <p:spPr bwMode="auto">
              <a:xfrm>
                <a:off x="2462474" y="2922447"/>
                <a:ext cx="85282" cy="464314"/>
              </a:xfrm>
              <a:custGeom>
                <a:avLst/>
                <a:gdLst>
                  <a:gd name="T0" fmla="*/ 6 w 12"/>
                  <a:gd name="T1" fmla="*/ 66 h 66"/>
                  <a:gd name="T2" fmla="*/ 0 w 12"/>
                  <a:gd name="T3" fmla="*/ 60 h 66"/>
                  <a:gd name="T4" fmla="*/ 0 w 12"/>
                  <a:gd name="T5" fmla="*/ 6 h 66"/>
                  <a:gd name="T6" fmla="*/ 6 w 12"/>
                  <a:gd name="T7" fmla="*/ 0 h 66"/>
                  <a:gd name="T8" fmla="*/ 12 w 12"/>
                  <a:gd name="T9" fmla="*/ 6 h 66"/>
                  <a:gd name="T10" fmla="*/ 12 w 12"/>
                  <a:gd name="T11" fmla="*/ 60 h 66"/>
                  <a:gd name="T12" fmla="*/ 6 w 12"/>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2" h="66">
                    <a:moveTo>
                      <a:pt x="6" y="66"/>
                    </a:moveTo>
                    <a:cubicBezTo>
                      <a:pt x="3" y="66"/>
                      <a:pt x="0" y="63"/>
                      <a:pt x="0" y="60"/>
                    </a:cubicBezTo>
                    <a:cubicBezTo>
                      <a:pt x="0" y="6"/>
                      <a:pt x="0" y="6"/>
                      <a:pt x="0" y="6"/>
                    </a:cubicBezTo>
                    <a:cubicBezTo>
                      <a:pt x="0" y="2"/>
                      <a:pt x="3" y="0"/>
                      <a:pt x="6" y="0"/>
                    </a:cubicBezTo>
                    <a:cubicBezTo>
                      <a:pt x="9" y="0"/>
                      <a:pt x="12" y="2"/>
                      <a:pt x="12" y="6"/>
                    </a:cubicBezTo>
                    <a:cubicBezTo>
                      <a:pt x="12" y="60"/>
                      <a:pt x="12" y="60"/>
                      <a:pt x="12" y="60"/>
                    </a:cubicBezTo>
                    <a:cubicBezTo>
                      <a:pt x="12" y="63"/>
                      <a:pt x="9" y="66"/>
                      <a:pt x="6"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900" b="0" i="0" u="none" strike="noStrike" kern="0" cap="none" spc="0" normalizeH="0" baseline="0" noProof="0">
                  <a:ln>
                    <a:noFill/>
                  </a:ln>
                  <a:solidFill>
                    <a:schemeClr val="bg1"/>
                  </a:solidFill>
                  <a:effectLst/>
                  <a:uLnTx/>
                  <a:uFillTx/>
                  <a:cs typeface="Arial" charset="0"/>
                </a:endParaRPr>
              </a:p>
            </p:txBody>
          </p:sp>
        </p:grpSp>
      </p:grpSp>
      <p:pic>
        <p:nvPicPr>
          <p:cNvPr id="39" name="Picture 38" descr="A qr code on a white background&#10;&#10;Description automatically generated">
            <a:extLst>
              <a:ext uri="{FF2B5EF4-FFF2-40B4-BE49-F238E27FC236}">
                <a16:creationId xmlns:a16="http://schemas.microsoft.com/office/drawing/2014/main" id="{F008A5C9-0680-8150-43AA-CC938A873B9D}"/>
              </a:ext>
            </a:extLst>
          </p:cNvPr>
          <p:cNvPicPr>
            <a:picLocks noChangeAspect="1"/>
          </p:cNvPicPr>
          <p:nvPr/>
        </p:nvPicPr>
        <p:blipFill>
          <a:blip r:embed="rId9"/>
          <a:stretch>
            <a:fillRect/>
          </a:stretch>
        </p:blipFill>
        <p:spPr>
          <a:xfrm>
            <a:off x="10452100" y="5154202"/>
            <a:ext cx="1358900" cy="1358900"/>
          </a:xfrm>
          <a:prstGeom prst="rect">
            <a:avLst/>
          </a:prstGeom>
        </p:spPr>
      </p:pic>
      <p:sp>
        <p:nvSpPr>
          <p:cNvPr id="40" name="Footer Placeholder 39">
            <a:extLst>
              <a:ext uri="{FF2B5EF4-FFF2-40B4-BE49-F238E27FC236}">
                <a16:creationId xmlns:a16="http://schemas.microsoft.com/office/drawing/2014/main" id="{2F79E84A-F8F1-F320-9F99-8460024C83FF}"/>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41" name="Slide Number Placeholder 40">
            <a:extLst>
              <a:ext uri="{FF2B5EF4-FFF2-40B4-BE49-F238E27FC236}">
                <a16:creationId xmlns:a16="http://schemas.microsoft.com/office/drawing/2014/main" id="{0428C4AA-3DC1-C788-99F9-DE74D951FC62}"/>
              </a:ext>
            </a:extLst>
          </p:cNvPr>
          <p:cNvSpPr>
            <a:spLocks noGrp="1"/>
          </p:cNvSpPr>
          <p:nvPr>
            <p:ph type="sldNum" sz="quarter" idx="20"/>
          </p:nvPr>
        </p:nvSpPr>
        <p:spPr/>
        <p:txBody>
          <a:bodyPr/>
          <a:lstStyle/>
          <a:p>
            <a:fld id="{1F90F471-3972-4120-B8B3-0237DE626C35}" type="slidenum">
              <a:rPr lang="en-US" smtClean="0"/>
              <a:pPr/>
              <a:t>3</a:t>
            </a:fld>
            <a:endParaRPr lang="en-US" dirty="0"/>
          </a:p>
        </p:txBody>
      </p:sp>
      <p:pic>
        <p:nvPicPr>
          <p:cNvPr id="5" name="Picture 4" descr="A black background with a black square&#10;&#10;Description automatically generated with medium confidence">
            <a:extLst>
              <a:ext uri="{FF2B5EF4-FFF2-40B4-BE49-F238E27FC236}">
                <a16:creationId xmlns:a16="http://schemas.microsoft.com/office/drawing/2014/main" id="{0AB5F226-A75D-71B2-6785-E08CD312BE65}"/>
              </a:ext>
            </a:extLst>
          </p:cNvPr>
          <p:cNvPicPr>
            <a:picLocks noChangeAspect="1"/>
          </p:cNvPicPr>
          <p:nvPr/>
        </p:nvPicPr>
        <p:blipFill>
          <a:blip r:embed="rId10"/>
          <a:stretch>
            <a:fillRect/>
          </a:stretch>
        </p:blipFill>
        <p:spPr>
          <a:xfrm>
            <a:off x="3834101" y="935380"/>
            <a:ext cx="2046715" cy="79876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91008109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6E8C83-5604-6800-8503-08C9674A39D3}"/>
              </a:ext>
            </a:extLst>
          </p:cNvPr>
          <p:cNvSpPr>
            <a:spLocks noGrp="1"/>
          </p:cNvSpPr>
          <p:nvPr>
            <p:ph type="title"/>
          </p:nvPr>
        </p:nvSpPr>
        <p:spPr/>
        <p:txBody>
          <a:bodyPr/>
          <a:lstStyle/>
          <a:p>
            <a:r>
              <a:rPr lang="en-US" b="1" i="0" dirty="0">
                <a:solidFill>
                  <a:srgbClr val="242424"/>
                </a:solidFill>
                <a:effectLst/>
                <a:latin typeface="Segoe UI" panose="020B0502040204020203" pitchFamily="34" charset="0"/>
              </a:rPr>
              <a:t>Lab 1: Enabling and Configuring Cloud Guard</a:t>
            </a:r>
            <a:endParaRPr lang="de-CH" dirty="0"/>
          </a:p>
        </p:txBody>
      </p:sp>
      <p:sp>
        <p:nvSpPr>
          <p:cNvPr id="3" name="Inhaltsplatzhalter 2">
            <a:extLst>
              <a:ext uri="{FF2B5EF4-FFF2-40B4-BE49-F238E27FC236}">
                <a16:creationId xmlns:a16="http://schemas.microsoft.com/office/drawing/2014/main" id="{998C4BBF-A242-24EA-B3CA-4B13BF528F10}"/>
              </a:ext>
            </a:extLst>
          </p:cNvPr>
          <p:cNvSpPr>
            <a:spLocks noGrp="1"/>
          </p:cNvSpPr>
          <p:nvPr>
            <p:ph sz="quarter" idx="10"/>
          </p:nvPr>
        </p:nvSpPr>
        <p:spPr/>
        <p:txBody>
          <a:bodyPr/>
          <a:lstStyle/>
          <a:p>
            <a:endParaRPr lang="de-CH"/>
          </a:p>
        </p:txBody>
      </p:sp>
      <p:sp>
        <p:nvSpPr>
          <p:cNvPr id="4" name="Fußzeilenplatzhalter 3">
            <a:extLst>
              <a:ext uri="{FF2B5EF4-FFF2-40B4-BE49-F238E27FC236}">
                <a16:creationId xmlns:a16="http://schemas.microsoft.com/office/drawing/2014/main" id="{2D039DF2-BF9E-9282-B390-A81448E0838A}"/>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5" name="Foliennummernplatzhalter 4">
            <a:extLst>
              <a:ext uri="{FF2B5EF4-FFF2-40B4-BE49-F238E27FC236}">
                <a16:creationId xmlns:a16="http://schemas.microsoft.com/office/drawing/2014/main" id="{97343006-E830-249D-A108-601C1138EE1C}"/>
              </a:ext>
            </a:extLst>
          </p:cNvPr>
          <p:cNvSpPr>
            <a:spLocks noGrp="1"/>
          </p:cNvSpPr>
          <p:nvPr>
            <p:ph type="sldNum" sz="quarter" idx="11"/>
          </p:nvPr>
        </p:nvSpPr>
        <p:spPr/>
        <p:txBody>
          <a:bodyPr/>
          <a:lstStyle/>
          <a:p>
            <a:fld id="{1F90F471-3972-4120-B8B3-0237DE626C35}" type="slidenum">
              <a:rPr lang="en-US" smtClean="0"/>
              <a:pPr/>
              <a:t>30</a:t>
            </a:fld>
            <a:endParaRPr lang="en-US" dirty="0"/>
          </a:p>
        </p:txBody>
      </p:sp>
    </p:spTree>
    <p:extLst>
      <p:ext uri="{BB962C8B-B14F-4D97-AF65-F5344CB8AC3E}">
        <p14:creationId xmlns:p14="http://schemas.microsoft.com/office/powerpoint/2010/main" val="19084761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6E8C83-5604-6800-8503-08C9674A39D3}"/>
              </a:ext>
            </a:extLst>
          </p:cNvPr>
          <p:cNvSpPr>
            <a:spLocks noGrp="1"/>
          </p:cNvSpPr>
          <p:nvPr>
            <p:ph type="title"/>
          </p:nvPr>
        </p:nvSpPr>
        <p:spPr/>
        <p:txBody>
          <a:bodyPr/>
          <a:lstStyle/>
          <a:p>
            <a:r>
              <a:rPr lang="en-US" b="1" i="0" dirty="0">
                <a:solidFill>
                  <a:srgbClr val="242424"/>
                </a:solidFill>
                <a:effectLst/>
                <a:latin typeface="Segoe UI" panose="020B0502040204020203" pitchFamily="34" charset="0"/>
              </a:rPr>
              <a:t>Lab 2: Creating and Customizing Detector Recipes</a:t>
            </a:r>
            <a:endParaRPr lang="de-CH" dirty="0"/>
          </a:p>
        </p:txBody>
      </p:sp>
      <p:sp>
        <p:nvSpPr>
          <p:cNvPr id="3" name="Inhaltsplatzhalter 2">
            <a:extLst>
              <a:ext uri="{FF2B5EF4-FFF2-40B4-BE49-F238E27FC236}">
                <a16:creationId xmlns:a16="http://schemas.microsoft.com/office/drawing/2014/main" id="{998C4BBF-A242-24EA-B3CA-4B13BF528F10}"/>
              </a:ext>
            </a:extLst>
          </p:cNvPr>
          <p:cNvSpPr>
            <a:spLocks noGrp="1"/>
          </p:cNvSpPr>
          <p:nvPr>
            <p:ph sz="quarter" idx="10"/>
          </p:nvPr>
        </p:nvSpPr>
        <p:spPr/>
        <p:txBody>
          <a:bodyPr/>
          <a:lstStyle/>
          <a:p>
            <a:endParaRPr lang="de-CH"/>
          </a:p>
        </p:txBody>
      </p:sp>
      <p:sp>
        <p:nvSpPr>
          <p:cNvPr id="4" name="Fußzeilenplatzhalter 3">
            <a:extLst>
              <a:ext uri="{FF2B5EF4-FFF2-40B4-BE49-F238E27FC236}">
                <a16:creationId xmlns:a16="http://schemas.microsoft.com/office/drawing/2014/main" id="{2D039DF2-BF9E-9282-B390-A81448E0838A}"/>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5" name="Foliennummernplatzhalter 4">
            <a:extLst>
              <a:ext uri="{FF2B5EF4-FFF2-40B4-BE49-F238E27FC236}">
                <a16:creationId xmlns:a16="http://schemas.microsoft.com/office/drawing/2014/main" id="{97343006-E830-249D-A108-601C1138EE1C}"/>
              </a:ext>
            </a:extLst>
          </p:cNvPr>
          <p:cNvSpPr>
            <a:spLocks noGrp="1"/>
          </p:cNvSpPr>
          <p:nvPr>
            <p:ph type="sldNum" sz="quarter" idx="11"/>
          </p:nvPr>
        </p:nvSpPr>
        <p:spPr/>
        <p:txBody>
          <a:bodyPr/>
          <a:lstStyle/>
          <a:p>
            <a:fld id="{1F90F471-3972-4120-B8B3-0237DE626C35}" type="slidenum">
              <a:rPr lang="en-US" smtClean="0"/>
              <a:pPr/>
              <a:t>31</a:t>
            </a:fld>
            <a:endParaRPr lang="en-US" dirty="0"/>
          </a:p>
        </p:txBody>
      </p:sp>
    </p:spTree>
    <p:extLst>
      <p:ext uri="{BB962C8B-B14F-4D97-AF65-F5344CB8AC3E}">
        <p14:creationId xmlns:p14="http://schemas.microsoft.com/office/powerpoint/2010/main" val="13596956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6E8C83-5604-6800-8503-08C9674A39D3}"/>
              </a:ext>
            </a:extLst>
          </p:cNvPr>
          <p:cNvSpPr>
            <a:spLocks noGrp="1"/>
          </p:cNvSpPr>
          <p:nvPr>
            <p:ph type="title"/>
          </p:nvPr>
        </p:nvSpPr>
        <p:spPr/>
        <p:txBody>
          <a:bodyPr/>
          <a:lstStyle/>
          <a:p>
            <a:r>
              <a:rPr lang="en-US" b="1" i="0" dirty="0">
                <a:solidFill>
                  <a:srgbClr val="242424"/>
                </a:solidFill>
                <a:effectLst/>
                <a:latin typeface="Segoe UI" panose="020B0502040204020203" pitchFamily="34" charset="0"/>
              </a:rPr>
              <a:t>Lab 3: Creating and Customizing Responder Recipes</a:t>
            </a:r>
            <a:endParaRPr lang="de-CH" dirty="0"/>
          </a:p>
        </p:txBody>
      </p:sp>
      <p:sp>
        <p:nvSpPr>
          <p:cNvPr id="3" name="Inhaltsplatzhalter 2">
            <a:extLst>
              <a:ext uri="{FF2B5EF4-FFF2-40B4-BE49-F238E27FC236}">
                <a16:creationId xmlns:a16="http://schemas.microsoft.com/office/drawing/2014/main" id="{998C4BBF-A242-24EA-B3CA-4B13BF528F10}"/>
              </a:ext>
            </a:extLst>
          </p:cNvPr>
          <p:cNvSpPr>
            <a:spLocks noGrp="1"/>
          </p:cNvSpPr>
          <p:nvPr>
            <p:ph sz="quarter" idx="10"/>
          </p:nvPr>
        </p:nvSpPr>
        <p:spPr/>
        <p:txBody>
          <a:bodyPr/>
          <a:lstStyle/>
          <a:p>
            <a:endParaRPr lang="de-CH"/>
          </a:p>
        </p:txBody>
      </p:sp>
      <p:sp>
        <p:nvSpPr>
          <p:cNvPr id="4" name="Fußzeilenplatzhalter 3">
            <a:extLst>
              <a:ext uri="{FF2B5EF4-FFF2-40B4-BE49-F238E27FC236}">
                <a16:creationId xmlns:a16="http://schemas.microsoft.com/office/drawing/2014/main" id="{2D039DF2-BF9E-9282-B390-A81448E0838A}"/>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5" name="Foliennummernplatzhalter 4">
            <a:extLst>
              <a:ext uri="{FF2B5EF4-FFF2-40B4-BE49-F238E27FC236}">
                <a16:creationId xmlns:a16="http://schemas.microsoft.com/office/drawing/2014/main" id="{97343006-E830-249D-A108-601C1138EE1C}"/>
              </a:ext>
            </a:extLst>
          </p:cNvPr>
          <p:cNvSpPr>
            <a:spLocks noGrp="1"/>
          </p:cNvSpPr>
          <p:nvPr>
            <p:ph type="sldNum" sz="quarter" idx="11"/>
          </p:nvPr>
        </p:nvSpPr>
        <p:spPr/>
        <p:txBody>
          <a:bodyPr/>
          <a:lstStyle/>
          <a:p>
            <a:fld id="{1F90F471-3972-4120-B8B3-0237DE626C35}" type="slidenum">
              <a:rPr lang="en-US" smtClean="0"/>
              <a:pPr/>
              <a:t>32</a:t>
            </a:fld>
            <a:endParaRPr lang="en-US" dirty="0"/>
          </a:p>
        </p:txBody>
      </p:sp>
    </p:spTree>
    <p:extLst>
      <p:ext uri="{BB962C8B-B14F-4D97-AF65-F5344CB8AC3E}">
        <p14:creationId xmlns:p14="http://schemas.microsoft.com/office/powerpoint/2010/main" val="7817007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8E0444-6428-CC0E-BC40-C74478BE967F}"/>
              </a:ext>
            </a:extLst>
          </p:cNvPr>
          <p:cNvSpPr>
            <a:spLocks noGrp="1"/>
          </p:cNvSpPr>
          <p:nvPr>
            <p:ph type="title"/>
          </p:nvPr>
        </p:nvSpPr>
        <p:spPr/>
        <p:txBody>
          <a:bodyPr/>
          <a:lstStyle/>
          <a:p>
            <a:r>
              <a:rPr lang="en-US" b="1" i="0" dirty="0">
                <a:solidFill>
                  <a:srgbClr val="242424"/>
                </a:solidFill>
                <a:effectLst/>
                <a:latin typeface="Segoe UI" panose="020B0502040204020203" pitchFamily="34" charset="0"/>
              </a:rPr>
              <a:t>Lab 4: Monitoring and Managing Security Posture</a:t>
            </a:r>
            <a:endParaRPr lang="de-CH" dirty="0"/>
          </a:p>
        </p:txBody>
      </p:sp>
      <p:sp>
        <p:nvSpPr>
          <p:cNvPr id="3" name="Inhaltsplatzhalter 2">
            <a:extLst>
              <a:ext uri="{FF2B5EF4-FFF2-40B4-BE49-F238E27FC236}">
                <a16:creationId xmlns:a16="http://schemas.microsoft.com/office/drawing/2014/main" id="{F30C576D-B65A-44B5-FEEF-970FBECCA6AF}"/>
              </a:ext>
            </a:extLst>
          </p:cNvPr>
          <p:cNvSpPr>
            <a:spLocks noGrp="1"/>
          </p:cNvSpPr>
          <p:nvPr>
            <p:ph sz="quarter" idx="10"/>
          </p:nvPr>
        </p:nvSpPr>
        <p:spPr/>
        <p:txBody>
          <a:bodyPr/>
          <a:lstStyle/>
          <a:p>
            <a:endParaRPr lang="de-CH"/>
          </a:p>
        </p:txBody>
      </p:sp>
      <p:sp>
        <p:nvSpPr>
          <p:cNvPr id="4" name="Fußzeilenplatzhalter 3">
            <a:extLst>
              <a:ext uri="{FF2B5EF4-FFF2-40B4-BE49-F238E27FC236}">
                <a16:creationId xmlns:a16="http://schemas.microsoft.com/office/drawing/2014/main" id="{C242C4C9-A2CE-3931-9445-861BD38558C0}"/>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5" name="Foliennummernplatzhalter 4">
            <a:extLst>
              <a:ext uri="{FF2B5EF4-FFF2-40B4-BE49-F238E27FC236}">
                <a16:creationId xmlns:a16="http://schemas.microsoft.com/office/drawing/2014/main" id="{EC7D86D3-D61F-C034-1D3D-125D74101DD0}"/>
              </a:ext>
            </a:extLst>
          </p:cNvPr>
          <p:cNvSpPr>
            <a:spLocks noGrp="1"/>
          </p:cNvSpPr>
          <p:nvPr>
            <p:ph type="sldNum" sz="quarter" idx="11"/>
          </p:nvPr>
        </p:nvSpPr>
        <p:spPr/>
        <p:txBody>
          <a:bodyPr/>
          <a:lstStyle/>
          <a:p>
            <a:fld id="{1F90F471-3972-4120-B8B3-0237DE626C35}" type="slidenum">
              <a:rPr lang="en-US" smtClean="0"/>
              <a:pPr/>
              <a:t>33</a:t>
            </a:fld>
            <a:endParaRPr lang="en-US" dirty="0"/>
          </a:p>
        </p:txBody>
      </p:sp>
    </p:spTree>
    <p:extLst>
      <p:ext uri="{BB962C8B-B14F-4D97-AF65-F5344CB8AC3E}">
        <p14:creationId xmlns:p14="http://schemas.microsoft.com/office/powerpoint/2010/main" val="179100285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a:extLst>
              <a:ext uri="{FF2B5EF4-FFF2-40B4-BE49-F238E27FC236}">
                <a16:creationId xmlns:a16="http://schemas.microsoft.com/office/drawing/2014/main" id="{81C32163-2FCE-1D0A-32E6-87C45FE8B73F}"/>
              </a:ext>
            </a:extLst>
          </p:cNvPr>
          <p:cNvSpPr>
            <a:spLocks noGrp="1"/>
          </p:cNvSpPr>
          <p:nvPr>
            <p:ph type="title"/>
          </p:nvPr>
        </p:nvSpPr>
        <p:spPr/>
        <p:txBody>
          <a:bodyPr/>
          <a:lstStyle/>
          <a:p>
            <a:r>
              <a:rPr lang="de-CH" dirty="0" err="1"/>
              <a:t>Conclusion</a:t>
            </a:r>
            <a:endParaRPr lang="en-CH" dirty="0"/>
          </a:p>
        </p:txBody>
      </p:sp>
      <p:sp>
        <p:nvSpPr>
          <p:cNvPr id="39" name="Text Placeholder 38">
            <a:extLst>
              <a:ext uri="{FF2B5EF4-FFF2-40B4-BE49-F238E27FC236}">
                <a16:creationId xmlns:a16="http://schemas.microsoft.com/office/drawing/2014/main" id="{A6E29AF1-44F3-982F-705B-C75E1D360B58}"/>
              </a:ext>
            </a:extLst>
          </p:cNvPr>
          <p:cNvSpPr>
            <a:spLocks noGrp="1"/>
          </p:cNvSpPr>
          <p:nvPr>
            <p:ph type="body" idx="10"/>
          </p:nvPr>
        </p:nvSpPr>
        <p:spPr/>
        <p:txBody>
          <a:bodyPr/>
          <a:lstStyle/>
          <a:p>
            <a:r>
              <a:rPr lang="de-CH" dirty="0"/>
              <a:t>5</a:t>
            </a:r>
            <a:endParaRPr lang="en-CH" dirty="0"/>
          </a:p>
        </p:txBody>
      </p:sp>
      <p:sp>
        <p:nvSpPr>
          <p:cNvPr id="40" name="Text Placeholder 39">
            <a:extLst>
              <a:ext uri="{FF2B5EF4-FFF2-40B4-BE49-F238E27FC236}">
                <a16:creationId xmlns:a16="http://schemas.microsoft.com/office/drawing/2014/main" id="{F812FB05-C283-CDA9-B557-B5415BD2668A}"/>
              </a:ext>
            </a:extLst>
          </p:cNvPr>
          <p:cNvSpPr>
            <a:spLocks noGrp="1"/>
          </p:cNvSpPr>
          <p:nvPr>
            <p:ph type="body" sz="quarter" idx="15"/>
          </p:nvPr>
        </p:nvSpPr>
        <p:spPr/>
        <p:txBody>
          <a:bodyPr/>
          <a:lstStyle/>
          <a:p>
            <a:r>
              <a:rPr lang="en-GB" dirty="0"/>
              <a:t>What about the Database Security?</a:t>
            </a:r>
            <a:endParaRPr lang="en-CH" dirty="0"/>
          </a:p>
        </p:txBody>
      </p:sp>
      <p:sp>
        <p:nvSpPr>
          <p:cNvPr id="36" name="Footer Placeholder 35">
            <a:extLst>
              <a:ext uri="{FF2B5EF4-FFF2-40B4-BE49-F238E27FC236}">
                <a16:creationId xmlns:a16="http://schemas.microsoft.com/office/drawing/2014/main" id="{D14BE949-61B3-1CD1-A107-50B467A7CC86}"/>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37" name="Slide Number Placeholder 36">
            <a:extLst>
              <a:ext uri="{FF2B5EF4-FFF2-40B4-BE49-F238E27FC236}">
                <a16:creationId xmlns:a16="http://schemas.microsoft.com/office/drawing/2014/main" id="{77419519-CF95-EE0E-2030-F4F25194BCB4}"/>
              </a:ext>
            </a:extLst>
          </p:cNvPr>
          <p:cNvSpPr>
            <a:spLocks noGrp="1"/>
          </p:cNvSpPr>
          <p:nvPr>
            <p:ph type="sldNum" sz="quarter" idx="17"/>
          </p:nvPr>
        </p:nvSpPr>
        <p:spPr/>
        <p:txBody>
          <a:bodyPr/>
          <a:lstStyle/>
          <a:p>
            <a:fld id="{1F90F471-3972-4120-B8B3-0237DE626C35}" type="slidenum">
              <a:rPr lang="en-US" smtClean="0"/>
              <a:pPr/>
              <a:t>34</a:t>
            </a:fld>
            <a:endParaRPr lang="en-US" dirty="0"/>
          </a:p>
        </p:txBody>
      </p:sp>
    </p:spTree>
    <p:extLst>
      <p:ext uri="{BB962C8B-B14F-4D97-AF65-F5344CB8AC3E}">
        <p14:creationId xmlns:p14="http://schemas.microsoft.com/office/powerpoint/2010/main" val="20485670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6E8C83-5604-6800-8503-08C9674A39D3}"/>
              </a:ext>
            </a:extLst>
          </p:cNvPr>
          <p:cNvSpPr>
            <a:spLocks noGrp="1"/>
          </p:cNvSpPr>
          <p:nvPr>
            <p:ph type="title"/>
          </p:nvPr>
        </p:nvSpPr>
        <p:spPr/>
        <p:txBody>
          <a:bodyPr/>
          <a:lstStyle/>
          <a:p>
            <a:r>
              <a:rPr lang="de-CH" b="1" i="0" dirty="0">
                <a:solidFill>
                  <a:srgbClr val="242424"/>
                </a:solidFill>
                <a:effectLst/>
                <a:latin typeface="Segoe UI" panose="020B0502040204020203" pitchFamily="34" charset="0"/>
              </a:rPr>
              <a:t>Summary and Key Takeaways</a:t>
            </a:r>
            <a:endParaRPr lang="de-CH" dirty="0"/>
          </a:p>
        </p:txBody>
      </p:sp>
      <p:sp>
        <p:nvSpPr>
          <p:cNvPr id="3" name="Inhaltsplatzhalter 2">
            <a:extLst>
              <a:ext uri="{FF2B5EF4-FFF2-40B4-BE49-F238E27FC236}">
                <a16:creationId xmlns:a16="http://schemas.microsoft.com/office/drawing/2014/main" id="{998C4BBF-A242-24EA-B3CA-4B13BF528F10}"/>
              </a:ext>
            </a:extLst>
          </p:cNvPr>
          <p:cNvSpPr>
            <a:spLocks noGrp="1"/>
          </p:cNvSpPr>
          <p:nvPr>
            <p:ph sz="quarter" idx="10"/>
          </p:nvPr>
        </p:nvSpPr>
        <p:spPr/>
        <p:txBody>
          <a:bodyPr/>
          <a:lstStyle/>
          <a:p>
            <a:endParaRPr lang="de-CH" dirty="0"/>
          </a:p>
        </p:txBody>
      </p:sp>
      <p:sp>
        <p:nvSpPr>
          <p:cNvPr id="4" name="Fußzeilenplatzhalter 3">
            <a:extLst>
              <a:ext uri="{FF2B5EF4-FFF2-40B4-BE49-F238E27FC236}">
                <a16:creationId xmlns:a16="http://schemas.microsoft.com/office/drawing/2014/main" id="{2D039DF2-BF9E-9282-B390-A81448E0838A}"/>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5" name="Foliennummernplatzhalter 4">
            <a:extLst>
              <a:ext uri="{FF2B5EF4-FFF2-40B4-BE49-F238E27FC236}">
                <a16:creationId xmlns:a16="http://schemas.microsoft.com/office/drawing/2014/main" id="{97343006-E830-249D-A108-601C1138EE1C}"/>
              </a:ext>
            </a:extLst>
          </p:cNvPr>
          <p:cNvSpPr>
            <a:spLocks noGrp="1"/>
          </p:cNvSpPr>
          <p:nvPr>
            <p:ph type="sldNum" sz="quarter" idx="11"/>
          </p:nvPr>
        </p:nvSpPr>
        <p:spPr/>
        <p:txBody>
          <a:bodyPr/>
          <a:lstStyle/>
          <a:p>
            <a:fld id="{1F90F471-3972-4120-B8B3-0237DE626C35}" type="slidenum">
              <a:rPr lang="en-US" smtClean="0"/>
              <a:pPr/>
              <a:t>35</a:t>
            </a:fld>
            <a:endParaRPr lang="en-US" dirty="0"/>
          </a:p>
        </p:txBody>
      </p:sp>
    </p:spTree>
    <p:extLst>
      <p:ext uri="{BB962C8B-B14F-4D97-AF65-F5344CB8AC3E}">
        <p14:creationId xmlns:p14="http://schemas.microsoft.com/office/powerpoint/2010/main" val="288068069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5F04419-C632-2A92-74F3-231015EDC3D2}"/>
              </a:ext>
            </a:extLst>
          </p:cNvPr>
          <p:cNvSpPr>
            <a:spLocks noGrp="1"/>
          </p:cNvSpPr>
          <p:nvPr>
            <p:ph type="title"/>
          </p:nvPr>
        </p:nvSpPr>
        <p:spPr/>
        <p:txBody>
          <a:bodyPr/>
          <a:lstStyle/>
          <a:p>
            <a:r>
              <a:rPr lang="de-CH" dirty="0"/>
              <a:t>Resources</a:t>
            </a:r>
          </a:p>
        </p:txBody>
      </p:sp>
      <p:sp>
        <p:nvSpPr>
          <p:cNvPr id="3" name="Inhaltsplatzhalter 2">
            <a:extLst>
              <a:ext uri="{FF2B5EF4-FFF2-40B4-BE49-F238E27FC236}">
                <a16:creationId xmlns:a16="http://schemas.microsoft.com/office/drawing/2014/main" id="{5FB33E6E-C293-4105-E748-EAD20DF1B7B0}"/>
              </a:ext>
            </a:extLst>
          </p:cNvPr>
          <p:cNvSpPr>
            <a:spLocks noGrp="1"/>
          </p:cNvSpPr>
          <p:nvPr>
            <p:ph sz="quarter" idx="10"/>
          </p:nvPr>
        </p:nvSpPr>
        <p:spPr/>
        <p:txBody>
          <a:bodyPr/>
          <a:lstStyle/>
          <a:p>
            <a:r>
              <a:rPr lang="en-US" dirty="0">
                <a:hlinkClick r:id="rId2"/>
              </a:rPr>
              <a:t>Cloud Guard Quick Start Guide | Oracle</a:t>
            </a:r>
            <a:endParaRPr lang="de-CH" dirty="0"/>
          </a:p>
        </p:txBody>
      </p:sp>
      <p:sp>
        <p:nvSpPr>
          <p:cNvPr id="4" name="Fußzeilenplatzhalter 3">
            <a:extLst>
              <a:ext uri="{FF2B5EF4-FFF2-40B4-BE49-F238E27FC236}">
                <a16:creationId xmlns:a16="http://schemas.microsoft.com/office/drawing/2014/main" id="{7C4B492F-C568-EAF3-90BF-89300618B034}"/>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5" name="Foliennummernplatzhalter 4">
            <a:extLst>
              <a:ext uri="{FF2B5EF4-FFF2-40B4-BE49-F238E27FC236}">
                <a16:creationId xmlns:a16="http://schemas.microsoft.com/office/drawing/2014/main" id="{8ECD3576-DF5A-E36E-5FB1-ED0E24A77384}"/>
              </a:ext>
            </a:extLst>
          </p:cNvPr>
          <p:cNvSpPr>
            <a:spLocks noGrp="1"/>
          </p:cNvSpPr>
          <p:nvPr>
            <p:ph type="sldNum" sz="quarter" idx="11"/>
          </p:nvPr>
        </p:nvSpPr>
        <p:spPr/>
        <p:txBody>
          <a:bodyPr/>
          <a:lstStyle/>
          <a:p>
            <a:fld id="{1F90F471-3972-4120-B8B3-0237DE626C35}" type="slidenum">
              <a:rPr lang="en-US" smtClean="0"/>
              <a:pPr/>
              <a:t>36</a:t>
            </a:fld>
            <a:endParaRPr lang="en-US" dirty="0"/>
          </a:p>
        </p:txBody>
      </p:sp>
    </p:spTree>
    <p:extLst>
      <p:ext uri="{BB962C8B-B14F-4D97-AF65-F5344CB8AC3E}">
        <p14:creationId xmlns:p14="http://schemas.microsoft.com/office/powerpoint/2010/main" val="152871284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C86DCA-E252-45B6-8790-F0CA74EA47D8}"/>
              </a:ext>
            </a:extLst>
          </p:cNvPr>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118524515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C7692-6056-46B2-E512-0759FB3D49D6}"/>
              </a:ext>
            </a:extLst>
          </p:cNvPr>
          <p:cNvSpPr>
            <a:spLocks noGrp="1"/>
          </p:cNvSpPr>
          <p:nvPr>
            <p:ph type="title"/>
          </p:nvPr>
        </p:nvSpPr>
        <p:spPr/>
        <p:txBody>
          <a:bodyPr/>
          <a:lstStyle/>
          <a:p>
            <a:endParaRPr lang="en-CH"/>
          </a:p>
        </p:txBody>
      </p:sp>
      <p:sp>
        <p:nvSpPr>
          <p:cNvPr id="3" name="Content Placeholder 2">
            <a:extLst>
              <a:ext uri="{FF2B5EF4-FFF2-40B4-BE49-F238E27FC236}">
                <a16:creationId xmlns:a16="http://schemas.microsoft.com/office/drawing/2014/main" id="{0247D33A-9385-04FB-0CC0-B70A7E920902}"/>
              </a:ext>
            </a:extLst>
          </p:cNvPr>
          <p:cNvSpPr>
            <a:spLocks noGrp="1"/>
          </p:cNvSpPr>
          <p:nvPr>
            <p:ph sz="quarter" idx="10"/>
          </p:nvPr>
        </p:nvSpPr>
        <p:spPr/>
        <p:txBody>
          <a:bodyPr/>
          <a:lstStyle/>
          <a:p>
            <a:endParaRPr lang="en-CH"/>
          </a:p>
        </p:txBody>
      </p:sp>
      <p:sp>
        <p:nvSpPr>
          <p:cNvPr id="4" name="Text Placeholder 3">
            <a:extLst>
              <a:ext uri="{FF2B5EF4-FFF2-40B4-BE49-F238E27FC236}">
                <a16:creationId xmlns:a16="http://schemas.microsoft.com/office/drawing/2014/main" id="{2FD8FD66-5E5A-2B7A-3205-6225AA27B3E2}"/>
              </a:ext>
            </a:extLst>
          </p:cNvPr>
          <p:cNvSpPr>
            <a:spLocks noGrp="1"/>
          </p:cNvSpPr>
          <p:nvPr>
            <p:ph type="body" sz="quarter" idx="11"/>
          </p:nvPr>
        </p:nvSpPr>
        <p:spPr/>
        <p:txBody>
          <a:bodyPr/>
          <a:lstStyle/>
          <a:p>
            <a:endParaRPr lang="en-CH"/>
          </a:p>
        </p:txBody>
      </p:sp>
      <p:sp>
        <p:nvSpPr>
          <p:cNvPr id="5" name="Footer Placeholder 4">
            <a:extLst>
              <a:ext uri="{FF2B5EF4-FFF2-40B4-BE49-F238E27FC236}">
                <a16:creationId xmlns:a16="http://schemas.microsoft.com/office/drawing/2014/main" id="{342E9261-50DD-8A5B-F1A3-562699A03820}"/>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6" name="Slide Number Placeholder 5">
            <a:extLst>
              <a:ext uri="{FF2B5EF4-FFF2-40B4-BE49-F238E27FC236}">
                <a16:creationId xmlns:a16="http://schemas.microsoft.com/office/drawing/2014/main" id="{7C6A8576-31FF-8987-09BD-993D383AD971}"/>
              </a:ext>
            </a:extLst>
          </p:cNvPr>
          <p:cNvSpPr>
            <a:spLocks noGrp="1"/>
          </p:cNvSpPr>
          <p:nvPr>
            <p:ph type="sldNum" sz="quarter" idx="12"/>
          </p:nvPr>
        </p:nvSpPr>
        <p:spPr/>
        <p:txBody>
          <a:bodyPr/>
          <a:lstStyle/>
          <a:p>
            <a:fld id="{1F90F471-3972-4120-B8B3-0237DE626C35}" type="slidenum">
              <a:rPr lang="en-US" smtClean="0"/>
              <a:pPr/>
              <a:t>38</a:t>
            </a:fld>
            <a:endParaRPr lang="en-US" dirty="0"/>
          </a:p>
        </p:txBody>
      </p:sp>
      <p:sp>
        <p:nvSpPr>
          <p:cNvPr id="7" name="Content Placeholder 6">
            <a:extLst>
              <a:ext uri="{FF2B5EF4-FFF2-40B4-BE49-F238E27FC236}">
                <a16:creationId xmlns:a16="http://schemas.microsoft.com/office/drawing/2014/main" id="{5360B527-E95B-DFB0-6918-0750421D59BC}"/>
              </a:ext>
            </a:extLst>
          </p:cNvPr>
          <p:cNvSpPr>
            <a:spLocks noGrp="1"/>
          </p:cNvSpPr>
          <p:nvPr>
            <p:ph sz="quarter" idx="13"/>
          </p:nvPr>
        </p:nvSpPr>
        <p:spPr/>
        <p:txBody>
          <a:bodyPr/>
          <a:lstStyle/>
          <a:p>
            <a:endParaRPr lang="en-CH"/>
          </a:p>
        </p:txBody>
      </p:sp>
      <p:sp>
        <p:nvSpPr>
          <p:cNvPr id="8" name="Content Placeholder 7">
            <a:extLst>
              <a:ext uri="{FF2B5EF4-FFF2-40B4-BE49-F238E27FC236}">
                <a16:creationId xmlns:a16="http://schemas.microsoft.com/office/drawing/2014/main" id="{50BD9527-5538-749A-E637-24049E723DE9}"/>
              </a:ext>
            </a:extLst>
          </p:cNvPr>
          <p:cNvSpPr>
            <a:spLocks noGrp="1"/>
          </p:cNvSpPr>
          <p:nvPr>
            <p:ph sz="quarter" idx="14"/>
          </p:nvPr>
        </p:nvSpPr>
        <p:spPr/>
        <p:txBody>
          <a:bodyPr/>
          <a:lstStyle/>
          <a:p>
            <a:endParaRPr lang="en-CH"/>
          </a:p>
        </p:txBody>
      </p:sp>
      <p:sp>
        <p:nvSpPr>
          <p:cNvPr id="9" name="Content Placeholder 8">
            <a:extLst>
              <a:ext uri="{FF2B5EF4-FFF2-40B4-BE49-F238E27FC236}">
                <a16:creationId xmlns:a16="http://schemas.microsoft.com/office/drawing/2014/main" id="{979DD57F-E3E2-D169-BD1A-888DFC4F0F41}"/>
              </a:ext>
            </a:extLst>
          </p:cNvPr>
          <p:cNvSpPr>
            <a:spLocks noGrp="1"/>
          </p:cNvSpPr>
          <p:nvPr>
            <p:ph sz="quarter" idx="15"/>
          </p:nvPr>
        </p:nvSpPr>
        <p:spPr/>
        <p:txBody>
          <a:bodyPr/>
          <a:lstStyle/>
          <a:p>
            <a:endParaRPr lang="en-CH"/>
          </a:p>
        </p:txBody>
      </p:sp>
    </p:spTree>
    <p:extLst>
      <p:ext uri="{BB962C8B-B14F-4D97-AF65-F5344CB8AC3E}">
        <p14:creationId xmlns:p14="http://schemas.microsoft.com/office/powerpoint/2010/main" val="11308701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2877B19A-A6F2-8461-8303-8E9390F952AB}"/>
              </a:ext>
            </a:extLst>
          </p:cNvPr>
          <p:cNvSpPr>
            <a:spLocks noGrp="1"/>
          </p:cNvSpPr>
          <p:nvPr>
            <p:ph type="title"/>
          </p:nvPr>
        </p:nvSpPr>
        <p:spPr/>
        <p:txBody>
          <a:bodyPr/>
          <a:lstStyle/>
          <a:p>
            <a:endParaRPr lang="en-CH"/>
          </a:p>
        </p:txBody>
      </p:sp>
      <p:sp>
        <p:nvSpPr>
          <p:cNvPr id="11" name="Content Placeholder 10">
            <a:extLst>
              <a:ext uri="{FF2B5EF4-FFF2-40B4-BE49-F238E27FC236}">
                <a16:creationId xmlns:a16="http://schemas.microsoft.com/office/drawing/2014/main" id="{93C9C4BA-F786-037F-115D-1D4B70D08D6B}"/>
              </a:ext>
            </a:extLst>
          </p:cNvPr>
          <p:cNvSpPr>
            <a:spLocks noGrp="1"/>
          </p:cNvSpPr>
          <p:nvPr>
            <p:ph sz="quarter" idx="10"/>
          </p:nvPr>
        </p:nvSpPr>
        <p:spPr/>
        <p:txBody>
          <a:bodyPr/>
          <a:lstStyle/>
          <a:p>
            <a:endParaRPr lang="en-CH"/>
          </a:p>
        </p:txBody>
      </p:sp>
      <p:sp>
        <p:nvSpPr>
          <p:cNvPr id="12" name="Text Placeholder 11">
            <a:extLst>
              <a:ext uri="{FF2B5EF4-FFF2-40B4-BE49-F238E27FC236}">
                <a16:creationId xmlns:a16="http://schemas.microsoft.com/office/drawing/2014/main" id="{978AAEBF-DB92-62C1-D03A-4A40C0975A6F}"/>
              </a:ext>
            </a:extLst>
          </p:cNvPr>
          <p:cNvSpPr>
            <a:spLocks noGrp="1"/>
          </p:cNvSpPr>
          <p:nvPr>
            <p:ph type="body" sz="quarter" idx="11"/>
          </p:nvPr>
        </p:nvSpPr>
        <p:spPr/>
        <p:txBody>
          <a:bodyPr/>
          <a:lstStyle/>
          <a:p>
            <a:endParaRPr lang="en-CH"/>
          </a:p>
        </p:txBody>
      </p:sp>
      <p:sp>
        <p:nvSpPr>
          <p:cNvPr id="5" name="Footer Placeholder 4">
            <a:extLst>
              <a:ext uri="{FF2B5EF4-FFF2-40B4-BE49-F238E27FC236}">
                <a16:creationId xmlns:a16="http://schemas.microsoft.com/office/drawing/2014/main" id="{BFBED2C4-80A4-E78D-0564-A7AAFDFE38D0}"/>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6" name="Slide Number Placeholder 5">
            <a:extLst>
              <a:ext uri="{FF2B5EF4-FFF2-40B4-BE49-F238E27FC236}">
                <a16:creationId xmlns:a16="http://schemas.microsoft.com/office/drawing/2014/main" id="{A9FFEC4D-507B-FEF9-CB06-E4D8A4B825BE}"/>
              </a:ext>
            </a:extLst>
          </p:cNvPr>
          <p:cNvSpPr>
            <a:spLocks noGrp="1"/>
          </p:cNvSpPr>
          <p:nvPr>
            <p:ph type="sldNum" sz="quarter" idx="12"/>
          </p:nvPr>
        </p:nvSpPr>
        <p:spPr/>
        <p:txBody>
          <a:bodyPr/>
          <a:lstStyle/>
          <a:p>
            <a:fld id="{1F90F471-3972-4120-B8B3-0237DE626C35}" type="slidenum">
              <a:rPr lang="en-US" smtClean="0"/>
              <a:pPr/>
              <a:t>39</a:t>
            </a:fld>
            <a:endParaRPr lang="en-US" dirty="0"/>
          </a:p>
        </p:txBody>
      </p:sp>
      <p:sp>
        <p:nvSpPr>
          <p:cNvPr id="13" name="Content Placeholder 12">
            <a:extLst>
              <a:ext uri="{FF2B5EF4-FFF2-40B4-BE49-F238E27FC236}">
                <a16:creationId xmlns:a16="http://schemas.microsoft.com/office/drawing/2014/main" id="{D0E28A2F-3284-DC08-057E-1E3D9719FCF9}"/>
              </a:ext>
            </a:extLst>
          </p:cNvPr>
          <p:cNvSpPr>
            <a:spLocks noGrp="1"/>
          </p:cNvSpPr>
          <p:nvPr>
            <p:ph sz="quarter" idx="15"/>
          </p:nvPr>
        </p:nvSpPr>
        <p:spPr/>
        <p:txBody>
          <a:bodyPr/>
          <a:lstStyle/>
          <a:p>
            <a:endParaRPr lang="en-CH"/>
          </a:p>
        </p:txBody>
      </p:sp>
    </p:spTree>
    <p:extLst>
      <p:ext uri="{BB962C8B-B14F-4D97-AF65-F5344CB8AC3E}">
        <p14:creationId xmlns:p14="http://schemas.microsoft.com/office/powerpoint/2010/main" val="17610358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descr="A picture containing person, snow, riding, person&#10;&#10;Description automatically generated">
            <a:extLst>
              <a:ext uri="{FF2B5EF4-FFF2-40B4-BE49-F238E27FC236}">
                <a16:creationId xmlns:a16="http://schemas.microsoft.com/office/drawing/2014/main" id="{46867ABD-CD03-7F46-8AFE-E1125785416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2192000" cy="3572579"/>
          </a:xfrm>
          <a:prstGeom prst="rect">
            <a:avLst/>
          </a:prstGeom>
        </p:spPr>
      </p:pic>
      <p:sp>
        <p:nvSpPr>
          <p:cNvPr id="43" name="Round Same-side Corner of Rectangle 42">
            <a:extLst>
              <a:ext uri="{FF2B5EF4-FFF2-40B4-BE49-F238E27FC236}">
                <a16:creationId xmlns:a16="http://schemas.microsoft.com/office/drawing/2014/main" id="{648054CC-FFF1-5F41-BF71-78F9E65D30B7}"/>
              </a:ext>
            </a:extLst>
          </p:cNvPr>
          <p:cNvSpPr/>
          <p:nvPr/>
        </p:nvSpPr>
        <p:spPr>
          <a:xfrm rot="10800000">
            <a:off x="730220" y="-860"/>
            <a:ext cx="1748157" cy="840328"/>
          </a:xfrm>
          <a:prstGeom prst="round2Same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14" name="TextBox 13"/>
          <p:cNvSpPr txBox="1"/>
          <p:nvPr/>
        </p:nvSpPr>
        <p:spPr>
          <a:xfrm>
            <a:off x="865697" y="3961732"/>
            <a:ext cx="3175328" cy="369332"/>
          </a:xfrm>
          <a:prstGeom prst="rect">
            <a:avLst/>
          </a:prstGeom>
          <a:noFill/>
        </p:spPr>
        <p:txBody>
          <a:bodyPr wrap="square" lIns="0" rtlCol="0">
            <a:spAutoFit/>
          </a:bodyPr>
          <a:lstStyle/>
          <a:p>
            <a:pPr>
              <a:spcBef>
                <a:spcPts val="600"/>
              </a:spcBef>
            </a:pPr>
            <a:r>
              <a:rPr lang="en-US" b="1" dirty="0">
                <a:latin typeface="Calibri" panose="020F0502020204030204" pitchFamily="34" charset="0"/>
                <a:cs typeface="Calibri" panose="020F0502020204030204" pitchFamily="34" charset="0"/>
              </a:rPr>
              <a:t>3 membership tiers</a:t>
            </a:r>
          </a:p>
        </p:txBody>
      </p:sp>
      <p:sp>
        <p:nvSpPr>
          <p:cNvPr id="36" name="TextBox 35">
            <a:extLst>
              <a:ext uri="{FF2B5EF4-FFF2-40B4-BE49-F238E27FC236}">
                <a16:creationId xmlns:a16="http://schemas.microsoft.com/office/drawing/2014/main" id="{BC3A4E58-B5BC-AB48-B89F-3F0F04E4E5E5}"/>
              </a:ext>
            </a:extLst>
          </p:cNvPr>
          <p:cNvSpPr txBox="1"/>
          <p:nvPr/>
        </p:nvSpPr>
        <p:spPr>
          <a:xfrm>
            <a:off x="865695" y="6364939"/>
            <a:ext cx="746358" cy="307777"/>
          </a:xfrm>
          <a:prstGeom prst="rect">
            <a:avLst/>
          </a:prstGeom>
          <a:noFill/>
        </p:spPr>
        <p:txBody>
          <a:bodyPr wrap="none" lIns="0" rtlCol="0">
            <a:spAutoFit/>
          </a:bodyPr>
          <a:lstStyle/>
          <a:p>
            <a:r>
              <a:rPr lang="en-US" sz="1400" dirty="0">
                <a:solidFill>
                  <a:srgbClr val="2C5967"/>
                </a:solidFill>
                <a:latin typeface="Calibri" panose="020F0502020204030204" pitchFamily="34" charset="0"/>
                <a:cs typeface="Calibri" panose="020F0502020204030204" pitchFamily="34" charset="0"/>
              </a:rPr>
              <a:t>Connect:</a:t>
            </a:r>
          </a:p>
        </p:txBody>
      </p:sp>
      <p:sp>
        <p:nvSpPr>
          <p:cNvPr id="37" name="Rectangle 36">
            <a:extLst>
              <a:ext uri="{FF2B5EF4-FFF2-40B4-BE49-F238E27FC236}">
                <a16:creationId xmlns:a16="http://schemas.microsoft.com/office/drawing/2014/main" id="{EBE76DB6-AC82-B142-AF8F-C5297CC3EA2C}"/>
              </a:ext>
            </a:extLst>
          </p:cNvPr>
          <p:cNvSpPr/>
          <p:nvPr/>
        </p:nvSpPr>
        <p:spPr>
          <a:xfrm>
            <a:off x="7423515" y="6364939"/>
            <a:ext cx="1219180" cy="276999"/>
          </a:xfrm>
          <a:prstGeom prst="rect">
            <a:avLst/>
          </a:prstGeom>
        </p:spPr>
        <p:txBody>
          <a:bodyPr wrap="none" lIns="0" tIns="0" rIns="0" bIns="0" anchor="ctr">
            <a:noAutofit/>
          </a:bodyPr>
          <a:lstStyle/>
          <a:p>
            <a:r>
              <a:rPr lang="en-US" sz="1400" dirty="0">
                <a:solidFill>
                  <a:srgbClr val="2C5967"/>
                </a:solidFill>
                <a:latin typeface="Calibri" panose="020F0502020204030204" pitchFamily="34" charset="0"/>
                <a:cs typeface="Calibri" panose="020F0502020204030204" pitchFamily="34" charset="0"/>
              </a:rPr>
              <a:t>@</a:t>
            </a:r>
            <a:r>
              <a:rPr lang="en-US" sz="1400" dirty="0" err="1">
                <a:solidFill>
                  <a:srgbClr val="2C5967"/>
                </a:solidFill>
                <a:latin typeface="Calibri" panose="020F0502020204030204" pitchFamily="34" charset="0"/>
                <a:cs typeface="Calibri" panose="020F0502020204030204" pitchFamily="34" charset="0"/>
              </a:rPr>
              <a:t>oracleace</a:t>
            </a:r>
            <a:endParaRPr lang="en-US" sz="1400" dirty="0">
              <a:solidFill>
                <a:srgbClr val="2C5967"/>
              </a:solidFill>
              <a:latin typeface="Calibri" panose="020F0502020204030204" pitchFamily="34" charset="0"/>
              <a:cs typeface="Calibri" panose="020F0502020204030204" pitchFamily="34" charset="0"/>
            </a:endParaRPr>
          </a:p>
        </p:txBody>
      </p:sp>
      <p:sp>
        <p:nvSpPr>
          <p:cNvPr id="38" name="Rectangle 37">
            <a:extLst>
              <a:ext uri="{FF2B5EF4-FFF2-40B4-BE49-F238E27FC236}">
                <a16:creationId xmlns:a16="http://schemas.microsoft.com/office/drawing/2014/main" id="{B439D319-FEF9-094F-B231-70BC7D128EE8}"/>
              </a:ext>
            </a:extLst>
          </p:cNvPr>
          <p:cNvSpPr/>
          <p:nvPr/>
        </p:nvSpPr>
        <p:spPr>
          <a:xfrm>
            <a:off x="4760372" y="6364939"/>
            <a:ext cx="2714397" cy="276999"/>
          </a:xfrm>
          <a:prstGeom prst="rect">
            <a:avLst/>
          </a:prstGeom>
        </p:spPr>
        <p:txBody>
          <a:bodyPr wrap="none" lIns="0" tIns="0" rIns="0" bIns="0" anchor="ctr">
            <a:noAutofit/>
          </a:bodyPr>
          <a:lstStyle/>
          <a:p>
            <a:r>
              <a:rPr lang="en-US" sz="1400" dirty="0" err="1">
                <a:solidFill>
                  <a:srgbClr val="2C5967"/>
                </a:solidFill>
                <a:latin typeface="Calibri" panose="020F0502020204030204" pitchFamily="34" charset="0"/>
                <a:cs typeface="Calibri" panose="020F0502020204030204" pitchFamily="34" charset="0"/>
              </a:rPr>
              <a:t>Facebook.com</a:t>
            </a:r>
            <a:r>
              <a:rPr lang="en-US" sz="1400" dirty="0">
                <a:solidFill>
                  <a:srgbClr val="2C5967"/>
                </a:solidFill>
                <a:latin typeface="Calibri" panose="020F0502020204030204" pitchFamily="34" charset="0"/>
                <a:cs typeface="Calibri" panose="020F0502020204030204" pitchFamily="34" charset="0"/>
              </a:rPr>
              <a:t>/</a:t>
            </a:r>
            <a:r>
              <a:rPr lang="en-US" sz="1400" dirty="0" err="1">
                <a:solidFill>
                  <a:srgbClr val="2C5967"/>
                </a:solidFill>
                <a:latin typeface="Calibri" panose="020F0502020204030204" pitchFamily="34" charset="0"/>
                <a:cs typeface="Calibri" panose="020F0502020204030204" pitchFamily="34" charset="0"/>
              </a:rPr>
              <a:t>OracleACEs</a:t>
            </a:r>
            <a:endParaRPr lang="en-US" sz="1400" dirty="0">
              <a:solidFill>
                <a:srgbClr val="2C5967"/>
              </a:solidFill>
              <a:latin typeface="Calibri" panose="020F0502020204030204" pitchFamily="34" charset="0"/>
              <a:cs typeface="Calibri" panose="020F0502020204030204" pitchFamily="34" charset="0"/>
            </a:endParaRPr>
          </a:p>
        </p:txBody>
      </p:sp>
      <p:sp>
        <p:nvSpPr>
          <p:cNvPr id="39" name="Rectangle 38">
            <a:extLst>
              <a:ext uri="{FF2B5EF4-FFF2-40B4-BE49-F238E27FC236}">
                <a16:creationId xmlns:a16="http://schemas.microsoft.com/office/drawing/2014/main" id="{901E7ECA-99D0-304B-A69F-7DA2D6A7428B}"/>
              </a:ext>
            </a:extLst>
          </p:cNvPr>
          <p:cNvSpPr/>
          <p:nvPr/>
        </p:nvSpPr>
        <p:spPr>
          <a:xfrm>
            <a:off x="1992669" y="6364939"/>
            <a:ext cx="2955617" cy="276999"/>
          </a:xfrm>
          <a:prstGeom prst="rect">
            <a:avLst/>
          </a:prstGeom>
        </p:spPr>
        <p:txBody>
          <a:bodyPr wrap="none" lIns="0" tIns="0" rIns="0" bIns="0" anchor="ctr">
            <a:noAutofit/>
          </a:bodyPr>
          <a:lstStyle/>
          <a:p>
            <a:r>
              <a:rPr lang="en-US" sz="1400" b="1" dirty="0" err="1">
                <a:solidFill>
                  <a:srgbClr val="2C5967"/>
                </a:solidFill>
                <a:latin typeface="Calibri" panose="020F0502020204030204" pitchFamily="34" charset="0"/>
                <a:cs typeface="Calibri" panose="020F0502020204030204" pitchFamily="34" charset="0"/>
              </a:rPr>
              <a:t>aceprogram_ww@oracle.com</a:t>
            </a:r>
            <a:endParaRPr lang="en-US" sz="1400" b="1" dirty="0">
              <a:solidFill>
                <a:srgbClr val="2C5967"/>
              </a:solidFill>
              <a:latin typeface="Calibri" panose="020F0502020204030204" pitchFamily="34" charset="0"/>
              <a:cs typeface="Calibri" panose="020F0502020204030204" pitchFamily="34" charset="0"/>
            </a:endParaRPr>
          </a:p>
        </p:txBody>
      </p:sp>
      <p:sp>
        <p:nvSpPr>
          <p:cNvPr id="40" name="Freeform 39">
            <a:extLst>
              <a:ext uri="{FF2B5EF4-FFF2-40B4-BE49-F238E27FC236}">
                <a16:creationId xmlns:a16="http://schemas.microsoft.com/office/drawing/2014/main" id="{0668871F-C970-834C-9B10-03CCB6EE4F30}"/>
              </a:ext>
            </a:extLst>
          </p:cNvPr>
          <p:cNvSpPr>
            <a:spLocks noChangeAspect="1" noChangeArrowheads="1"/>
          </p:cNvSpPr>
          <p:nvPr/>
        </p:nvSpPr>
        <p:spPr bwMode="auto">
          <a:xfrm>
            <a:off x="7125585" y="6395438"/>
            <a:ext cx="216000" cy="216000"/>
          </a:xfrm>
          <a:custGeom>
            <a:avLst/>
            <a:gdLst>
              <a:gd name="T0" fmla="*/ 2777 w 2964"/>
              <a:gd name="T1" fmla="*/ 0 h 2964"/>
              <a:gd name="T2" fmla="*/ 185 w 2964"/>
              <a:gd name="T3" fmla="*/ 0 h 2964"/>
              <a:gd name="T4" fmla="*/ 0 w 2964"/>
              <a:gd name="T5" fmla="*/ 185 h 2964"/>
              <a:gd name="T6" fmla="*/ 0 w 2964"/>
              <a:gd name="T7" fmla="*/ 2777 h 2964"/>
              <a:gd name="T8" fmla="*/ 185 w 2964"/>
              <a:gd name="T9" fmla="*/ 2963 h 2964"/>
              <a:gd name="T10" fmla="*/ 2777 w 2964"/>
              <a:gd name="T11" fmla="*/ 2963 h 2964"/>
              <a:gd name="T12" fmla="*/ 2963 w 2964"/>
              <a:gd name="T13" fmla="*/ 2777 h 2964"/>
              <a:gd name="T14" fmla="*/ 2963 w 2964"/>
              <a:gd name="T15" fmla="*/ 185 h 2964"/>
              <a:gd name="T16" fmla="*/ 2777 w 2964"/>
              <a:gd name="T17" fmla="*/ 0 h 2964"/>
              <a:gd name="T18" fmla="*/ 2223 w 2964"/>
              <a:gd name="T19" fmla="*/ 1100 h 2964"/>
              <a:gd name="T20" fmla="*/ 2223 w 2964"/>
              <a:gd name="T21" fmla="*/ 1158 h 2964"/>
              <a:gd name="T22" fmla="*/ 1135 w 2964"/>
              <a:gd name="T23" fmla="*/ 2233 h 2964"/>
              <a:gd name="T24" fmla="*/ 556 w 2964"/>
              <a:gd name="T25" fmla="*/ 2061 h 2964"/>
              <a:gd name="T26" fmla="*/ 648 w 2964"/>
              <a:gd name="T27" fmla="*/ 2072 h 2964"/>
              <a:gd name="T28" fmla="*/ 1123 w 2964"/>
              <a:gd name="T29" fmla="*/ 1910 h 2964"/>
              <a:gd name="T30" fmla="*/ 764 w 2964"/>
              <a:gd name="T31" fmla="*/ 1644 h 2964"/>
              <a:gd name="T32" fmla="*/ 833 w 2964"/>
              <a:gd name="T33" fmla="*/ 1644 h 2964"/>
              <a:gd name="T34" fmla="*/ 938 w 2964"/>
              <a:gd name="T35" fmla="*/ 1632 h 2964"/>
              <a:gd name="T36" fmla="*/ 625 w 2964"/>
              <a:gd name="T37" fmla="*/ 1262 h 2964"/>
              <a:gd name="T38" fmla="*/ 799 w 2964"/>
              <a:gd name="T39" fmla="*/ 1308 h 2964"/>
              <a:gd name="T40" fmla="*/ 637 w 2964"/>
              <a:gd name="T41" fmla="*/ 984 h 2964"/>
              <a:gd name="T42" fmla="*/ 683 w 2964"/>
              <a:gd name="T43" fmla="*/ 799 h 2964"/>
              <a:gd name="T44" fmla="*/ 1470 w 2964"/>
              <a:gd name="T45" fmla="*/ 1192 h 2964"/>
              <a:gd name="T46" fmla="*/ 1459 w 2964"/>
              <a:gd name="T47" fmla="*/ 1111 h 2964"/>
              <a:gd name="T48" fmla="*/ 1841 w 2964"/>
              <a:gd name="T49" fmla="*/ 729 h 2964"/>
              <a:gd name="T50" fmla="*/ 2119 w 2964"/>
              <a:gd name="T51" fmla="*/ 845 h 2964"/>
              <a:gd name="T52" fmla="*/ 2361 w 2964"/>
              <a:gd name="T53" fmla="*/ 752 h 2964"/>
              <a:gd name="T54" fmla="*/ 2188 w 2964"/>
              <a:gd name="T55" fmla="*/ 972 h 2964"/>
              <a:gd name="T56" fmla="*/ 2407 w 2964"/>
              <a:gd name="T57" fmla="*/ 903 h 2964"/>
              <a:gd name="T58" fmla="*/ 2223 w 2964"/>
              <a:gd name="T59" fmla="*/ 1100 h 2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64" h="2964">
                <a:moveTo>
                  <a:pt x="2777" y="0"/>
                </a:moveTo>
                <a:cubicBezTo>
                  <a:pt x="185" y="0"/>
                  <a:pt x="185" y="0"/>
                  <a:pt x="185" y="0"/>
                </a:cubicBezTo>
                <a:cubicBezTo>
                  <a:pt x="81" y="0"/>
                  <a:pt x="0" y="81"/>
                  <a:pt x="0" y="185"/>
                </a:cubicBezTo>
                <a:cubicBezTo>
                  <a:pt x="0" y="2777"/>
                  <a:pt x="0" y="2777"/>
                  <a:pt x="0" y="2777"/>
                </a:cubicBezTo>
                <a:cubicBezTo>
                  <a:pt x="0" y="2882"/>
                  <a:pt x="81" y="2963"/>
                  <a:pt x="185" y="2963"/>
                </a:cubicBezTo>
                <a:cubicBezTo>
                  <a:pt x="2777" y="2963"/>
                  <a:pt x="2777" y="2963"/>
                  <a:pt x="2777" y="2963"/>
                </a:cubicBezTo>
                <a:cubicBezTo>
                  <a:pt x="2882" y="2963"/>
                  <a:pt x="2963" y="2882"/>
                  <a:pt x="2963" y="2777"/>
                </a:cubicBezTo>
                <a:cubicBezTo>
                  <a:pt x="2963" y="185"/>
                  <a:pt x="2963" y="185"/>
                  <a:pt x="2963" y="185"/>
                </a:cubicBezTo>
                <a:cubicBezTo>
                  <a:pt x="2963" y="81"/>
                  <a:pt x="2882" y="0"/>
                  <a:pt x="2777" y="0"/>
                </a:cubicBezTo>
                <a:close/>
                <a:moveTo>
                  <a:pt x="2223" y="1100"/>
                </a:moveTo>
                <a:cubicBezTo>
                  <a:pt x="2223" y="1123"/>
                  <a:pt x="2223" y="1135"/>
                  <a:pt x="2223" y="1158"/>
                </a:cubicBezTo>
                <a:cubicBezTo>
                  <a:pt x="2223" y="1656"/>
                  <a:pt x="1841" y="2233"/>
                  <a:pt x="1135" y="2233"/>
                </a:cubicBezTo>
                <a:cubicBezTo>
                  <a:pt x="926" y="2233"/>
                  <a:pt x="729" y="2176"/>
                  <a:pt x="556" y="2061"/>
                </a:cubicBezTo>
                <a:cubicBezTo>
                  <a:pt x="590" y="2072"/>
                  <a:pt x="613" y="2072"/>
                  <a:pt x="648" y="2072"/>
                </a:cubicBezTo>
                <a:cubicBezTo>
                  <a:pt x="822" y="2072"/>
                  <a:pt x="984" y="2003"/>
                  <a:pt x="1123" y="1910"/>
                </a:cubicBezTo>
                <a:cubicBezTo>
                  <a:pt x="949" y="1899"/>
                  <a:pt x="811" y="1794"/>
                  <a:pt x="764" y="1644"/>
                </a:cubicBezTo>
                <a:cubicBezTo>
                  <a:pt x="787" y="1644"/>
                  <a:pt x="811" y="1644"/>
                  <a:pt x="833" y="1644"/>
                </a:cubicBezTo>
                <a:cubicBezTo>
                  <a:pt x="868" y="1644"/>
                  <a:pt x="903" y="1644"/>
                  <a:pt x="938" y="1632"/>
                </a:cubicBezTo>
                <a:cubicBezTo>
                  <a:pt x="764" y="1598"/>
                  <a:pt x="625" y="1447"/>
                  <a:pt x="625" y="1262"/>
                </a:cubicBezTo>
                <a:cubicBezTo>
                  <a:pt x="683" y="1285"/>
                  <a:pt x="741" y="1308"/>
                  <a:pt x="799" y="1308"/>
                </a:cubicBezTo>
                <a:cubicBezTo>
                  <a:pt x="695" y="1239"/>
                  <a:pt x="637" y="1123"/>
                  <a:pt x="637" y="984"/>
                </a:cubicBezTo>
                <a:cubicBezTo>
                  <a:pt x="637" y="915"/>
                  <a:pt x="648" y="857"/>
                  <a:pt x="683" y="799"/>
                </a:cubicBezTo>
                <a:cubicBezTo>
                  <a:pt x="868" y="1030"/>
                  <a:pt x="1158" y="1181"/>
                  <a:pt x="1470" y="1192"/>
                </a:cubicBezTo>
                <a:cubicBezTo>
                  <a:pt x="1459" y="1169"/>
                  <a:pt x="1459" y="1135"/>
                  <a:pt x="1459" y="1111"/>
                </a:cubicBezTo>
                <a:cubicBezTo>
                  <a:pt x="1459" y="903"/>
                  <a:pt x="1632" y="729"/>
                  <a:pt x="1841" y="729"/>
                </a:cubicBezTo>
                <a:cubicBezTo>
                  <a:pt x="1945" y="729"/>
                  <a:pt x="2049" y="776"/>
                  <a:pt x="2119" y="845"/>
                </a:cubicBezTo>
                <a:cubicBezTo>
                  <a:pt x="2200" y="833"/>
                  <a:pt x="2280" y="799"/>
                  <a:pt x="2361" y="752"/>
                </a:cubicBezTo>
                <a:cubicBezTo>
                  <a:pt x="2326" y="845"/>
                  <a:pt x="2268" y="915"/>
                  <a:pt x="2188" y="972"/>
                </a:cubicBezTo>
                <a:cubicBezTo>
                  <a:pt x="2268" y="961"/>
                  <a:pt x="2338" y="938"/>
                  <a:pt x="2407" y="903"/>
                </a:cubicBezTo>
                <a:cubicBezTo>
                  <a:pt x="2361" y="984"/>
                  <a:pt x="2291" y="1054"/>
                  <a:pt x="2223" y="1100"/>
                </a:cubicBezTo>
                <a:close/>
              </a:path>
            </a:pathLst>
          </a:custGeom>
          <a:solidFill>
            <a:srgbClr val="2C5967"/>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00" dirty="0">
              <a:latin typeface="Calibri" panose="020F0502020204030204" pitchFamily="34" charset="0"/>
              <a:cs typeface="Calibri" panose="020F0502020204030204" pitchFamily="34" charset="0"/>
            </a:endParaRPr>
          </a:p>
        </p:txBody>
      </p:sp>
      <p:sp>
        <p:nvSpPr>
          <p:cNvPr id="41" name="Freeform 3">
            <a:extLst>
              <a:ext uri="{FF2B5EF4-FFF2-40B4-BE49-F238E27FC236}">
                <a16:creationId xmlns:a16="http://schemas.microsoft.com/office/drawing/2014/main" id="{6AC64DEA-5710-9B46-9CB3-634984BBCF6F}"/>
              </a:ext>
            </a:extLst>
          </p:cNvPr>
          <p:cNvSpPr>
            <a:spLocks noChangeAspect="1" noChangeArrowheads="1"/>
          </p:cNvSpPr>
          <p:nvPr/>
        </p:nvSpPr>
        <p:spPr bwMode="auto">
          <a:xfrm>
            <a:off x="4462441" y="6395438"/>
            <a:ext cx="216000" cy="216000"/>
          </a:xfrm>
          <a:custGeom>
            <a:avLst/>
            <a:gdLst>
              <a:gd name="T0" fmla="*/ 2777 w 2964"/>
              <a:gd name="T1" fmla="*/ 0 h 2964"/>
              <a:gd name="T2" fmla="*/ 185 w 2964"/>
              <a:gd name="T3" fmla="*/ 0 h 2964"/>
              <a:gd name="T4" fmla="*/ 0 w 2964"/>
              <a:gd name="T5" fmla="*/ 185 h 2964"/>
              <a:gd name="T6" fmla="*/ 0 w 2964"/>
              <a:gd name="T7" fmla="*/ 2777 h 2964"/>
              <a:gd name="T8" fmla="*/ 185 w 2964"/>
              <a:gd name="T9" fmla="*/ 2963 h 2964"/>
              <a:gd name="T10" fmla="*/ 1621 w 2964"/>
              <a:gd name="T11" fmla="*/ 2963 h 2964"/>
              <a:gd name="T12" fmla="*/ 1621 w 2964"/>
              <a:gd name="T13" fmla="*/ 1864 h 2964"/>
              <a:gd name="T14" fmla="*/ 1250 w 2964"/>
              <a:gd name="T15" fmla="*/ 1864 h 2964"/>
              <a:gd name="T16" fmla="*/ 1250 w 2964"/>
              <a:gd name="T17" fmla="*/ 1436 h 2964"/>
              <a:gd name="T18" fmla="*/ 1621 w 2964"/>
              <a:gd name="T19" fmla="*/ 1436 h 2964"/>
              <a:gd name="T20" fmla="*/ 1621 w 2964"/>
              <a:gd name="T21" fmla="*/ 1123 h 2964"/>
              <a:gd name="T22" fmla="*/ 2176 w 2964"/>
              <a:gd name="T23" fmla="*/ 556 h 2964"/>
              <a:gd name="T24" fmla="*/ 2500 w 2964"/>
              <a:gd name="T25" fmla="*/ 567 h 2964"/>
              <a:gd name="T26" fmla="*/ 2500 w 2964"/>
              <a:gd name="T27" fmla="*/ 961 h 2964"/>
              <a:gd name="T28" fmla="*/ 2280 w 2964"/>
              <a:gd name="T29" fmla="*/ 961 h 2964"/>
              <a:gd name="T30" fmla="*/ 2061 w 2964"/>
              <a:gd name="T31" fmla="*/ 1169 h 2964"/>
              <a:gd name="T32" fmla="*/ 2061 w 2964"/>
              <a:gd name="T33" fmla="*/ 1436 h 2964"/>
              <a:gd name="T34" fmla="*/ 2488 w 2964"/>
              <a:gd name="T35" fmla="*/ 1436 h 2964"/>
              <a:gd name="T36" fmla="*/ 2430 w 2964"/>
              <a:gd name="T37" fmla="*/ 1864 h 2964"/>
              <a:gd name="T38" fmla="*/ 2061 w 2964"/>
              <a:gd name="T39" fmla="*/ 1864 h 2964"/>
              <a:gd name="T40" fmla="*/ 2061 w 2964"/>
              <a:gd name="T41" fmla="*/ 2963 h 2964"/>
              <a:gd name="T42" fmla="*/ 2777 w 2964"/>
              <a:gd name="T43" fmla="*/ 2963 h 2964"/>
              <a:gd name="T44" fmla="*/ 2963 w 2964"/>
              <a:gd name="T45" fmla="*/ 2777 h 2964"/>
              <a:gd name="T46" fmla="*/ 2963 w 2964"/>
              <a:gd name="T47" fmla="*/ 185 h 2964"/>
              <a:gd name="T48" fmla="*/ 2777 w 2964"/>
              <a:gd name="T49" fmla="*/ 0 h 2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64" h="2964">
                <a:moveTo>
                  <a:pt x="2777" y="0"/>
                </a:moveTo>
                <a:cubicBezTo>
                  <a:pt x="185" y="0"/>
                  <a:pt x="185" y="0"/>
                  <a:pt x="185" y="0"/>
                </a:cubicBezTo>
                <a:cubicBezTo>
                  <a:pt x="81" y="0"/>
                  <a:pt x="0" y="81"/>
                  <a:pt x="0" y="185"/>
                </a:cubicBezTo>
                <a:cubicBezTo>
                  <a:pt x="0" y="2777"/>
                  <a:pt x="0" y="2777"/>
                  <a:pt x="0" y="2777"/>
                </a:cubicBezTo>
                <a:cubicBezTo>
                  <a:pt x="0" y="2882"/>
                  <a:pt x="81" y="2963"/>
                  <a:pt x="185" y="2963"/>
                </a:cubicBezTo>
                <a:cubicBezTo>
                  <a:pt x="1621" y="2963"/>
                  <a:pt x="1621" y="2963"/>
                  <a:pt x="1621" y="2963"/>
                </a:cubicBezTo>
                <a:cubicBezTo>
                  <a:pt x="1621" y="1864"/>
                  <a:pt x="1621" y="1864"/>
                  <a:pt x="1621" y="1864"/>
                </a:cubicBezTo>
                <a:cubicBezTo>
                  <a:pt x="1250" y="1864"/>
                  <a:pt x="1250" y="1864"/>
                  <a:pt x="1250" y="1864"/>
                </a:cubicBezTo>
                <a:cubicBezTo>
                  <a:pt x="1250" y="1436"/>
                  <a:pt x="1250" y="1436"/>
                  <a:pt x="1250" y="1436"/>
                </a:cubicBezTo>
                <a:cubicBezTo>
                  <a:pt x="1621" y="1436"/>
                  <a:pt x="1621" y="1436"/>
                  <a:pt x="1621" y="1436"/>
                </a:cubicBezTo>
                <a:cubicBezTo>
                  <a:pt x="1621" y="1123"/>
                  <a:pt x="1621" y="1123"/>
                  <a:pt x="1621" y="1123"/>
                </a:cubicBezTo>
                <a:cubicBezTo>
                  <a:pt x="1621" y="752"/>
                  <a:pt x="1841" y="556"/>
                  <a:pt x="2176" y="556"/>
                </a:cubicBezTo>
                <a:cubicBezTo>
                  <a:pt x="2326" y="556"/>
                  <a:pt x="2465" y="567"/>
                  <a:pt x="2500" y="567"/>
                </a:cubicBezTo>
                <a:cubicBezTo>
                  <a:pt x="2500" y="961"/>
                  <a:pt x="2500" y="961"/>
                  <a:pt x="2500" y="961"/>
                </a:cubicBezTo>
                <a:cubicBezTo>
                  <a:pt x="2280" y="961"/>
                  <a:pt x="2280" y="961"/>
                  <a:pt x="2280" y="961"/>
                </a:cubicBezTo>
                <a:cubicBezTo>
                  <a:pt x="2095" y="961"/>
                  <a:pt x="2061" y="1042"/>
                  <a:pt x="2061" y="1169"/>
                </a:cubicBezTo>
                <a:cubicBezTo>
                  <a:pt x="2061" y="1436"/>
                  <a:pt x="2061" y="1436"/>
                  <a:pt x="2061" y="1436"/>
                </a:cubicBezTo>
                <a:cubicBezTo>
                  <a:pt x="2488" y="1436"/>
                  <a:pt x="2488" y="1436"/>
                  <a:pt x="2488" y="1436"/>
                </a:cubicBezTo>
                <a:cubicBezTo>
                  <a:pt x="2430" y="1864"/>
                  <a:pt x="2430" y="1864"/>
                  <a:pt x="2430" y="1864"/>
                </a:cubicBezTo>
                <a:cubicBezTo>
                  <a:pt x="2061" y="1864"/>
                  <a:pt x="2061" y="1864"/>
                  <a:pt x="2061" y="1864"/>
                </a:cubicBezTo>
                <a:cubicBezTo>
                  <a:pt x="2061" y="2963"/>
                  <a:pt x="2061" y="2963"/>
                  <a:pt x="2061" y="2963"/>
                </a:cubicBezTo>
                <a:cubicBezTo>
                  <a:pt x="2777" y="2963"/>
                  <a:pt x="2777" y="2963"/>
                  <a:pt x="2777" y="2963"/>
                </a:cubicBezTo>
                <a:cubicBezTo>
                  <a:pt x="2882" y="2963"/>
                  <a:pt x="2963" y="2882"/>
                  <a:pt x="2963" y="2777"/>
                </a:cubicBezTo>
                <a:cubicBezTo>
                  <a:pt x="2963" y="185"/>
                  <a:pt x="2963" y="185"/>
                  <a:pt x="2963" y="185"/>
                </a:cubicBezTo>
                <a:cubicBezTo>
                  <a:pt x="2963" y="81"/>
                  <a:pt x="2882" y="0"/>
                  <a:pt x="2777" y="0"/>
                </a:cubicBezTo>
              </a:path>
            </a:pathLst>
          </a:custGeom>
          <a:solidFill>
            <a:srgbClr val="2C5967"/>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00" dirty="0">
              <a:latin typeface="Calibri" panose="020F0502020204030204" pitchFamily="34" charset="0"/>
              <a:cs typeface="Calibri" panose="020F0502020204030204" pitchFamily="34" charset="0"/>
            </a:endParaRPr>
          </a:p>
        </p:txBody>
      </p:sp>
      <p:sp>
        <p:nvSpPr>
          <p:cNvPr id="42" name="Freeform 7">
            <a:extLst>
              <a:ext uri="{FF2B5EF4-FFF2-40B4-BE49-F238E27FC236}">
                <a16:creationId xmlns:a16="http://schemas.microsoft.com/office/drawing/2014/main" id="{BCCA3C58-0C50-6F43-9175-5A5880C13D40}"/>
              </a:ext>
            </a:extLst>
          </p:cNvPr>
          <p:cNvSpPr>
            <a:spLocks noChangeAspect="1" noChangeArrowheads="1"/>
          </p:cNvSpPr>
          <p:nvPr/>
        </p:nvSpPr>
        <p:spPr bwMode="auto">
          <a:xfrm>
            <a:off x="1671589" y="6403024"/>
            <a:ext cx="255600" cy="200828"/>
          </a:xfrm>
          <a:custGeom>
            <a:avLst/>
            <a:gdLst>
              <a:gd name="T0" fmla="*/ 1262 w 2593"/>
              <a:gd name="T1" fmla="*/ 1401 h 2039"/>
              <a:gd name="T2" fmla="*/ 1216 w 2593"/>
              <a:gd name="T3" fmla="*/ 1343 h 2039"/>
              <a:gd name="T4" fmla="*/ 857 w 2593"/>
              <a:gd name="T5" fmla="*/ 1100 h 2039"/>
              <a:gd name="T6" fmla="*/ 1378 w 2593"/>
              <a:gd name="T7" fmla="*/ 1077 h 2039"/>
              <a:gd name="T8" fmla="*/ 1274 w 2593"/>
              <a:gd name="T9" fmla="*/ 1088 h 2039"/>
              <a:gd name="T10" fmla="*/ 1262 w 2593"/>
              <a:gd name="T11" fmla="*/ 938 h 2039"/>
              <a:gd name="T12" fmla="*/ 1181 w 2593"/>
              <a:gd name="T13" fmla="*/ 950 h 2039"/>
              <a:gd name="T14" fmla="*/ 1089 w 2593"/>
              <a:gd name="T15" fmla="*/ 926 h 2039"/>
              <a:gd name="T16" fmla="*/ 1089 w 2593"/>
              <a:gd name="T17" fmla="*/ 1274 h 2039"/>
              <a:gd name="T18" fmla="*/ 1308 w 2593"/>
              <a:gd name="T19" fmla="*/ 1297 h 2039"/>
              <a:gd name="T20" fmla="*/ 1112 w 2593"/>
              <a:gd name="T21" fmla="*/ 729 h 2039"/>
              <a:gd name="T22" fmla="*/ 1112 w 2593"/>
              <a:gd name="T23" fmla="*/ 1459 h 2039"/>
              <a:gd name="T24" fmla="*/ 1181 w 2593"/>
              <a:gd name="T25" fmla="*/ 1123 h 2039"/>
              <a:gd name="T26" fmla="*/ 1019 w 2593"/>
              <a:gd name="T27" fmla="*/ 1100 h 2039"/>
              <a:gd name="T28" fmla="*/ 1181 w 2593"/>
              <a:gd name="T29" fmla="*/ 1054 h 2039"/>
              <a:gd name="T30" fmla="*/ 2038 w 2593"/>
              <a:gd name="T31" fmla="*/ 0 h 2039"/>
              <a:gd name="T32" fmla="*/ 0 w 2593"/>
              <a:gd name="T33" fmla="*/ 509 h 2039"/>
              <a:gd name="T34" fmla="*/ 2223 w 2593"/>
              <a:gd name="T35" fmla="*/ 2038 h 2039"/>
              <a:gd name="T36" fmla="*/ 2592 w 2593"/>
              <a:gd name="T37" fmla="*/ 556 h 2039"/>
              <a:gd name="T38" fmla="*/ 139 w 2593"/>
              <a:gd name="T39" fmla="*/ 648 h 2039"/>
              <a:gd name="T40" fmla="*/ 1806 w 2593"/>
              <a:gd name="T41" fmla="*/ 1065 h 2039"/>
              <a:gd name="T42" fmla="*/ 1112 w 2593"/>
              <a:gd name="T43" fmla="*/ 1679 h 2039"/>
              <a:gd name="T44" fmla="*/ 139 w 2593"/>
              <a:gd name="T45" fmla="*/ 776 h 2039"/>
              <a:gd name="T46" fmla="*/ 139 w 2593"/>
              <a:gd name="T47" fmla="*/ 915 h 2039"/>
              <a:gd name="T48" fmla="*/ 139 w 2593"/>
              <a:gd name="T49" fmla="*/ 1899 h 2039"/>
              <a:gd name="T50" fmla="*/ 267 w 2593"/>
              <a:gd name="T51" fmla="*/ 1899 h 2039"/>
              <a:gd name="T52" fmla="*/ 915 w 2593"/>
              <a:gd name="T53" fmla="*/ 1690 h 2039"/>
              <a:gd name="T54" fmla="*/ 1308 w 2593"/>
              <a:gd name="T55" fmla="*/ 1690 h 2039"/>
              <a:gd name="T56" fmla="*/ 1957 w 2593"/>
              <a:gd name="T57" fmla="*/ 1899 h 2039"/>
              <a:gd name="T58" fmla="*/ 2084 w 2593"/>
              <a:gd name="T59" fmla="*/ 1899 h 2039"/>
              <a:gd name="T60" fmla="*/ 1899 w 2593"/>
              <a:gd name="T61" fmla="*/ 1100 h 2039"/>
              <a:gd name="T62" fmla="*/ 2084 w 2593"/>
              <a:gd name="T63" fmla="*/ 1111 h 2039"/>
              <a:gd name="T64" fmla="*/ 2130 w 2593"/>
              <a:gd name="T65" fmla="*/ 834 h 2039"/>
              <a:gd name="T66" fmla="*/ 2015 w 2593"/>
              <a:gd name="T67" fmla="*/ 857 h 2039"/>
              <a:gd name="T68" fmla="*/ 1991 w 2593"/>
              <a:gd name="T69" fmla="*/ 405 h 2039"/>
              <a:gd name="T70" fmla="*/ 1899 w 2593"/>
              <a:gd name="T71" fmla="*/ 394 h 2039"/>
              <a:gd name="T72" fmla="*/ 1922 w 2593"/>
              <a:gd name="T73" fmla="*/ 289 h 2039"/>
              <a:gd name="T74" fmla="*/ 2130 w 2593"/>
              <a:gd name="T75" fmla="*/ 278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93" h="2039">
                <a:moveTo>
                  <a:pt x="1262" y="1424"/>
                </a:moveTo>
                <a:lnTo>
                  <a:pt x="1262" y="1401"/>
                </a:lnTo>
                <a:lnTo>
                  <a:pt x="1239" y="1343"/>
                </a:lnTo>
                <a:cubicBezTo>
                  <a:pt x="1228" y="1343"/>
                  <a:pt x="1228" y="1331"/>
                  <a:pt x="1216" y="1343"/>
                </a:cubicBezTo>
                <a:cubicBezTo>
                  <a:pt x="1181" y="1354"/>
                  <a:pt x="1146" y="1366"/>
                  <a:pt x="1112" y="1366"/>
                </a:cubicBezTo>
                <a:cubicBezTo>
                  <a:pt x="961" y="1366"/>
                  <a:pt x="857" y="1239"/>
                  <a:pt x="857" y="1100"/>
                </a:cubicBezTo>
                <a:cubicBezTo>
                  <a:pt x="857" y="938"/>
                  <a:pt x="961" y="834"/>
                  <a:pt x="1112" y="834"/>
                </a:cubicBezTo>
                <a:cubicBezTo>
                  <a:pt x="1274" y="834"/>
                  <a:pt x="1378" y="926"/>
                  <a:pt x="1378" y="1077"/>
                </a:cubicBezTo>
                <a:cubicBezTo>
                  <a:pt x="1378" y="1135"/>
                  <a:pt x="1355" y="1204"/>
                  <a:pt x="1308" y="1204"/>
                </a:cubicBezTo>
                <a:cubicBezTo>
                  <a:pt x="1285" y="1204"/>
                  <a:pt x="1274" y="1181"/>
                  <a:pt x="1274" y="1088"/>
                </a:cubicBezTo>
                <a:lnTo>
                  <a:pt x="1274" y="950"/>
                </a:lnTo>
                <a:cubicBezTo>
                  <a:pt x="1274" y="938"/>
                  <a:pt x="1266" y="942"/>
                  <a:pt x="1262" y="938"/>
                </a:cubicBezTo>
                <a:lnTo>
                  <a:pt x="1193" y="938"/>
                </a:lnTo>
                <a:cubicBezTo>
                  <a:pt x="1189" y="942"/>
                  <a:pt x="1181" y="938"/>
                  <a:pt x="1181" y="950"/>
                </a:cubicBezTo>
                <a:lnTo>
                  <a:pt x="1181" y="961"/>
                </a:lnTo>
                <a:cubicBezTo>
                  <a:pt x="1158" y="938"/>
                  <a:pt x="1123" y="926"/>
                  <a:pt x="1089" y="926"/>
                </a:cubicBezTo>
                <a:cubicBezTo>
                  <a:pt x="984" y="926"/>
                  <a:pt x="926" y="1019"/>
                  <a:pt x="926" y="1100"/>
                </a:cubicBezTo>
                <a:cubicBezTo>
                  <a:pt x="926" y="1193"/>
                  <a:pt x="996" y="1274"/>
                  <a:pt x="1089" y="1274"/>
                </a:cubicBezTo>
                <a:cubicBezTo>
                  <a:pt x="1135" y="1274"/>
                  <a:pt x="1181" y="1250"/>
                  <a:pt x="1204" y="1216"/>
                </a:cubicBezTo>
                <a:cubicBezTo>
                  <a:pt x="1228" y="1274"/>
                  <a:pt x="1274" y="1297"/>
                  <a:pt x="1308" y="1297"/>
                </a:cubicBezTo>
                <a:cubicBezTo>
                  <a:pt x="1424" y="1297"/>
                  <a:pt x="1482" y="1193"/>
                  <a:pt x="1482" y="1077"/>
                </a:cubicBezTo>
                <a:cubicBezTo>
                  <a:pt x="1482" y="868"/>
                  <a:pt x="1320" y="729"/>
                  <a:pt x="1112" y="729"/>
                </a:cubicBezTo>
                <a:cubicBezTo>
                  <a:pt x="903" y="729"/>
                  <a:pt x="741" y="891"/>
                  <a:pt x="741" y="1100"/>
                </a:cubicBezTo>
                <a:cubicBezTo>
                  <a:pt x="741" y="1297"/>
                  <a:pt x="903" y="1459"/>
                  <a:pt x="1112" y="1459"/>
                </a:cubicBezTo>
                <a:cubicBezTo>
                  <a:pt x="1158" y="1459"/>
                  <a:pt x="1204" y="1447"/>
                  <a:pt x="1262" y="1424"/>
                </a:cubicBezTo>
                <a:close/>
                <a:moveTo>
                  <a:pt x="1181" y="1123"/>
                </a:moveTo>
                <a:cubicBezTo>
                  <a:pt x="1169" y="1169"/>
                  <a:pt x="1135" y="1193"/>
                  <a:pt x="1100" y="1193"/>
                </a:cubicBezTo>
                <a:cubicBezTo>
                  <a:pt x="1054" y="1193"/>
                  <a:pt x="1019" y="1146"/>
                  <a:pt x="1019" y="1100"/>
                </a:cubicBezTo>
                <a:cubicBezTo>
                  <a:pt x="1019" y="1054"/>
                  <a:pt x="1042" y="1007"/>
                  <a:pt x="1100" y="1007"/>
                </a:cubicBezTo>
                <a:cubicBezTo>
                  <a:pt x="1123" y="1007"/>
                  <a:pt x="1158" y="1019"/>
                  <a:pt x="1181" y="1054"/>
                </a:cubicBezTo>
                <a:lnTo>
                  <a:pt x="1181" y="1123"/>
                </a:lnTo>
                <a:close/>
                <a:moveTo>
                  <a:pt x="2038" y="0"/>
                </a:moveTo>
                <a:cubicBezTo>
                  <a:pt x="1748" y="0"/>
                  <a:pt x="1505" y="220"/>
                  <a:pt x="1482" y="509"/>
                </a:cubicBezTo>
                <a:lnTo>
                  <a:pt x="0" y="509"/>
                </a:lnTo>
                <a:lnTo>
                  <a:pt x="0" y="2038"/>
                </a:lnTo>
                <a:lnTo>
                  <a:pt x="2223" y="2038"/>
                </a:lnTo>
                <a:lnTo>
                  <a:pt x="2223" y="1077"/>
                </a:lnTo>
                <a:cubicBezTo>
                  <a:pt x="2442" y="1007"/>
                  <a:pt x="2592" y="799"/>
                  <a:pt x="2592" y="556"/>
                </a:cubicBezTo>
                <a:cubicBezTo>
                  <a:pt x="2592" y="243"/>
                  <a:pt x="2349" y="0"/>
                  <a:pt x="2038" y="0"/>
                </a:cubicBezTo>
                <a:close/>
                <a:moveTo>
                  <a:pt x="139" y="648"/>
                </a:moveTo>
                <a:lnTo>
                  <a:pt x="1494" y="648"/>
                </a:lnTo>
                <a:cubicBezTo>
                  <a:pt x="1517" y="834"/>
                  <a:pt x="1644" y="984"/>
                  <a:pt x="1806" y="1065"/>
                </a:cubicBezTo>
                <a:lnTo>
                  <a:pt x="1239" y="1621"/>
                </a:lnTo>
                <a:cubicBezTo>
                  <a:pt x="1204" y="1656"/>
                  <a:pt x="1158" y="1679"/>
                  <a:pt x="1112" y="1679"/>
                </a:cubicBezTo>
                <a:cubicBezTo>
                  <a:pt x="1065" y="1679"/>
                  <a:pt x="1019" y="1656"/>
                  <a:pt x="984" y="1621"/>
                </a:cubicBezTo>
                <a:lnTo>
                  <a:pt x="139" y="776"/>
                </a:lnTo>
                <a:lnTo>
                  <a:pt x="139" y="648"/>
                </a:lnTo>
                <a:close/>
                <a:moveTo>
                  <a:pt x="139" y="915"/>
                </a:moveTo>
                <a:lnTo>
                  <a:pt x="637" y="1401"/>
                </a:lnTo>
                <a:lnTo>
                  <a:pt x="139" y="1899"/>
                </a:lnTo>
                <a:lnTo>
                  <a:pt x="139" y="915"/>
                </a:lnTo>
                <a:close/>
                <a:moveTo>
                  <a:pt x="267" y="1899"/>
                </a:moveTo>
                <a:lnTo>
                  <a:pt x="695" y="1470"/>
                </a:lnTo>
                <a:lnTo>
                  <a:pt x="915" y="1690"/>
                </a:lnTo>
                <a:cubicBezTo>
                  <a:pt x="973" y="1737"/>
                  <a:pt x="1042" y="1771"/>
                  <a:pt x="1112" y="1771"/>
                </a:cubicBezTo>
                <a:cubicBezTo>
                  <a:pt x="1181" y="1771"/>
                  <a:pt x="1251" y="1737"/>
                  <a:pt x="1308" y="1690"/>
                </a:cubicBezTo>
                <a:lnTo>
                  <a:pt x="1528" y="1470"/>
                </a:lnTo>
                <a:lnTo>
                  <a:pt x="1957" y="1899"/>
                </a:lnTo>
                <a:lnTo>
                  <a:pt x="267" y="1899"/>
                </a:lnTo>
                <a:close/>
                <a:moveTo>
                  <a:pt x="2084" y="1899"/>
                </a:moveTo>
                <a:lnTo>
                  <a:pt x="1586" y="1401"/>
                </a:lnTo>
                <a:lnTo>
                  <a:pt x="1899" y="1100"/>
                </a:lnTo>
                <a:cubicBezTo>
                  <a:pt x="1945" y="1100"/>
                  <a:pt x="1991" y="1111"/>
                  <a:pt x="2038" y="1111"/>
                </a:cubicBezTo>
                <a:lnTo>
                  <a:pt x="2084" y="1111"/>
                </a:lnTo>
                <a:lnTo>
                  <a:pt x="2084" y="1899"/>
                </a:lnTo>
                <a:close/>
                <a:moveTo>
                  <a:pt x="2130" y="834"/>
                </a:moveTo>
                <a:cubicBezTo>
                  <a:pt x="2130" y="845"/>
                  <a:pt x="2119" y="857"/>
                  <a:pt x="2107" y="857"/>
                </a:cubicBezTo>
                <a:lnTo>
                  <a:pt x="2015" y="857"/>
                </a:lnTo>
                <a:cubicBezTo>
                  <a:pt x="2003" y="857"/>
                  <a:pt x="1991" y="845"/>
                  <a:pt x="1991" y="834"/>
                </a:cubicBezTo>
                <a:lnTo>
                  <a:pt x="1991" y="405"/>
                </a:lnTo>
                <a:lnTo>
                  <a:pt x="1922" y="417"/>
                </a:lnTo>
                <a:cubicBezTo>
                  <a:pt x="1910" y="417"/>
                  <a:pt x="1899" y="405"/>
                  <a:pt x="1899" y="394"/>
                </a:cubicBezTo>
                <a:cubicBezTo>
                  <a:pt x="1899" y="313"/>
                  <a:pt x="1899" y="340"/>
                  <a:pt x="1899" y="313"/>
                </a:cubicBezTo>
                <a:cubicBezTo>
                  <a:pt x="1899" y="301"/>
                  <a:pt x="1910" y="301"/>
                  <a:pt x="1922" y="289"/>
                </a:cubicBezTo>
                <a:lnTo>
                  <a:pt x="2107" y="255"/>
                </a:lnTo>
                <a:cubicBezTo>
                  <a:pt x="2119" y="255"/>
                  <a:pt x="2130" y="266"/>
                  <a:pt x="2130" y="278"/>
                </a:cubicBezTo>
                <a:lnTo>
                  <a:pt x="2130" y="834"/>
                </a:lnTo>
                <a:close/>
              </a:path>
            </a:pathLst>
          </a:custGeom>
          <a:solidFill>
            <a:srgbClr val="2C5967"/>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00" dirty="0">
              <a:latin typeface="Calibri" panose="020F0502020204030204" pitchFamily="34" charset="0"/>
              <a:cs typeface="Calibri" panose="020F0502020204030204" pitchFamily="34" charset="0"/>
            </a:endParaRPr>
          </a:p>
        </p:txBody>
      </p:sp>
      <p:sp>
        <p:nvSpPr>
          <p:cNvPr id="48" name="Title 22">
            <a:extLst>
              <a:ext uri="{FF2B5EF4-FFF2-40B4-BE49-F238E27FC236}">
                <a16:creationId xmlns:a16="http://schemas.microsoft.com/office/drawing/2014/main" id="{9389EB4F-02BE-3745-9F88-B8BD21E5571E}"/>
              </a:ext>
            </a:extLst>
          </p:cNvPr>
          <p:cNvSpPr txBox="1">
            <a:spLocks/>
          </p:cNvSpPr>
          <p:nvPr/>
        </p:nvSpPr>
        <p:spPr>
          <a:xfrm>
            <a:off x="868100" y="643559"/>
            <a:ext cx="6856177" cy="1540982"/>
          </a:xfrm>
          <a:prstGeom prst="rect">
            <a:avLst/>
          </a:prstGeom>
        </p:spPr>
        <p:txBody>
          <a:bodyPr vert="horz" lIns="0" tIns="0" rIns="0" bIns="0" rtlCol="0" anchor="b">
            <a:noAutofit/>
          </a:bodyPr>
          <a:lstStyle>
            <a:lvl1pPr algn="l" defTabSz="914400" rtl="0" eaLnBrk="1" latinLnBrk="0" hangingPunct="1">
              <a:lnSpc>
                <a:spcPct val="95000"/>
              </a:lnSpc>
              <a:spcBef>
                <a:spcPct val="0"/>
              </a:spcBef>
              <a:buNone/>
              <a:defRPr lang="en-US" sz="2400" b="1" i="0" kern="1200" baseline="0" dirty="0">
                <a:solidFill>
                  <a:schemeClr val="tx1"/>
                </a:solidFill>
                <a:latin typeface="+mn-lt"/>
                <a:ea typeface="+mn-ea"/>
                <a:cs typeface="+mj-cs"/>
              </a:defRPr>
            </a:lvl1pPr>
          </a:lstStyle>
          <a:p>
            <a:r>
              <a:rPr lang="en-GB" sz="3600">
                <a:latin typeface="Calibri" panose="020F0502020204030204" pitchFamily="34" charset="0"/>
                <a:cs typeface="Calibri" panose="020F0502020204030204" pitchFamily="34" charset="0"/>
              </a:rPr>
              <a:t>450</a:t>
            </a:r>
            <a:r>
              <a:rPr lang="en-GB" sz="3600" dirty="0">
                <a:latin typeface="Calibri" panose="020F0502020204030204" pitchFamily="34" charset="0"/>
                <a:cs typeface="Calibri" panose="020F0502020204030204" pitchFamily="34" charset="0"/>
              </a:rPr>
              <a:t>+ </a:t>
            </a:r>
            <a:r>
              <a:rPr lang="en-GB" dirty="0">
                <a:latin typeface="Calibri" panose="020F0502020204030204" pitchFamily="34" charset="0"/>
                <a:cs typeface="Calibri" panose="020F0502020204030204" pitchFamily="34" charset="0"/>
              </a:rPr>
              <a:t>technical experts </a:t>
            </a:r>
            <a:br>
              <a:rPr lang="en-GB" dirty="0">
                <a:latin typeface="Calibri" panose="020F0502020204030204" pitchFamily="34" charset="0"/>
                <a:cs typeface="Calibri" panose="020F0502020204030204" pitchFamily="34" charset="0"/>
              </a:rPr>
            </a:br>
            <a:r>
              <a:rPr lang="en-GB" dirty="0">
                <a:latin typeface="Calibri" panose="020F0502020204030204" pitchFamily="34" charset="0"/>
                <a:cs typeface="Calibri" panose="020F0502020204030204" pitchFamily="34" charset="0"/>
              </a:rPr>
              <a:t>helping peers globally</a:t>
            </a:r>
          </a:p>
        </p:txBody>
      </p:sp>
      <p:sp>
        <p:nvSpPr>
          <p:cNvPr id="49" name="TextBox 48">
            <a:extLst>
              <a:ext uri="{FF2B5EF4-FFF2-40B4-BE49-F238E27FC236}">
                <a16:creationId xmlns:a16="http://schemas.microsoft.com/office/drawing/2014/main" id="{CA017122-6620-014C-8FF6-FD9035141468}"/>
              </a:ext>
            </a:extLst>
          </p:cNvPr>
          <p:cNvSpPr txBox="1"/>
          <p:nvPr/>
        </p:nvSpPr>
        <p:spPr>
          <a:xfrm>
            <a:off x="856588" y="2432963"/>
            <a:ext cx="6268993" cy="923330"/>
          </a:xfrm>
          <a:prstGeom prst="rect">
            <a:avLst/>
          </a:prstGeom>
          <a:noFill/>
        </p:spPr>
        <p:txBody>
          <a:bodyPr wrap="square" lIns="0" rtlCol="0">
            <a:spAutoFit/>
          </a:bodyPr>
          <a:lstStyle/>
          <a:p>
            <a:pPr>
              <a:spcBef>
                <a:spcPts val="600"/>
              </a:spcBef>
            </a:pPr>
            <a:r>
              <a:rPr lang="en-US" dirty="0">
                <a:latin typeface="Calibri" panose="020F0502020204030204" pitchFamily="34" charset="0"/>
                <a:cs typeface="Calibri" panose="020F0502020204030204" pitchFamily="34" charset="0"/>
              </a:rPr>
              <a:t>The </a:t>
            </a:r>
            <a:r>
              <a:rPr lang="en-US" b="1" dirty="0">
                <a:solidFill>
                  <a:schemeClr val="bg1"/>
                </a:solidFill>
                <a:latin typeface="Calibri" panose="020F0502020204030204" pitchFamily="34" charset="0"/>
                <a:cs typeface="Calibri" panose="020F0502020204030204" pitchFamily="34" charset="0"/>
              </a:rPr>
              <a:t>Oracle ACE Program </a:t>
            </a:r>
            <a:r>
              <a:rPr lang="en-US" dirty="0">
                <a:latin typeface="Calibri" panose="020F0502020204030204" pitchFamily="34" charset="0"/>
                <a:cs typeface="Calibri" panose="020F0502020204030204" pitchFamily="34" charset="0"/>
              </a:rPr>
              <a:t>recognizes and </a:t>
            </a:r>
            <a:br>
              <a:rPr lang="en-US" dirty="0">
                <a:latin typeface="Calibri" panose="020F0502020204030204" pitchFamily="34" charset="0"/>
                <a:cs typeface="Calibri" panose="020F0502020204030204" pitchFamily="34" charset="0"/>
              </a:rPr>
            </a:br>
            <a:r>
              <a:rPr lang="en-US" dirty="0">
                <a:latin typeface="Calibri" panose="020F0502020204030204" pitchFamily="34" charset="0"/>
                <a:cs typeface="Calibri" panose="020F0502020204030204" pitchFamily="34" charset="0"/>
              </a:rPr>
              <a:t>rewards community members for their technical and community contributions to the Oracle community</a:t>
            </a:r>
          </a:p>
        </p:txBody>
      </p:sp>
      <p:sp>
        <p:nvSpPr>
          <p:cNvPr id="50" name="TextBox 49">
            <a:extLst>
              <a:ext uri="{FF2B5EF4-FFF2-40B4-BE49-F238E27FC236}">
                <a16:creationId xmlns:a16="http://schemas.microsoft.com/office/drawing/2014/main" id="{679629F0-B2DD-764F-A4CE-6305BF097C66}"/>
              </a:ext>
            </a:extLst>
          </p:cNvPr>
          <p:cNvSpPr txBox="1"/>
          <p:nvPr/>
        </p:nvSpPr>
        <p:spPr>
          <a:xfrm>
            <a:off x="9253648" y="4762640"/>
            <a:ext cx="2737721" cy="907941"/>
          </a:xfrm>
          <a:prstGeom prst="rect">
            <a:avLst/>
          </a:prstGeom>
          <a:noFill/>
        </p:spPr>
        <p:txBody>
          <a:bodyPr wrap="square" lIns="0" rtlCol="0">
            <a:spAutoFit/>
          </a:bodyPr>
          <a:lstStyle/>
          <a:p>
            <a:pPr>
              <a:spcBef>
                <a:spcPts val="600"/>
              </a:spcBef>
            </a:pPr>
            <a:r>
              <a:rPr lang="en-US" sz="2000" b="1" dirty="0">
                <a:latin typeface="Calibri" panose="020F0502020204030204" pitchFamily="34" charset="0"/>
                <a:cs typeface="Calibri" panose="020F0502020204030204" pitchFamily="34" charset="0"/>
              </a:rPr>
              <a:t>Nominate</a:t>
            </a:r>
            <a:r>
              <a:rPr lang="en-US" sz="1200" dirty="0">
                <a:latin typeface="Calibri" panose="020F0502020204030204" pitchFamily="34" charset="0"/>
                <a:cs typeface="Calibri" panose="020F0502020204030204" pitchFamily="34" charset="0"/>
              </a:rPr>
              <a:t> </a:t>
            </a:r>
            <a:br>
              <a:rPr lang="en-US" sz="1400" dirty="0">
                <a:latin typeface="Calibri" panose="020F0502020204030204" pitchFamily="34" charset="0"/>
                <a:cs typeface="Calibri" panose="020F0502020204030204" pitchFamily="34" charset="0"/>
              </a:rPr>
            </a:br>
            <a:r>
              <a:rPr lang="en-US" sz="1400" b="1" dirty="0">
                <a:latin typeface="Calibri" panose="020F0502020204030204" pitchFamily="34" charset="0"/>
                <a:cs typeface="Calibri" panose="020F0502020204030204" pitchFamily="34" charset="0"/>
              </a:rPr>
              <a:t>yourself or someone you know:</a:t>
            </a:r>
          </a:p>
          <a:p>
            <a:pPr>
              <a:spcBef>
                <a:spcPts val="600"/>
              </a:spcBef>
            </a:pPr>
            <a:r>
              <a:rPr lang="en-US" sz="1400" dirty="0">
                <a:latin typeface="Calibri" panose="020F0502020204030204" pitchFamily="34" charset="0"/>
                <a:cs typeface="Calibri" panose="020F0502020204030204" pitchFamily="34" charset="0"/>
                <a:hlinkClick r:id="rId3"/>
              </a:rPr>
              <a:t>ace.oracle.com/nominate</a:t>
            </a:r>
            <a:endParaRPr lang="en-US" sz="1400" dirty="0">
              <a:latin typeface="Calibri" panose="020F0502020204030204" pitchFamily="34" charset="0"/>
              <a:cs typeface="Calibri" panose="020F0502020204030204" pitchFamily="34" charset="0"/>
            </a:endParaRPr>
          </a:p>
        </p:txBody>
      </p:sp>
      <p:sp>
        <p:nvSpPr>
          <p:cNvPr id="27" name="TextBox 26">
            <a:extLst>
              <a:ext uri="{FF2B5EF4-FFF2-40B4-BE49-F238E27FC236}">
                <a16:creationId xmlns:a16="http://schemas.microsoft.com/office/drawing/2014/main" id="{F54E7492-A676-1941-93E4-392446BD80A6}"/>
              </a:ext>
            </a:extLst>
          </p:cNvPr>
          <p:cNvSpPr txBox="1"/>
          <p:nvPr/>
        </p:nvSpPr>
        <p:spPr>
          <a:xfrm>
            <a:off x="865695" y="5490659"/>
            <a:ext cx="6511279" cy="523220"/>
          </a:xfrm>
          <a:prstGeom prst="rect">
            <a:avLst/>
          </a:prstGeom>
          <a:noFill/>
        </p:spPr>
        <p:txBody>
          <a:bodyPr wrap="square" lIns="0" rtlCol="0">
            <a:spAutoFit/>
          </a:bodyPr>
          <a:lstStyle/>
          <a:p>
            <a:r>
              <a:rPr lang="en-US" sz="1400" dirty="0">
                <a:latin typeface="Calibri" panose="020F0502020204030204" pitchFamily="34" charset="0"/>
                <a:cs typeface="Calibri" panose="020F0502020204030204" pitchFamily="34" charset="0"/>
              </a:rPr>
              <a:t>For more details on Oracle ACE Program: </a:t>
            </a:r>
          </a:p>
          <a:p>
            <a:r>
              <a:rPr lang="en-US" sz="1400" u="sng" dirty="0">
                <a:solidFill>
                  <a:srgbClr val="2C5967"/>
                </a:solidFill>
                <a:latin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ace.oracle.com</a:t>
            </a:r>
            <a:endParaRPr lang="en-US" sz="1400" u="sng" dirty="0">
              <a:solidFill>
                <a:srgbClr val="2C5967"/>
              </a:solidFill>
              <a:latin typeface="Calibri" panose="020F0502020204030204" pitchFamily="34" charset="0"/>
              <a:cs typeface="Calibri" panose="020F0502020204030204" pitchFamily="34" charset="0"/>
            </a:endParaRPr>
          </a:p>
        </p:txBody>
      </p:sp>
      <p:sp>
        <p:nvSpPr>
          <p:cNvPr id="2" name="Rectangle 1">
            <a:hlinkClick r:id="rId4"/>
            <a:extLst>
              <a:ext uri="{FF2B5EF4-FFF2-40B4-BE49-F238E27FC236}">
                <a16:creationId xmlns:a16="http://schemas.microsoft.com/office/drawing/2014/main" id="{77E498D1-B8CB-D94E-BE3D-43F31A6EDBF0}"/>
              </a:ext>
            </a:extLst>
          </p:cNvPr>
          <p:cNvSpPr/>
          <p:nvPr/>
        </p:nvSpPr>
        <p:spPr>
          <a:xfrm>
            <a:off x="1238491" y="2432963"/>
            <a:ext cx="1967696" cy="292387"/>
          </a:xfrm>
          <a:prstGeom prst="rect">
            <a:avLst/>
          </a:prstGeom>
          <a:solidFill>
            <a:schemeClr val="tx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cxnSp>
        <p:nvCxnSpPr>
          <p:cNvPr id="7" name="Straight Connector 6">
            <a:extLst>
              <a:ext uri="{FF2B5EF4-FFF2-40B4-BE49-F238E27FC236}">
                <a16:creationId xmlns:a16="http://schemas.microsoft.com/office/drawing/2014/main" id="{2941A158-6CCC-8848-A4D1-55DA6867E9E4}"/>
              </a:ext>
            </a:extLst>
          </p:cNvPr>
          <p:cNvCxnSpPr>
            <a:cxnSpLocks/>
          </p:cNvCxnSpPr>
          <p:nvPr/>
        </p:nvCxnSpPr>
        <p:spPr>
          <a:xfrm>
            <a:off x="9044395" y="4205708"/>
            <a:ext cx="0" cy="1382933"/>
          </a:xfrm>
          <a:prstGeom prst="line">
            <a:avLst/>
          </a:prstGeom>
          <a:ln w="12700">
            <a:solidFill>
              <a:schemeClr val="tx2">
                <a:lumMod val="25000"/>
                <a:lumOff val="75000"/>
              </a:schemeClr>
            </a:solidFill>
          </a:ln>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2866C63E-D640-10E6-23F8-2F3F3F145FE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7773" y="4518307"/>
            <a:ext cx="1619412" cy="647765"/>
          </a:xfrm>
          <a:prstGeom prst="rect">
            <a:avLst/>
          </a:prstGeom>
        </p:spPr>
      </p:pic>
      <p:pic>
        <p:nvPicPr>
          <p:cNvPr id="34" name="Picture 33">
            <a:extLst>
              <a:ext uri="{FF2B5EF4-FFF2-40B4-BE49-F238E27FC236}">
                <a16:creationId xmlns:a16="http://schemas.microsoft.com/office/drawing/2014/main" id="{3E8728A7-8B0A-4084-F2E3-B614628C500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42659" y="4519682"/>
            <a:ext cx="1619412" cy="647765"/>
          </a:xfrm>
          <a:prstGeom prst="rect">
            <a:avLst/>
          </a:prstGeom>
        </p:spPr>
      </p:pic>
      <p:pic>
        <p:nvPicPr>
          <p:cNvPr id="35" name="Picture 34">
            <a:extLst>
              <a:ext uri="{FF2B5EF4-FFF2-40B4-BE49-F238E27FC236}">
                <a16:creationId xmlns:a16="http://schemas.microsoft.com/office/drawing/2014/main" id="{1088ED41-CD9C-F424-6D5E-5C2149010D9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550216" y="4506783"/>
            <a:ext cx="1619412" cy="647765"/>
          </a:xfrm>
          <a:prstGeom prst="rect">
            <a:avLst/>
          </a:prstGeom>
        </p:spPr>
      </p:pic>
      <p:cxnSp>
        <p:nvCxnSpPr>
          <p:cNvPr id="4" name="Straight Connector 3">
            <a:extLst>
              <a:ext uri="{FF2B5EF4-FFF2-40B4-BE49-F238E27FC236}">
                <a16:creationId xmlns:a16="http://schemas.microsoft.com/office/drawing/2014/main" id="{D4EED781-ACD8-423D-20F1-161B79C7678A}"/>
              </a:ext>
            </a:extLst>
          </p:cNvPr>
          <p:cNvCxnSpPr/>
          <p:nvPr/>
        </p:nvCxnSpPr>
        <p:spPr>
          <a:xfrm>
            <a:off x="2451696" y="4514477"/>
            <a:ext cx="0" cy="640071"/>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49F7BAD8-04A5-502A-9270-A6489DBBF327}"/>
              </a:ext>
            </a:extLst>
          </p:cNvPr>
          <p:cNvCxnSpPr/>
          <p:nvPr/>
        </p:nvCxnSpPr>
        <p:spPr>
          <a:xfrm>
            <a:off x="4247703" y="4516404"/>
            <a:ext cx="0" cy="640071"/>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D2BB1CA6-2062-41C6-4896-C61AA6BB4E2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165565" y="4026097"/>
            <a:ext cx="1744376" cy="697750"/>
          </a:xfrm>
          <a:prstGeom prst="rect">
            <a:avLst/>
          </a:prstGeom>
        </p:spPr>
      </p:pic>
      <p:pic>
        <p:nvPicPr>
          <p:cNvPr id="3" name="Picture 2">
            <a:extLst>
              <a:ext uri="{FF2B5EF4-FFF2-40B4-BE49-F238E27FC236}">
                <a16:creationId xmlns:a16="http://schemas.microsoft.com/office/drawing/2014/main" id="{CEB2CCAB-13DC-E707-9EC9-CEC3A2FA93C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8733" y="78399"/>
            <a:ext cx="1744376" cy="697750"/>
          </a:xfrm>
          <a:prstGeom prst="rect">
            <a:avLst/>
          </a:prstGeom>
        </p:spPr>
      </p:pic>
      <p:pic>
        <p:nvPicPr>
          <p:cNvPr id="9" name="Picture 8">
            <a:extLst>
              <a:ext uri="{FF2B5EF4-FFF2-40B4-BE49-F238E27FC236}">
                <a16:creationId xmlns:a16="http://schemas.microsoft.com/office/drawing/2014/main" id="{E15582AE-CBB8-4BD5-C44E-C5D95FF2BC1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131934" y="6388690"/>
            <a:ext cx="216000" cy="216000"/>
          </a:xfrm>
          <a:prstGeom prst="rect">
            <a:avLst/>
          </a:prstGeom>
        </p:spPr>
      </p:pic>
      <p:pic>
        <p:nvPicPr>
          <p:cNvPr id="11" name="Picture 10">
            <a:extLst>
              <a:ext uri="{FF2B5EF4-FFF2-40B4-BE49-F238E27FC236}">
                <a16:creationId xmlns:a16="http://schemas.microsoft.com/office/drawing/2014/main" id="{13FD0444-21C8-41C3-3A0B-C99BB79D4A5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076273" y="4247585"/>
            <a:ext cx="1320751" cy="1320751"/>
          </a:xfrm>
          <a:prstGeom prst="rect">
            <a:avLst/>
          </a:prstGeom>
        </p:spPr>
      </p:pic>
      <p:sp>
        <p:nvSpPr>
          <p:cNvPr id="5" name="Rectangle 4">
            <a:extLst>
              <a:ext uri="{FF2B5EF4-FFF2-40B4-BE49-F238E27FC236}">
                <a16:creationId xmlns:a16="http://schemas.microsoft.com/office/drawing/2014/main" id="{D8A61CE2-762F-A551-6CD1-1D7FF58FACCC}"/>
              </a:ext>
            </a:extLst>
          </p:cNvPr>
          <p:cNvSpPr/>
          <p:nvPr/>
        </p:nvSpPr>
        <p:spPr>
          <a:xfrm>
            <a:off x="8929703" y="6388690"/>
            <a:ext cx="2039599" cy="263145"/>
          </a:xfrm>
          <a:prstGeom prst="rect">
            <a:avLst/>
          </a:prstGeom>
        </p:spPr>
        <p:txBody>
          <a:bodyPr wrap="none" lIns="0" tIns="0" rIns="0" bIns="0" anchor="ctr">
            <a:noAutofit/>
          </a:bodyPr>
          <a:lstStyle/>
          <a:p>
            <a:r>
              <a:rPr lang="en-US" sz="1400" dirty="0">
                <a:solidFill>
                  <a:srgbClr val="2C5967"/>
                </a:solidFill>
                <a:latin typeface="Calibri" panose="020F0502020204030204" pitchFamily="34" charset="0"/>
                <a:cs typeface="Calibri" panose="020F0502020204030204" pitchFamily="34" charset="0"/>
              </a:rPr>
              <a:t>Oracle ACE Program Group</a:t>
            </a:r>
          </a:p>
        </p:txBody>
      </p:sp>
      <p:pic>
        <p:nvPicPr>
          <p:cNvPr id="6" name="Picture 5">
            <a:extLst>
              <a:ext uri="{FF2B5EF4-FFF2-40B4-BE49-F238E27FC236}">
                <a16:creationId xmlns:a16="http://schemas.microsoft.com/office/drawing/2014/main" id="{91897796-C8E1-2261-A309-C16DA25F587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03999" y="6379274"/>
            <a:ext cx="275409" cy="275409"/>
          </a:xfrm>
          <a:prstGeom prst="rect">
            <a:avLst/>
          </a:prstGeom>
        </p:spPr>
      </p:pic>
      <p:sp>
        <p:nvSpPr>
          <p:cNvPr id="8" name="Footer Placeholder 7">
            <a:extLst>
              <a:ext uri="{FF2B5EF4-FFF2-40B4-BE49-F238E27FC236}">
                <a16:creationId xmlns:a16="http://schemas.microsoft.com/office/drawing/2014/main" id="{1B891389-0A1D-9E68-09F4-71821C72EF6C}"/>
              </a:ext>
            </a:extLst>
          </p:cNvPr>
          <p:cNvSpPr>
            <a:spLocks noGrp="1"/>
          </p:cNvSpPr>
          <p:nvPr>
            <p:ph type="ftr" sz="quarter" idx="11"/>
          </p:nvPr>
        </p:nvSpPr>
        <p:spPr/>
        <p:txBody>
          <a:bodyPr/>
          <a:lstStyle/>
          <a:p>
            <a:r>
              <a:rPr lang="en-US"/>
              <a:t>Copyright © 2024 Accenture. All rights reserved.</a:t>
            </a:r>
            <a:endParaRPr lang="en-US" dirty="0"/>
          </a:p>
        </p:txBody>
      </p:sp>
      <p:sp>
        <p:nvSpPr>
          <p:cNvPr id="10" name="Slide Number Placeholder 9">
            <a:extLst>
              <a:ext uri="{FF2B5EF4-FFF2-40B4-BE49-F238E27FC236}">
                <a16:creationId xmlns:a16="http://schemas.microsoft.com/office/drawing/2014/main" id="{88BE103F-3063-075D-3268-441A225446B1}"/>
              </a:ext>
            </a:extLst>
          </p:cNvPr>
          <p:cNvSpPr>
            <a:spLocks noGrp="1"/>
          </p:cNvSpPr>
          <p:nvPr>
            <p:ph type="sldNum" sz="quarter" idx="12"/>
          </p:nvPr>
        </p:nvSpPr>
        <p:spPr/>
        <p:txBody>
          <a:bodyPr/>
          <a:lstStyle/>
          <a:p>
            <a:fld id="{345D60D9-5372-5F40-9443-0F9AE5BDC3C8}" type="slidenum">
              <a:rPr lang="en-US" smtClean="0"/>
              <a:pPr/>
              <a:t>4</a:t>
            </a:fld>
            <a:endParaRPr lang="en-US" dirty="0"/>
          </a:p>
        </p:txBody>
      </p:sp>
    </p:spTree>
    <p:extLst>
      <p:ext uri="{BB962C8B-B14F-4D97-AF65-F5344CB8AC3E}">
        <p14:creationId xmlns:p14="http://schemas.microsoft.com/office/powerpoint/2010/main" val="14601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BCC733-3723-27B6-9EE9-1C114E880A04}"/>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2" name="Object 1" hidden="1">
                        <a:extLst>
                          <a:ext uri="{FF2B5EF4-FFF2-40B4-BE49-F238E27FC236}">
                            <a16:creationId xmlns:a16="http://schemas.microsoft.com/office/drawing/2014/main" id="{06BCC733-3723-27B6-9EE9-1C114E880A04}"/>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pic>
        <p:nvPicPr>
          <p:cNvPr id="3" name="Bildplatzhalter 2" descr="Ein Bild, das Person, drinnen, computer, Fenster enthält.&#10;&#10;Automatisch generierte Beschreibung">
            <a:extLst>
              <a:ext uri="{FF2B5EF4-FFF2-40B4-BE49-F238E27FC236}">
                <a16:creationId xmlns:a16="http://schemas.microsoft.com/office/drawing/2014/main" id="{D00FC92A-9E06-4F98-91AA-578E6B717758}"/>
              </a:ext>
            </a:extLst>
          </p:cNvPr>
          <p:cNvPicPr>
            <a:picLocks noGrp="1" noChangeAspect="1"/>
          </p:cNvPicPr>
          <p:nvPr>
            <p:ph type="pic" sz="quarter" idx="16"/>
          </p:nvPr>
        </p:nvPicPr>
        <p:blipFill>
          <a:blip r:embed="rId6" cstate="screen">
            <a:extLst>
              <a:ext uri="{28A0092B-C50C-407E-A947-70E740481C1C}">
                <a14:useLocalDpi xmlns:a14="http://schemas.microsoft.com/office/drawing/2010/main"/>
              </a:ext>
            </a:extLst>
          </a:blip>
          <a:srcRect/>
          <a:stretch>
            <a:fillRect/>
          </a:stretch>
        </p:blipFill>
        <p:spPr/>
      </p:pic>
      <p:sp>
        <p:nvSpPr>
          <p:cNvPr id="6" name="Textplatzhalter 5">
            <a:extLst>
              <a:ext uri="{FF2B5EF4-FFF2-40B4-BE49-F238E27FC236}">
                <a16:creationId xmlns:a16="http://schemas.microsoft.com/office/drawing/2014/main" id="{6DC9E8D1-49A4-4163-9BCF-6ABBC3CEF990}"/>
              </a:ext>
            </a:extLst>
          </p:cNvPr>
          <p:cNvSpPr>
            <a:spLocks noGrp="1"/>
          </p:cNvSpPr>
          <p:nvPr>
            <p:ph type="body" sz="quarter" idx="17"/>
          </p:nvPr>
        </p:nvSpPr>
        <p:spPr>
          <a:xfrm>
            <a:off x="9524998" y="-74146"/>
            <a:ext cx="3038457" cy="912223"/>
          </a:xfrm>
        </p:spPr>
        <p:txBody>
          <a:bodyPr/>
          <a:lstStyle/>
          <a:p>
            <a:r>
              <a:rPr lang="en-US" sz="2400"/>
              <a:t>3 key benefits</a:t>
            </a:r>
          </a:p>
        </p:txBody>
      </p:sp>
      <p:sp>
        <p:nvSpPr>
          <p:cNvPr id="7" name="Textplatzhalter 6">
            <a:extLst>
              <a:ext uri="{FF2B5EF4-FFF2-40B4-BE49-F238E27FC236}">
                <a16:creationId xmlns:a16="http://schemas.microsoft.com/office/drawing/2014/main" id="{DDDBB6C3-4579-43F5-9071-53562E91343F}"/>
              </a:ext>
            </a:extLst>
          </p:cNvPr>
          <p:cNvSpPr>
            <a:spLocks noGrp="1"/>
          </p:cNvSpPr>
          <p:nvPr>
            <p:ph type="body" sz="quarter" idx="18"/>
          </p:nvPr>
        </p:nvSpPr>
        <p:spPr>
          <a:xfrm>
            <a:off x="9525000" y="657967"/>
            <a:ext cx="2471755" cy="2328792"/>
          </a:xfrm>
        </p:spPr>
        <p:txBody>
          <a:bodyPr vert="horz" lIns="0" tIns="0" rIns="0" bIns="0" rtlCol="0" anchor="t">
            <a:noAutofit/>
          </a:bodyPr>
          <a:lstStyle/>
          <a:p>
            <a:r>
              <a:rPr lang="en-US" sz="1600" b="0">
                <a:solidFill>
                  <a:srgbClr val="A100FF"/>
                </a:solidFill>
              </a:rPr>
              <a:t>1</a:t>
            </a:r>
            <a:r>
              <a:rPr lang="en-US" sz="1600" b="0"/>
              <a:t> Architecture expertise from hands-on projects </a:t>
            </a:r>
          </a:p>
          <a:p>
            <a:r>
              <a:rPr lang="en-US" sz="1600" b="0">
                <a:solidFill>
                  <a:srgbClr val="A100FF"/>
                </a:solidFill>
              </a:rPr>
              <a:t>2 </a:t>
            </a:r>
            <a:r>
              <a:rPr lang="en-US" sz="1600" b="0"/>
              <a:t>Delivery of tailor-made data platforms</a:t>
            </a:r>
          </a:p>
          <a:p>
            <a:r>
              <a:rPr lang="en-US" sz="1600" b="0">
                <a:solidFill>
                  <a:srgbClr val="A100FF"/>
                </a:solidFill>
              </a:rPr>
              <a:t>3</a:t>
            </a:r>
            <a:r>
              <a:rPr lang="en-US" sz="1600" b="0"/>
              <a:t> Integrated Teams - Like a rowing team, perfect alignment and interaction.</a:t>
            </a:r>
          </a:p>
          <a:p>
            <a:endParaRPr lang="en-US" sz="1600" b="0"/>
          </a:p>
          <a:p>
            <a:endParaRPr lang="en-US" sz="1600" b="0"/>
          </a:p>
        </p:txBody>
      </p:sp>
      <p:sp>
        <p:nvSpPr>
          <p:cNvPr id="8" name="Textplatzhalter 7">
            <a:extLst>
              <a:ext uri="{FF2B5EF4-FFF2-40B4-BE49-F238E27FC236}">
                <a16:creationId xmlns:a16="http://schemas.microsoft.com/office/drawing/2014/main" id="{76F9DF42-7D33-4C26-A710-37EC657DA574}"/>
              </a:ext>
            </a:extLst>
          </p:cNvPr>
          <p:cNvSpPr>
            <a:spLocks noGrp="1"/>
          </p:cNvSpPr>
          <p:nvPr>
            <p:ph type="body" sz="quarter" idx="19"/>
          </p:nvPr>
        </p:nvSpPr>
        <p:spPr/>
        <p:txBody>
          <a:bodyPr/>
          <a:lstStyle/>
          <a:p>
            <a:r>
              <a:rPr lang="en-US" sz="2400"/>
              <a:t>Tools and Blueprints</a:t>
            </a:r>
          </a:p>
        </p:txBody>
      </p:sp>
      <p:sp>
        <p:nvSpPr>
          <p:cNvPr id="9" name="Textplatzhalter 8">
            <a:extLst>
              <a:ext uri="{FF2B5EF4-FFF2-40B4-BE49-F238E27FC236}">
                <a16:creationId xmlns:a16="http://schemas.microsoft.com/office/drawing/2014/main" id="{4547C5EE-1AF5-43B5-926D-56DB81A548C9}"/>
              </a:ext>
            </a:extLst>
          </p:cNvPr>
          <p:cNvSpPr>
            <a:spLocks noGrp="1"/>
          </p:cNvSpPr>
          <p:nvPr>
            <p:ph type="body" sz="quarter" idx="20"/>
          </p:nvPr>
        </p:nvSpPr>
        <p:spPr>
          <a:xfrm>
            <a:off x="3428987" y="4510186"/>
            <a:ext cx="2285995" cy="1284879"/>
          </a:xfrm>
        </p:spPr>
        <p:txBody>
          <a:bodyPr vert="horz" lIns="0" tIns="0" rIns="0" bIns="0" rtlCol="0" anchor="t">
            <a:noAutofit/>
          </a:bodyPr>
          <a:lstStyle/>
          <a:p>
            <a:r>
              <a:rPr lang="en-US" sz="1600" b="0"/>
              <a:t>Key enabler for the implementation of modern data platforms at a high speed and quality.</a:t>
            </a:r>
          </a:p>
        </p:txBody>
      </p:sp>
      <p:sp>
        <p:nvSpPr>
          <p:cNvPr id="10" name="Textplatzhalter 9">
            <a:extLst>
              <a:ext uri="{FF2B5EF4-FFF2-40B4-BE49-F238E27FC236}">
                <a16:creationId xmlns:a16="http://schemas.microsoft.com/office/drawing/2014/main" id="{8BBB09CA-5BAB-4CC6-8F68-7CE990A7FB7D}"/>
              </a:ext>
            </a:extLst>
          </p:cNvPr>
          <p:cNvSpPr>
            <a:spLocks noGrp="1"/>
          </p:cNvSpPr>
          <p:nvPr>
            <p:ph type="body" sz="quarter" idx="21"/>
          </p:nvPr>
        </p:nvSpPr>
        <p:spPr/>
        <p:txBody>
          <a:bodyPr/>
          <a:lstStyle/>
          <a:p>
            <a:r>
              <a:rPr lang="en-US" sz="2400"/>
              <a:t>Continuous Optimization</a:t>
            </a:r>
          </a:p>
        </p:txBody>
      </p:sp>
      <p:sp>
        <p:nvSpPr>
          <p:cNvPr id="11" name="Textplatzhalter 10">
            <a:extLst>
              <a:ext uri="{FF2B5EF4-FFF2-40B4-BE49-F238E27FC236}">
                <a16:creationId xmlns:a16="http://schemas.microsoft.com/office/drawing/2014/main" id="{8C766EF8-2183-4E9F-A38F-C2AAB9C61635}"/>
              </a:ext>
            </a:extLst>
          </p:cNvPr>
          <p:cNvSpPr>
            <a:spLocks noGrp="1"/>
          </p:cNvSpPr>
          <p:nvPr>
            <p:ph type="body" sz="quarter" idx="22"/>
          </p:nvPr>
        </p:nvSpPr>
        <p:spPr>
          <a:xfrm>
            <a:off x="6476995" y="4510183"/>
            <a:ext cx="2285995" cy="1664208"/>
          </a:xfrm>
        </p:spPr>
        <p:txBody>
          <a:bodyPr/>
          <a:lstStyle/>
          <a:p>
            <a:r>
              <a:rPr lang="en-US" sz="1600" b="0"/>
              <a:t>Tools and Blueprints are continuously optimized to the customer and project’s needs. </a:t>
            </a:r>
          </a:p>
        </p:txBody>
      </p:sp>
      <p:pic>
        <p:nvPicPr>
          <p:cNvPr id="18" name="Bildplatzhalter 17" descr="Ein Bild, das draußen, Szene, Weg enthält.&#10;&#10;Automatisch generierte Beschreibung">
            <a:extLst>
              <a:ext uri="{FF2B5EF4-FFF2-40B4-BE49-F238E27FC236}">
                <a16:creationId xmlns:a16="http://schemas.microsoft.com/office/drawing/2014/main" id="{883E81E6-1AE7-458C-87DD-0C465C99E8E1}"/>
              </a:ext>
            </a:extLst>
          </p:cNvPr>
          <p:cNvPicPr>
            <a:picLocks noGrp="1" noChangeAspect="1"/>
          </p:cNvPicPr>
          <p:nvPr>
            <p:ph type="pic" sz="quarter" idx="23"/>
          </p:nvPr>
        </p:nvPicPr>
        <p:blipFill>
          <a:blip r:embed="rId7" cstate="screen">
            <a:extLst>
              <a:ext uri="{28A0092B-C50C-407E-A947-70E740481C1C}">
                <a14:useLocalDpi xmlns:a14="http://schemas.microsoft.com/office/drawing/2010/main"/>
              </a:ext>
            </a:extLst>
          </a:blip>
          <a:srcRect/>
          <a:stretch>
            <a:fillRect/>
          </a:stretch>
        </p:blipFill>
        <p:spPr/>
      </p:pic>
      <p:sp>
        <p:nvSpPr>
          <p:cNvPr id="13" name="Textplatzhalter 12">
            <a:extLst>
              <a:ext uri="{FF2B5EF4-FFF2-40B4-BE49-F238E27FC236}">
                <a16:creationId xmlns:a16="http://schemas.microsoft.com/office/drawing/2014/main" id="{B7C30A9A-A995-40CC-BD87-71583B0E616C}"/>
              </a:ext>
            </a:extLst>
          </p:cNvPr>
          <p:cNvSpPr>
            <a:spLocks noGrp="1"/>
          </p:cNvSpPr>
          <p:nvPr>
            <p:ph type="body" sz="quarter" idx="24"/>
          </p:nvPr>
        </p:nvSpPr>
        <p:spPr/>
        <p:txBody>
          <a:bodyPr/>
          <a:lstStyle/>
          <a:p>
            <a:r>
              <a:rPr lang="en-US" sz="2400"/>
              <a:t>Expertise &amp; Light Towers</a:t>
            </a:r>
          </a:p>
        </p:txBody>
      </p:sp>
      <p:sp>
        <p:nvSpPr>
          <p:cNvPr id="14" name="Textplatzhalter 13">
            <a:extLst>
              <a:ext uri="{FF2B5EF4-FFF2-40B4-BE49-F238E27FC236}">
                <a16:creationId xmlns:a16="http://schemas.microsoft.com/office/drawing/2014/main" id="{37117081-6007-4C84-95EC-22E4E0A8537E}"/>
              </a:ext>
            </a:extLst>
          </p:cNvPr>
          <p:cNvSpPr>
            <a:spLocks noGrp="1"/>
          </p:cNvSpPr>
          <p:nvPr>
            <p:ph type="body" sz="quarter" idx="25"/>
          </p:nvPr>
        </p:nvSpPr>
        <p:spPr>
          <a:xfrm>
            <a:off x="9525000" y="4510184"/>
            <a:ext cx="2285995" cy="1662795"/>
          </a:xfrm>
        </p:spPr>
        <p:txBody>
          <a:bodyPr/>
          <a:lstStyle/>
          <a:p>
            <a:r>
              <a:rPr lang="en-US" sz="1600" b="0"/>
              <a:t>Expert group for modern data platforms from technical implementation to project management and organization</a:t>
            </a:r>
          </a:p>
        </p:txBody>
      </p:sp>
      <p:sp>
        <p:nvSpPr>
          <p:cNvPr id="15" name="Textplatzhalter 14">
            <a:extLst>
              <a:ext uri="{FF2B5EF4-FFF2-40B4-BE49-F238E27FC236}">
                <a16:creationId xmlns:a16="http://schemas.microsoft.com/office/drawing/2014/main" id="{C33D7343-3A22-4022-A7E9-7FFF163293CA}"/>
              </a:ext>
            </a:extLst>
          </p:cNvPr>
          <p:cNvSpPr>
            <a:spLocks noGrp="1"/>
          </p:cNvSpPr>
          <p:nvPr>
            <p:ph type="body" sz="quarter" idx="26"/>
          </p:nvPr>
        </p:nvSpPr>
        <p:spPr>
          <a:xfrm>
            <a:off x="333051" y="296690"/>
            <a:ext cx="6467479" cy="419101"/>
          </a:xfrm>
        </p:spPr>
        <p:txBody>
          <a:bodyPr/>
          <a:lstStyle/>
          <a:p>
            <a:r>
              <a:rPr lang="en-US" sz="2400" dirty="0">
                <a:solidFill>
                  <a:srgbClr val="A100FF"/>
                </a:solidFill>
              </a:rPr>
              <a:t>Modern Data Platforms</a:t>
            </a:r>
            <a:br>
              <a:rPr lang="en-US" sz="2400" dirty="0">
                <a:solidFill>
                  <a:srgbClr val="A100FF"/>
                </a:solidFill>
              </a:rPr>
            </a:br>
            <a:r>
              <a:rPr lang="en-US" sz="2400" dirty="0">
                <a:solidFill>
                  <a:srgbClr val="A100FF"/>
                </a:solidFill>
              </a:rPr>
              <a:t>VISON &amp; MISSION</a:t>
            </a:r>
          </a:p>
        </p:txBody>
      </p:sp>
      <p:sp>
        <p:nvSpPr>
          <p:cNvPr id="17" name="Rectangle 9">
            <a:extLst>
              <a:ext uri="{FF2B5EF4-FFF2-40B4-BE49-F238E27FC236}">
                <a16:creationId xmlns:a16="http://schemas.microsoft.com/office/drawing/2014/main" id="{15199D59-83FC-46F4-B0A1-D58E53A4A45E}"/>
              </a:ext>
            </a:extLst>
          </p:cNvPr>
          <p:cNvSpPr/>
          <p:nvPr/>
        </p:nvSpPr>
        <p:spPr>
          <a:xfrm>
            <a:off x="5869734" y="1771753"/>
            <a:ext cx="189333" cy="1427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defTabSz="609585">
              <a:defRPr/>
            </a:pPr>
            <a:endParaRPr lang="en-US">
              <a:solidFill>
                <a:srgbClr val="FFFFFF"/>
              </a:solidFill>
              <a:latin typeface="Graphik"/>
            </a:endParaRPr>
          </a:p>
        </p:txBody>
      </p:sp>
      <p:sp>
        <p:nvSpPr>
          <p:cNvPr id="20" name="Textplatzhalter 14">
            <a:extLst>
              <a:ext uri="{FF2B5EF4-FFF2-40B4-BE49-F238E27FC236}">
                <a16:creationId xmlns:a16="http://schemas.microsoft.com/office/drawing/2014/main" id="{CD70640B-2E66-4E7A-A3D1-EDE2D07BCF48}"/>
              </a:ext>
            </a:extLst>
          </p:cNvPr>
          <p:cNvSpPr txBox="1">
            <a:spLocks/>
          </p:cNvSpPr>
          <p:nvPr/>
        </p:nvSpPr>
        <p:spPr>
          <a:xfrm>
            <a:off x="380998" y="719228"/>
            <a:ext cx="4614749" cy="2393952"/>
          </a:xfrm>
          <a:prstGeom prst="rect">
            <a:avLst/>
          </a:prstGeom>
        </p:spPr>
        <p:txBody>
          <a:bodyPr vert="horz" lIns="0" tIns="0" rIns="0" bIns="0" rtlCol="0" anchor="ctr">
            <a:noAutofit/>
          </a:bodyPr>
          <a:lstStyle>
            <a:lvl1pPr marL="0" indent="0" algn="l" defTabSz="228600" rtl="0" eaLnBrk="1" latinLnBrk="0" hangingPunct="1">
              <a:lnSpc>
                <a:spcPct val="100000"/>
              </a:lnSpc>
              <a:spcBef>
                <a:spcPts val="0"/>
              </a:spcBef>
              <a:spcAft>
                <a:spcPts val="600"/>
              </a:spcAft>
              <a:buFont typeface="Graphik" panose="020B0604020202020204" pitchFamily="34" charset="0"/>
              <a:buNone/>
              <a:defRPr kumimoji="0" lang="en-US" sz="3600" b="1" i="0" u="none" strike="noStrike" kern="1200" cap="none" spc="0" normalizeH="0" baseline="0" dirty="0">
                <a:ln>
                  <a:noFill/>
                </a:ln>
                <a:solidFill>
                  <a:srgbClr val="000000"/>
                </a:solidFill>
                <a:effectLst/>
                <a:uLnTx/>
                <a:uFillTx/>
                <a:latin typeface="Graphik"/>
                <a:ea typeface="+mj-ea"/>
                <a:cs typeface="+mj-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defTabSz="304792">
              <a:spcAft>
                <a:spcPts val="800"/>
              </a:spcAft>
              <a:defRPr/>
            </a:pPr>
            <a:r>
              <a:rPr lang="en-US" sz="1600" dirty="0">
                <a:solidFill>
                  <a:srgbClr val="A100FF"/>
                </a:solidFill>
              </a:rPr>
              <a:t>WHY? </a:t>
            </a:r>
            <a:r>
              <a:rPr lang="en-US" sz="1600" b="0" dirty="0"/>
              <a:t> We are the game changer for our client's data platform projects</a:t>
            </a:r>
            <a:endParaRPr lang="en-US" sz="4800" dirty="0"/>
          </a:p>
          <a:p>
            <a:pPr defTabSz="304792">
              <a:spcAft>
                <a:spcPts val="800"/>
              </a:spcAft>
              <a:defRPr/>
            </a:pPr>
            <a:r>
              <a:rPr lang="en-US" sz="1600" dirty="0">
                <a:solidFill>
                  <a:srgbClr val="A100FF"/>
                </a:solidFill>
              </a:rPr>
              <a:t>HOW? </a:t>
            </a:r>
            <a:r>
              <a:rPr lang="en-US" sz="1600" b="0" dirty="0"/>
              <a:t>Maximum automation, maximum efficiency, maximum quality!</a:t>
            </a:r>
          </a:p>
          <a:p>
            <a:pPr>
              <a:defRPr/>
            </a:pPr>
            <a:r>
              <a:rPr lang="en-US" sz="1600" dirty="0">
                <a:solidFill>
                  <a:srgbClr val="A100FF"/>
                </a:solidFill>
              </a:rPr>
              <a:t>WHAT? </a:t>
            </a:r>
            <a:r>
              <a:rPr lang="en-US" sz="1600" b="0" dirty="0"/>
              <a:t>We build innovative data platforms based on our blueprints and licensable assets and tools.</a:t>
            </a:r>
          </a:p>
        </p:txBody>
      </p:sp>
      <p:sp>
        <p:nvSpPr>
          <p:cNvPr id="4" name="Footer Placeholder 3">
            <a:extLst>
              <a:ext uri="{FF2B5EF4-FFF2-40B4-BE49-F238E27FC236}">
                <a16:creationId xmlns:a16="http://schemas.microsoft.com/office/drawing/2014/main" id="{8F194001-0E39-FED6-2BAC-7837A930F90B}"/>
              </a:ext>
            </a:extLst>
          </p:cNvPr>
          <p:cNvSpPr>
            <a:spLocks noGrp="1"/>
          </p:cNvSpPr>
          <p:nvPr>
            <p:ph type="ftr" sz="quarter" idx="3"/>
          </p:nvPr>
        </p:nvSpPr>
        <p:spPr/>
        <p:txBody>
          <a:bodyPr/>
          <a:lstStyle/>
          <a:p>
            <a:pPr defTabSz="228600">
              <a:spcAft>
                <a:spcPts val="1200"/>
              </a:spcAft>
              <a:defRPr/>
            </a:pPr>
            <a:r>
              <a:rPr lang="en-GB"/>
              <a:t>Copyright © 2024 Accenture. All rights reserved.</a:t>
            </a:r>
          </a:p>
        </p:txBody>
      </p:sp>
      <p:sp>
        <p:nvSpPr>
          <p:cNvPr id="5" name="Slide Number Placeholder 4">
            <a:extLst>
              <a:ext uri="{FF2B5EF4-FFF2-40B4-BE49-F238E27FC236}">
                <a16:creationId xmlns:a16="http://schemas.microsoft.com/office/drawing/2014/main" id="{CF6CBAE3-9293-0AD3-C8A9-107BFC6E5089}"/>
              </a:ext>
            </a:extLst>
          </p:cNvPr>
          <p:cNvSpPr>
            <a:spLocks noGrp="1"/>
          </p:cNvSpPr>
          <p:nvPr>
            <p:ph type="sldNum" sz="quarter" idx="27"/>
          </p:nvPr>
        </p:nvSpPr>
        <p:spPr/>
        <p:txBody>
          <a:bodyPr/>
          <a:lstStyle/>
          <a:p>
            <a:fld id="{1F90F471-3972-4120-B8B3-0237DE626C35}" type="slidenum">
              <a:rPr lang="en-US" smtClean="0"/>
              <a:pPr/>
              <a:t>5</a:t>
            </a:fld>
            <a:endParaRPr lang="en-US" dirty="0">
              <a:solidFill>
                <a:schemeClr val="bg1"/>
              </a:solidFill>
            </a:endParaRPr>
          </a:p>
        </p:txBody>
      </p:sp>
    </p:spTree>
    <p:extLst>
      <p:ext uri="{BB962C8B-B14F-4D97-AF65-F5344CB8AC3E}">
        <p14:creationId xmlns:p14="http://schemas.microsoft.com/office/powerpoint/2010/main" val="32553261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F9E552B-AE32-4808-0A30-526769E9FED8}"/>
              </a:ext>
            </a:extLst>
          </p:cNvPr>
          <p:cNvSpPr>
            <a:spLocks noGrp="1"/>
          </p:cNvSpPr>
          <p:nvPr>
            <p:ph type="body" sz="quarter" idx="14"/>
          </p:nvPr>
        </p:nvSpPr>
        <p:spPr/>
        <p:txBody>
          <a:bodyPr/>
          <a:lstStyle/>
          <a:p>
            <a:r>
              <a:rPr lang="en-GB" dirty="0"/>
              <a:t>A new approach to protect your data.</a:t>
            </a:r>
            <a:endParaRPr lang="en-CH" dirty="0"/>
          </a:p>
        </p:txBody>
      </p:sp>
      <p:sp>
        <p:nvSpPr>
          <p:cNvPr id="3" name="Title 2">
            <a:extLst>
              <a:ext uri="{FF2B5EF4-FFF2-40B4-BE49-F238E27FC236}">
                <a16:creationId xmlns:a16="http://schemas.microsoft.com/office/drawing/2014/main" id="{71629877-83F9-C3AD-1532-9D122387E409}"/>
              </a:ext>
            </a:extLst>
          </p:cNvPr>
          <p:cNvSpPr>
            <a:spLocks noGrp="1"/>
          </p:cNvSpPr>
          <p:nvPr>
            <p:ph type="title"/>
          </p:nvPr>
        </p:nvSpPr>
        <p:spPr/>
        <p:txBody>
          <a:bodyPr/>
          <a:lstStyle/>
          <a:p>
            <a:r>
              <a:rPr lang="de-CH" dirty="0"/>
              <a:t>Cloud </a:t>
            </a:r>
            <a:r>
              <a:rPr lang="de-CH" dirty="0" err="1"/>
              <a:t>Guard</a:t>
            </a:r>
            <a:endParaRPr lang="en-CH" dirty="0"/>
          </a:p>
        </p:txBody>
      </p:sp>
      <p:sp>
        <p:nvSpPr>
          <p:cNvPr id="4" name="Text Placeholder 3">
            <a:extLst>
              <a:ext uri="{FF2B5EF4-FFF2-40B4-BE49-F238E27FC236}">
                <a16:creationId xmlns:a16="http://schemas.microsoft.com/office/drawing/2014/main" id="{F53B9380-47E6-C19E-4053-86E14366F50E}"/>
              </a:ext>
            </a:extLst>
          </p:cNvPr>
          <p:cNvSpPr>
            <a:spLocks noGrp="1"/>
          </p:cNvSpPr>
          <p:nvPr>
            <p:ph type="body" sz="quarter" idx="16"/>
          </p:nvPr>
        </p:nvSpPr>
        <p:spPr/>
        <p:txBody>
          <a:bodyPr/>
          <a:lstStyle/>
          <a:p>
            <a:r>
              <a:rPr lang="en-GB" dirty="0"/>
              <a:t>Introduction</a:t>
            </a:r>
            <a:endParaRPr lang="en-CH" dirty="0"/>
          </a:p>
        </p:txBody>
      </p:sp>
      <p:sp>
        <p:nvSpPr>
          <p:cNvPr id="5" name="Text Placeholder 4">
            <a:extLst>
              <a:ext uri="{FF2B5EF4-FFF2-40B4-BE49-F238E27FC236}">
                <a16:creationId xmlns:a16="http://schemas.microsoft.com/office/drawing/2014/main" id="{4D1089D9-B568-BC09-13D3-75786BE4D9BC}"/>
              </a:ext>
            </a:extLst>
          </p:cNvPr>
          <p:cNvSpPr>
            <a:spLocks noGrp="1"/>
          </p:cNvSpPr>
          <p:nvPr>
            <p:ph type="body" sz="quarter" idx="18"/>
          </p:nvPr>
        </p:nvSpPr>
        <p:spPr/>
        <p:txBody>
          <a:bodyPr/>
          <a:lstStyle/>
          <a:p>
            <a:r>
              <a:rPr lang="en-GB" dirty="0"/>
              <a:t>SQL Firewall</a:t>
            </a:r>
            <a:endParaRPr lang="en-CH" dirty="0"/>
          </a:p>
        </p:txBody>
      </p:sp>
      <p:sp>
        <p:nvSpPr>
          <p:cNvPr id="6" name="Text Placeholder 5">
            <a:extLst>
              <a:ext uri="{FF2B5EF4-FFF2-40B4-BE49-F238E27FC236}">
                <a16:creationId xmlns:a16="http://schemas.microsoft.com/office/drawing/2014/main" id="{FB352734-A1FB-38C6-2A1D-F73070E0CD10}"/>
              </a:ext>
            </a:extLst>
          </p:cNvPr>
          <p:cNvSpPr>
            <a:spLocks noGrp="1"/>
          </p:cNvSpPr>
          <p:nvPr>
            <p:ph type="body" sz="quarter" idx="20"/>
          </p:nvPr>
        </p:nvSpPr>
        <p:spPr/>
        <p:txBody>
          <a:bodyPr/>
          <a:lstStyle/>
          <a:p>
            <a:r>
              <a:rPr lang="en-GB" dirty="0"/>
              <a:t>CLI Management</a:t>
            </a:r>
          </a:p>
        </p:txBody>
      </p:sp>
      <p:sp>
        <p:nvSpPr>
          <p:cNvPr id="7" name="Text Placeholder 6">
            <a:extLst>
              <a:ext uri="{FF2B5EF4-FFF2-40B4-BE49-F238E27FC236}">
                <a16:creationId xmlns:a16="http://schemas.microsoft.com/office/drawing/2014/main" id="{D9F6E433-F286-B428-87FF-D12488F81E35}"/>
              </a:ext>
            </a:extLst>
          </p:cNvPr>
          <p:cNvSpPr>
            <a:spLocks noGrp="1"/>
          </p:cNvSpPr>
          <p:nvPr>
            <p:ph type="body" sz="quarter" idx="22"/>
          </p:nvPr>
        </p:nvSpPr>
        <p:spPr/>
        <p:txBody>
          <a:bodyPr/>
          <a:lstStyle/>
          <a:p>
            <a:r>
              <a:rPr lang="en-GB" dirty="0"/>
              <a:t>GUI Management</a:t>
            </a:r>
          </a:p>
        </p:txBody>
      </p:sp>
      <p:sp>
        <p:nvSpPr>
          <p:cNvPr id="8" name="Text Placeholder 7">
            <a:extLst>
              <a:ext uri="{FF2B5EF4-FFF2-40B4-BE49-F238E27FC236}">
                <a16:creationId xmlns:a16="http://schemas.microsoft.com/office/drawing/2014/main" id="{3B72ACB7-875F-88E1-8FF9-E339AB5CEA90}"/>
              </a:ext>
            </a:extLst>
          </p:cNvPr>
          <p:cNvSpPr>
            <a:spLocks noGrp="1"/>
          </p:cNvSpPr>
          <p:nvPr>
            <p:ph type="body" sz="quarter" idx="24"/>
          </p:nvPr>
        </p:nvSpPr>
        <p:spPr/>
        <p:txBody>
          <a:bodyPr/>
          <a:lstStyle/>
          <a:p>
            <a:r>
              <a:rPr lang="en-GB" dirty="0"/>
              <a:t>Reporting, Audit and Alerts</a:t>
            </a:r>
            <a:endParaRPr lang="en-CH" dirty="0"/>
          </a:p>
        </p:txBody>
      </p:sp>
      <p:sp>
        <p:nvSpPr>
          <p:cNvPr id="9" name="Text Placeholder 8">
            <a:extLst>
              <a:ext uri="{FF2B5EF4-FFF2-40B4-BE49-F238E27FC236}">
                <a16:creationId xmlns:a16="http://schemas.microsoft.com/office/drawing/2014/main" id="{4722DDC2-84AC-744A-549D-84D37EC6E174}"/>
              </a:ext>
            </a:extLst>
          </p:cNvPr>
          <p:cNvSpPr>
            <a:spLocks noGrp="1"/>
          </p:cNvSpPr>
          <p:nvPr>
            <p:ph type="body" sz="quarter" idx="26"/>
          </p:nvPr>
        </p:nvSpPr>
        <p:spPr/>
        <p:txBody>
          <a:bodyPr/>
          <a:lstStyle/>
          <a:p>
            <a:r>
              <a:rPr lang="en-GB" dirty="0"/>
              <a:t>Licensing</a:t>
            </a:r>
            <a:endParaRPr lang="en-CH" dirty="0"/>
          </a:p>
        </p:txBody>
      </p:sp>
      <p:sp>
        <p:nvSpPr>
          <p:cNvPr id="10" name="Text Placeholder 9">
            <a:extLst>
              <a:ext uri="{FF2B5EF4-FFF2-40B4-BE49-F238E27FC236}">
                <a16:creationId xmlns:a16="http://schemas.microsoft.com/office/drawing/2014/main" id="{2510B16E-5797-8D5D-1A8B-7AEBFCCACEC2}"/>
              </a:ext>
            </a:extLst>
          </p:cNvPr>
          <p:cNvSpPr>
            <a:spLocks noGrp="1"/>
          </p:cNvSpPr>
          <p:nvPr>
            <p:ph type="body" sz="quarter" idx="28"/>
          </p:nvPr>
        </p:nvSpPr>
        <p:spPr/>
        <p:txBody>
          <a:bodyPr/>
          <a:lstStyle/>
          <a:p>
            <a:r>
              <a:rPr lang="en-CH" dirty="0"/>
              <a:t>Challanges</a:t>
            </a:r>
          </a:p>
        </p:txBody>
      </p:sp>
      <p:sp>
        <p:nvSpPr>
          <p:cNvPr id="11" name="Text Placeholder 10">
            <a:extLst>
              <a:ext uri="{FF2B5EF4-FFF2-40B4-BE49-F238E27FC236}">
                <a16:creationId xmlns:a16="http://schemas.microsoft.com/office/drawing/2014/main" id="{5E22572D-86FE-3D93-8F31-CF570714B8BB}"/>
              </a:ext>
            </a:extLst>
          </p:cNvPr>
          <p:cNvSpPr>
            <a:spLocks noGrp="1"/>
          </p:cNvSpPr>
          <p:nvPr>
            <p:ph type="body" sz="quarter" idx="30"/>
          </p:nvPr>
        </p:nvSpPr>
        <p:spPr/>
        <p:txBody>
          <a:bodyPr/>
          <a:lstStyle/>
          <a:p>
            <a:r>
              <a:rPr lang="en-CH" dirty="0"/>
              <a:t>Conclusion</a:t>
            </a:r>
          </a:p>
        </p:txBody>
      </p:sp>
      <p:sp>
        <p:nvSpPr>
          <p:cNvPr id="12" name="Text Placeholder 11">
            <a:extLst>
              <a:ext uri="{FF2B5EF4-FFF2-40B4-BE49-F238E27FC236}">
                <a16:creationId xmlns:a16="http://schemas.microsoft.com/office/drawing/2014/main" id="{C11B6A20-BE70-5369-DAC3-771200A31A95}"/>
              </a:ext>
            </a:extLst>
          </p:cNvPr>
          <p:cNvSpPr>
            <a:spLocks noGrp="1"/>
          </p:cNvSpPr>
          <p:nvPr>
            <p:ph type="body" sz="quarter" idx="31"/>
          </p:nvPr>
        </p:nvSpPr>
        <p:spPr/>
        <p:txBody>
          <a:bodyPr/>
          <a:lstStyle/>
          <a:p>
            <a:r>
              <a:rPr lang="en-CH" dirty="0"/>
              <a:t>1</a:t>
            </a:r>
          </a:p>
        </p:txBody>
      </p:sp>
      <p:sp>
        <p:nvSpPr>
          <p:cNvPr id="13" name="Text Placeholder 12">
            <a:extLst>
              <a:ext uri="{FF2B5EF4-FFF2-40B4-BE49-F238E27FC236}">
                <a16:creationId xmlns:a16="http://schemas.microsoft.com/office/drawing/2014/main" id="{37D98A69-FEC9-0D24-AD29-CAEF70F45C3B}"/>
              </a:ext>
            </a:extLst>
          </p:cNvPr>
          <p:cNvSpPr>
            <a:spLocks noGrp="1"/>
          </p:cNvSpPr>
          <p:nvPr>
            <p:ph type="body" sz="quarter" idx="32"/>
          </p:nvPr>
        </p:nvSpPr>
        <p:spPr/>
        <p:txBody>
          <a:bodyPr/>
          <a:lstStyle/>
          <a:p>
            <a:r>
              <a:rPr lang="en-CH" dirty="0"/>
              <a:t>2</a:t>
            </a:r>
          </a:p>
        </p:txBody>
      </p:sp>
      <p:sp>
        <p:nvSpPr>
          <p:cNvPr id="14" name="Text Placeholder 13">
            <a:extLst>
              <a:ext uri="{FF2B5EF4-FFF2-40B4-BE49-F238E27FC236}">
                <a16:creationId xmlns:a16="http://schemas.microsoft.com/office/drawing/2014/main" id="{C8F22D79-A2DC-4DB4-4E7C-F342772A9A71}"/>
              </a:ext>
            </a:extLst>
          </p:cNvPr>
          <p:cNvSpPr>
            <a:spLocks noGrp="1"/>
          </p:cNvSpPr>
          <p:nvPr>
            <p:ph type="body" sz="quarter" idx="33"/>
          </p:nvPr>
        </p:nvSpPr>
        <p:spPr/>
        <p:txBody>
          <a:bodyPr/>
          <a:lstStyle/>
          <a:p>
            <a:r>
              <a:rPr lang="en-CH" dirty="0"/>
              <a:t>3</a:t>
            </a:r>
          </a:p>
        </p:txBody>
      </p:sp>
      <p:sp>
        <p:nvSpPr>
          <p:cNvPr id="15" name="Text Placeholder 14">
            <a:extLst>
              <a:ext uri="{FF2B5EF4-FFF2-40B4-BE49-F238E27FC236}">
                <a16:creationId xmlns:a16="http://schemas.microsoft.com/office/drawing/2014/main" id="{A3EAA9DB-E71A-70D3-114E-5321A42925E9}"/>
              </a:ext>
            </a:extLst>
          </p:cNvPr>
          <p:cNvSpPr>
            <a:spLocks noGrp="1"/>
          </p:cNvSpPr>
          <p:nvPr>
            <p:ph type="body" sz="quarter" idx="34"/>
          </p:nvPr>
        </p:nvSpPr>
        <p:spPr/>
        <p:txBody>
          <a:bodyPr/>
          <a:lstStyle/>
          <a:p>
            <a:r>
              <a:rPr lang="en-CH" dirty="0"/>
              <a:t>4</a:t>
            </a:r>
          </a:p>
        </p:txBody>
      </p:sp>
      <p:sp>
        <p:nvSpPr>
          <p:cNvPr id="16" name="Text Placeholder 15">
            <a:extLst>
              <a:ext uri="{FF2B5EF4-FFF2-40B4-BE49-F238E27FC236}">
                <a16:creationId xmlns:a16="http://schemas.microsoft.com/office/drawing/2014/main" id="{B6D08F88-0E76-35AD-C5AA-16AAAFF22260}"/>
              </a:ext>
            </a:extLst>
          </p:cNvPr>
          <p:cNvSpPr>
            <a:spLocks noGrp="1"/>
          </p:cNvSpPr>
          <p:nvPr>
            <p:ph type="body" sz="quarter" idx="35"/>
          </p:nvPr>
        </p:nvSpPr>
        <p:spPr/>
        <p:txBody>
          <a:bodyPr/>
          <a:lstStyle/>
          <a:p>
            <a:r>
              <a:rPr lang="en-CH" dirty="0"/>
              <a:t>5</a:t>
            </a:r>
          </a:p>
        </p:txBody>
      </p:sp>
      <p:sp>
        <p:nvSpPr>
          <p:cNvPr id="17" name="Text Placeholder 16">
            <a:extLst>
              <a:ext uri="{FF2B5EF4-FFF2-40B4-BE49-F238E27FC236}">
                <a16:creationId xmlns:a16="http://schemas.microsoft.com/office/drawing/2014/main" id="{1C7779BC-3AFB-E14A-280C-6CE561AD9271}"/>
              </a:ext>
            </a:extLst>
          </p:cNvPr>
          <p:cNvSpPr>
            <a:spLocks noGrp="1"/>
          </p:cNvSpPr>
          <p:nvPr>
            <p:ph type="body" sz="quarter" idx="36"/>
          </p:nvPr>
        </p:nvSpPr>
        <p:spPr/>
        <p:txBody>
          <a:bodyPr/>
          <a:lstStyle/>
          <a:p>
            <a:r>
              <a:rPr lang="en-CH" dirty="0"/>
              <a:t>6</a:t>
            </a:r>
          </a:p>
        </p:txBody>
      </p:sp>
      <p:sp>
        <p:nvSpPr>
          <p:cNvPr id="18" name="Text Placeholder 17">
            <a:extLst>
              <a:ext uri="{FF2B5EF4-FFF2-40B4-BE49-F238E27FC236}">
                <a16:creationId xmlns:a16="http://schemas.microsoft.com/office/drawing/2014/main" id="{F380F4E5-96D3-0EE8-91FF-7DFC06D0DF48}"/>
              </a:ext>
            </a:extLst>
          </p:cNvPr>
          <p:cNvSpPr>
            <a:spLocks noGrp="1"/>
          </p:cNvSpPr>
          <p:nvPr>
            <p:ph type="body" sz="quarter" idx="37"/>
          </p:nvPr>
        </p:nvSpPr>
        <p:spPr/>
        <p:txBody>
          <a:bodyPr/>
          <a:lstStyle/>
          <a:p>
            <a:r>
              <a:rPr lang="en-CH" dirty="0"/>
              <a:t>7</a:t>
            </a:r>
          </a:p>
        </p:txBody>
      </p:sp>
      <p:sp>
        <p:nvSpPr>
          <p:cNvPr id="19" name="Text Placeholder 18">
            <a:extLst>
              <a:ext uri="{FF2B5EF4-FFF2-40B4-BE49-F238E27FC236}">
                <a16:creationId xmlns:a16="http://schemas.microsoft.com/office/drawing/2014/main" id="{0DA95C92-2A43-394F-DEB1-D1AE8939D91A}"/>
              </a:ext>
            </a:extLst>
          </p:cNvPr>
          <p:cNvSpPr>
            <a:spLocks noGrp="1"/>
          </p:cNvSpPr>
          <p:nvPr>
            <p:ph type="body" sz="quarter" idx="38"/>
          </p:nvPr>
        </p:nvSpPr>
        <p:spPr/>
        <p:txBody>
          <a:bodyPr/>
          <a:lstStyle/>
          <a:p>
            <a:r>
              <a:rPr lang="en-CH" dirty="0"/>
              <a:t>8</a:t>
            </a:r>
          </a:p>
        </p:txBody>
      </p:sp>
      <p:sp>
        <p:nvSpPr>
          <p:cNvPr id="20" name="Text Placeholder 19">
            <a:extLst>
              <a:ext uri="{FF2B5EF4-FFF2-40B4-BE49-F238E27FC236}">
                <a16:creationId xmlns:a16="http://schemas.microsoft.com/office/drawing/2014/main" id="{C7A55A09-8644-5322-2543-6A19297EDB95}"/>
              </a:ext>
            </a:extLst>
          </p:cNvPr>
          <p:cNvSpPr>
            <a:spLocks noGrp="1"/>
          </p:cNvSpPr>
          <p:nvPr>
            <p:ph type="body" sz="quarter" idx="39"/>
          </p:nvPr>
        </p:nvSpPr>
        <p:spPr/>
        <p:txBody>
          <a:bodyPr/>
          <a:lstStyle/>
          <a:p>
            <a:endParaRPr lang="en-CH" dirty="0"/>
          </a:p>
        </p:txBody>
      </p:sp>
      <p:sp>
        <p:nvSpPr>
          <p:cNvPr id="21" name="Text Placeholder 20">
            <a:extLst>
              <a:ext uri="{FF2B5EF4-FFF2-40B4-BE49-F238E27FC236}">
                <a16:creationId xmlns:a16="http://schemas.microsoft.com/office/drawing/2014/main" id="{53587B63-E347-256A-C7C6-2B5C07976E08}"/>
              </a:ext>
            </a:extLst>
          </p:cNvPr>
          <p:cNvSpPr>
            <a:spLocks noGrp="1"/>
          </p:cNvSpPr>
          <p:nvPr>
            <p:ph type="body" sz="quarter" idx="40"/>
          </p:nvPr>
        </p:nvSpPr>
        <p:spPr/>
        <p:txBody>
          <a:bodyPr/>
          <a:lstStyle/>
          <a:p>
            <a:endParaRPr lang="en-CH" dirty="0"/>
          </a:p>
        </p:txBody>
      </p:sp>
      <p:sp>
        <p:nvSpPr>
          <p:cNvPr id="22" name="Text Placeholder 21">
            <a:extLst>
              <a:ext uri="{FF2B5EF4-FFF2-40B4-BE49-F238E27FC236}">
                <a16:creationId xmlns:a16="http://schemas.microsoft.com/office/drawing/2014/main" id="{62DBCE82-A05F-62CF-664C-3F570BE437A1}"/>
              </a:ext>
            </a:extLst>
          </p:cNvPr>
          <p:cNvSpPr>
            <a:spLocks noGrp="1"/>
          </p:cNvSpPr>
          <p:nvPr>
            <p:ph type="body" sz="quarter" idx="41"/>
          </p:nvPr>
        </p:nvSpPr>
        <p:spPr/>
        <p:txBody>
          <a:bodyPr/>
          <a:lstStyle/>
          <a:p>
            <a:endParaRPr lang="en-CH"/>
          </a:p>
        </p:txBody>
      </p:sp>
      <p:sp>
        <p:nvSpPr>
          <p:cNvPr id="23" name="Text Placeholder 22">
            <a:extLst>
              <a:ext uri="{FF2B5EF4-FFF2-40B4-BE49-F238E27FC236}">
                <a16:creationId xmlns:a16="http://schemas.microsoft.com/office/drawing/2014/main" id="{7F0C9FAF-78AB-7175-433E-BC8CAA53D750}"/>
              </a:ext>
            </a:extLst>
          </p:cNvPr>
          <p:cNvSpPr>
            <a:spLocks noGrp="1"/>
          </p:cNvSpPr>
          <p:nvPr>
            <p:ph type="body" sz="quarter" idx="42"/>
          </p:nvPr>
        </p:nvSpPr>
        <p:spPr/>
        <p:txBody>
          <a:bodyPr/>
          <a:lstStyle/>
          <a:p>
            <a:endParaRPr lang="en-CH"/>
          </a:p>
        </p:txBody>
      </p:sp>
      <p:sp>
        <p:nvSpPr>
          <p:cNvPr id="24" name="Text Placeholder 23">
            <a:extLst>
              <a:ext uri="{FF2B5EF4-FFF2-40B4-BE49-F238E27FC236}">
                <a16:creationId xmlns:a16="http://schemas.microsoft.com/office/drawing/2014/main" id="{31B64CA0-DDE7-7B73-FC06-F698A18ACCF4}"/>
              </a:ext>
            </a:extLst>
          </p:cNvPr>
          <p:cNvSpPr>
            <a:spLocks noGrp="1"/>
          </p:cNvSpPr>
          <p:nvPr>
            <p:ph type="body" sz="quarter" idx="43"/>
          </p:nvPr>
        </p:nvSpPr>
        <p:spPr/>
        <p:txBody>
          <a:bodyPr/>
          <a:lstStyle/>
          <a:p>
            <a:endParaRPr lang="en-CH" dirty="0"/>
          </a:p>
        </p:txBody>
      </p:sp>
      <p:sp>
        <p:nvSpPr>
          <p:cNvPr id="25" name="Text Placeholder 24">
            <a:extLst>
              <a:ext uri="{FF2B5EF4-FFF2-40B4-BE49-F238E27FC236}">
                <a16:creationId xmlns:a16="http://schemas.microsoft.com/office/drawing/2014/main" id="{DBA47D0D-CED6-9BDF-255E-674ED709C969}"/>
              </a:ext>
            </a:extLst>
          </p:cNvPr>
          <p:cNvSpPr>
            <a:spLocks noGrp="1"/>
          </p:cNvSpPr>
          <p:nvPr>
            <p:ph type="body" sz="quarter" idx="44"/>
          </p:nvPr>
        </p:nvSpPr>
        <p:spPr/>
        <p:txBody>
          <a:bodyPr/>
          <a:lstStyle/>
          <a:p>
            <a:endParaRPr lang="en-CH" dirty="0"/>
          </a:p>
        </p:txBody>
      </p:sp>
      <p:sp>
        <p:nvSpPr>
          <p:cNvPr id="26" name="Text Placeholder 25">
            <a:extLst>
              <a:ext uri="{FF2B5EF4-FFF2-40B4-BE49-F238E27FC236}">
                <a16:creationId xmlns:a16="http://schemas.microsoft.com/office/drawing/2014/main" id="{2BCD39E1-8AD9-520E-DBD9-5EB328622168}"/>
              </a:ext>
            </a:extLst>
          </p:cNvPr>
          <p:cNvSpPr>
            <a:spLocks noGrp="1"/>
          </p:cNvSpPr>
          <p:nvPr>
            <p:ph type="body" sz="quarter" idx="45"/>
          </p:nvPr>
        </p:nvSpPr>
        <p:spPr/>
        <p:txBody>
          <a:bodyPr/>
          <a:lstStyle/>
          <a:p>
            <a:endParaRPr lang="en-CH" dirty="0"/>
          </a:p>
        </p:txBody>
      </p:sp>
      <p:sp>
        <p:nvSpPr>
          <p:cNvPr id="27" name="Text Placeholder 26">
            <a:extLst>
              <a:ext uri="{FF2B5EF4-FFF2-40B4-BE49-F238E27FC236}">
                <a16:creationId xmlns:a16="http://schemas.microsoft.com/office/drawing/2014/main" id="{D7D6F620-4C9B-4057-0A46-4F7C50F45807}"/>
              </a:ext>
            </a:extLst>
          </p:cNvPr>
          <p:cNvSpPr>
            <a:spLocks noGrp="1"/>
          </p:cNvSpPr>
          <p:nvPr>
            <p:ph type="body" sz="quarter" idx="46"/>
          </p:nvPr>
        </p:nvSpPr>
        <p:spPr/>
        <p:txBody>
          <a:bodyPr/>
          <a:lstStyle/>
          <a:p>
            <a:endParaRPr lang="en-CH" dirty="0"/>
          </a:p>
        </p:txBody>
      </p:sp>
      <p:sp>
        <p:nvSpPr>
          <p:cNvPr id="28" name="Text Placeholder 27">
            <a:extLst>
              <a:ext uri="{FF2B5EF4-FFF2-40B4-BE49-F238E27FC236}">
                <a16:creationId xmlns:a16="http://schemas.microsoft.com/office/drawing/2014/main" id="{E55DC9F5-D1C9-618C-F3B3-C6377C50D3FE}"/>
              </a:ext>
            </a:extLst>
          </p:cNvPr>
          <p:cNvSpPr>
            <a:spLocks noGrp="1"/>
          </p:cNvSpPr>
          <p:nvPr>
            <p:ph type="body" sz="quarter" idx="47"/>
          </p:nvPr>
        </p:nvSpPr>
        <p:spPr/>
        <p:txBody>
          <a:bodyPr/>
          <a:lstStyle/>
          <a:p>
            <a:endParaRPr lang="en-CH"/>
          </a:p>
        </p:txBody>
      </p:sp>
      <p:sp>
        <p:nvSpPr>
          <p:cNvPr id="29" name="Text Placeholder 28">
            <a:extLst>
              <a:ext uri="{FF2B5EF4-FFF2-40B4-BE49-F238E27FC236}">
                <a16:creationId xmlns:a16="http://schemas.microsoft.com/office/drawing/2014/main" id="{35B4E289-497D-D23B-4370-4B9DF0F2C8BD}"/>
              </a:ext>
            </a:extLst>
          </p:cNvPr>
          <p:cNvSpPr>
            <a:spLocks noGrp="1"/>
          </p:cNvSpPr>
          <p:nvPr>
            <p:ph type="body" sz="quarter" idx="48"/>
          </p:nvPr>
        </p:nvSpPr>
        <p:spPr/>
        <p:txBody>
          <a:bodyPr/>
          <a:lstStyle/>
          <a:p>
            <a:endParaRPr lang="en-CH"/>
          </a:p>
        </p:txBody>
      </p:sp>
      <p:sp>
        <p:nvSpPr>
          <p:cNvPr id="30" name="Text Placeholder 29">
            <a:extLst>
              <a:ext uri="{FF2B5EF4-FFF2-40B4-BE49-F238E27FC236}">
                <a16:creationId xmlns:a16="http://schemas.microsoft.com/office/drawing/2014/main" id="{759DC1EA-9CC7-7360-AD6C-CB9F30FEE0FB}"/>
              </a:ext>
            </a:extLst>
          </p:cNvPr>
          <p:cNvSpPr>
            <a:spLocks noGrp="1"/>
          </p:cNvSpPr>
          <p:nvPr>
            <p:ph type="body" sz="quarter" idx="49"/>
          </p:nvPr>
        </p:nvSpPr>
        <p:spPr/>
        <p:txBody>
          <a:bodyPr/>
          <a:lstStyle/>
          <a:p>
            <a:endParaRPr lang="en-CH"/>
          </a:p>
        </p:txBody>
      </p:sp>
      <p:sp>
        <p:nvSpPr>
          <p:cNvPr id="31" name="Text Placeholder 30">
            <a:extLst>
              <a:ext uri="{FF2B5EF4-FFF2-40B4-BE49-F238E27FC236}">
                <a16:creationId xmlns:a16="http://schemas.microsoft.com/office/drawing/2014/main" id="{3376197E-CBBE-B7C5-A14E-BE4DE19F58C0}"/>
              </a:ext>
            </a:extLst>
          </p:cNvPr>
          <p:cNvSpPr>
            <a:spLocks noGrp="1"/>
          </p:cNvSpPr>
          <p:nvPr>
            <p:ph type="body" sz="quarter" idx="50"/>
          </p:nvPr>
        </p:nvSpPr>
        <p:spPr/>
        <p:txBody>
          <a:bodyPr/>
          <a:lstStyle/>
          <a:p>
            <a:endParaRPr lang="en-CH"/>
          </a:p>
        </p:txBody>
      </p:sp>
      <p:sp>
        <p:nvSpPr>
          <p:cNvPr id="32" name="Text Placeholder 31">
            <a:extLst>
              <a:ext uri="{FF2B5EF4-FFF2-40B4-BE49-F238E27FC236}">
                <a16:creationId xmlns:a16="http://schemas.microsoft.com/office/drawing/2014/main" id="{ECC39724-D870-BE0E-D2EC-A855A381149B}"/>
              </a:ext>
            </a:extLst>
          </p:cNvPr>
          <p:cNvSpPr>
            <a:spLocks noGrp="1"/>
          </p:cNvSpPr>
          <p:nvPr>
            <p:ph type="body" sz="quarter" idx="51"/>
          </p:nvPr>
        </p:nvSpPr>
        <p:spPr/>
        <p:txBody>
          <a:bodyPr/>
          <a:lstStyle/>
          <a:p>
            <a:endParaRPr lang="en-CH"/>
          </a:p>
        </p:txBody>
      </p:sp>
      <p:sp>
        <p:nvSpPr>
          <p:cNvPr id="33" name="Text Placeholder 32">
            <a:extLst>
              <a:ext uri="{FF2B5EF4-FFF2-40B4-BE49-F238E27FC236}">
                <a16:creationId xmlns:a16="http://schemas.microsoft.com/office/drawing/2014/main" id="{EF32D3B3-9B53-DF9F-E980-C640773AADB1}"/>
              </a:ext>
            </a:extLst>
          </p:cNvPr>
          <p:cNvSpPr>
            <a:spLocks noGrp="1"/>
          </p:cNvSpPr>
          <p:nvPr>
            <p:ph type="body" sz="quarter" idx="52"/>
          </p:nvPr>
        </p:nvSpPr>
        <p:spPr/>
        <p:txBody>
          <a:bodyPr/>
          <a:lstStyle/>
          <a:p>
            <a:endParaRPr lang="en-CH"/>
          </a:p>
        </p:txBody>
      </p:sp>
      <p:sp>
        <p:nvSpPr>
          <p:cNvPr id="34" name="Text Placeholder 33">
            <a:extLst>
              <a:ext uri="{FF2B5EF4-FFF2-40B4-BE49-F238E27FC236}">
                <a16:creationId xmlns:a16="http://schemas.microsoft.com/office/drawing/2014/main" id="{449C82F9-DBE5-8FEA-BC35-027AFA7CA4C5}"/>
              </a:ext>
            </a:extLst>
          </p:cNvPr>
          <p:cNvSpPr>
            <a:spLocks noGrp="1"/>
          </p:cNvSpPr>
          <p:nvPr>
            <p:ph type="body" sz="quarter" idx="53"/>
          </p:nvPr>
        </p:nvSpPr>
        <p:spPr/>
        <p:txBody>
          <a:bodyPr/>
          <a:lstStyle/>
          <a:p>
            <a:endParaRPr lang="en-CH"/>
          </a:p>
        </p:txBody>
      </p:sp>
      <p:sp>
        <p:nvSpPr>
          <p:cNvPr id="35" name="Text Placeholder 34">
            <a:extLst>
              <a:ext uri="{FF2B5EF4-FFF2-40B4-BE49-F238E27FC236}">
                <a16:creationId xmlns:a16="http://schemas.microsoft.com/office/drawing/2014/main" id="{6C3F387D-5DAB-F896-E74C-5924C60DC173}"/>
              </a:ext>
            </a:extLst>
          </p:cNvPr>
          <p:cNvSpPr>
            <a:spLocks noGrp="1"/>
          </p:cNvSpPr>
          <p:nvPr>
            <p:ph type="body" sz="quarter" idx="54"/>
          </p:nvPr>
        </p:nvSpPr>
        <p:spPr/>
        <p:txBody>
          <a:bodyPr/>
          <a:lstStyle/>
          <a:p>
            <a:endParaRPr lang="en-CH"/>
          </a:p>
        </p:txBody>
      </p:sp>
      <p:sp>
        <p:nvSpPr>
          <p:cNvPr id="36" name="Footer Placeholder 35">
            <a:extLst>
              <a:ext uri="{FF2B5EF4-FFF2-40B4-BE49-F238E27FC236}">
                <a16:creationId xmlns:a16="http://schemas.microsoft.com/office/drawing/2014/main" id="{A39E7756-20A4-027F-2273-A6B17B3DEA54}"/>
              </a:ext>
            </a:extLst>
          </p:cNvPr>
          <p:cNvSpPr>
            <a:spLocks noGrp="1"/>
          </p:cNvSpPr>
          <p:nvPr>
            <p:ph type="ftr" sz="quarter" idx="56"/>
          </p:nvPr>
        </p:nvSpPr>
        <p:spPr/>
        <p:txBody>
          <a:bodyPr/>
          <a:lstStyle/>
          <a:p>
            <a:pPr algn="r" defTabSz="228600">
              <a:spcAft>
                <a:spcPts val="1200"/>
              </a:spcAft>
              <a:defRPr/>
            </a:pPr>
            <a:r>
              <a:rPr lang="en-GB"/>
              <a:t>Copyright © 2024 Accenture. All rights reserved.</a:t>
            </a:r>
            <a:endParaRPr lang="en-GB" dirty="0"/>
          </a:p>
        </p:txBody>
      </p:sp>
      <p:sp>
        <p:nvSpPr>
          <p:cNvPr id="37" name="Slide Number Placeholder 36">
            <a:extLst>
              <a:ext uri="{FF2B5EF4-FFF2-40B4-BE49-F238E27FC236}">
                <a16:creationId xmlns:a16="http://schemas.microsoft.com/office/drawing/2014/main" id="{2C56FF7C-113F-961D-8C45-E570A83E6D6D}"/>
              </a:ext>
            </a:extLst>
          </p:cNvPr>
          <p:cNvSpPr>
            <a:spLocks noGrp="1"/>
          </p:cNvSpPr>
          <p:nvPr>
            <p:ph type="sldNum" sz="quarter" idx="57"/>
          </p:nvPr>
        </p:nvSpPr>
        <p:spPr/>
        <p:txBody>
          <a:bodyPr/>
          <a:lstStyle/>
          <a:p>
            <a:fld id="{1F90F471-3972-4120-B8B3-0237DE626C35}" type="slidenum">
              <a:rPr lang="en-US" smtClean="0"/>
              <a:pPr/>
              <a:t>6</a:t>
            </a:fld>
            <a:endParaRPr lang="en-US" dirty="0"/>
          </a:p>
        </p:txBody>
      </p:sp>
    </p:spTree>
    <p:extLst>
      <p:ext uri="{BB962C8B-B14F-4D97-AF65-F5344CB8AC3E}">
        <p14:creationId xmlns:p14="http://schemas.microsoft.com/office/powerpoint/2010/main" val="34474506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a:extLst>
              <a:ext uri="{FF2B5EF4-FFF2-40B4-BE49-F238E27FC236}">
                <a16:creationId xmlns:a16="http://schemas.microsoft.com/office/drawing/2014/main" id="{81C32163-2FCE-1D0A-32E6-87C45FE8B73F}"/>
              </a:ext>
            </a:extLst>
          </p:cNvPr>
          <p:cNvSpPr>
            <a:spLocks noGrp="1"/>
          </p:cNvSpPr>
          <p:nvPr>
            <p:ph type="title"/>
          </p:nvPr>
        </p:nvSpPr>
        <p:spPr/>
        <p:txBody>
          <a:bodyPr/>
          <a:lstStyle/>
          <a:p>
            <a:r>
              <a:rPr lang="en-GB" dirty="0"/>
              <a:t>Understanding Cloud Guard</a:t>
            </a:r>
            <a:endParaRPr lang="en-CH" dirty="0"/>
          </a:p>
        </p:txBody>
      </p:sp>
      <p:sp>
        <p:nvSpPr>
          <p:cNvPr id="39" name="Text Placeholder 38">
            <a:extLst>
              <a:ext uri="{FF2B5EF4-FFF2-40B4-BE49-F238E27FC236}">
                <a16:creationId xmlns:a16="http://schemas.microsoft.com/office/drawing/2014/main" id="{A6E29AF1-44F3-982F-705B-C75E1D360B58}"/>
              </a:ext>
            </a:extLst>
          </p:cNvPr>
          <p:cNvSpPr>
            <a:spLocks noGrp="1"/>
          </p:cNvSpPr>
          <p:nvPr>
            <p:ph type="body" idx="10"/>
          </p:nvPr>
        </p:nvSpPr>
        <p:spPr/>
        <p:txBody>
          <a:bodyPr/>
          <a:lstStyle/>
          <a:p>
            <a:r>
              <a:rPr lang="en-CH" dirty="0"/>
              <a:t>1</a:t>
            </a:r>
          </a:p>
        </p:txBody>
      </p:sp>
      <p:sp>
        <p:nvSpPr>
          <p:cNvPr id="40" name="Text Placeholder 39">
            <a:extLst>
              <a:ext uri="{FF2B5EF4-FFF2-40B4-BE49-F238E27FC236}">
                <a16:creationId xmlns:a16="http://schemas.microsoft.com/office/drawing/2014/main" id="{F812FB05-C283-CDA9-B557-B5415BD2668A}"/>
              </a:ext>
            </a:extLst>
          </p:cNvPr>
          <p:cNvSpPr>
            <a:spLocks noGrp="1"/>
          </p:cNvSpPr>
          <p:nvPr>
            <p:ph type="body" sz="quarter" idx="15"/>
          </p:nvPr>
        </p:nvSpPr>
        <p:spPr/>
        <p:txBody>
          <a:bodyPr/>
          <a:lstStyle/>
          <a:p>
            <a:r>
              <a:rPr lang="en-GB" dirty="0"/>
              <a:t>What about the Database Security?</a:t>
            </a:r>
            <a:endParaRPr lang="en-CH" dirty="0"/>
          </a:p>
        </p:txBody>
      </p:sp>
      <p:sp>
        <p:nvSpPr>
          <p:cNvPr id="36" name="Footer Placeholder 35">
            <a:extLst>
              <a:ext uri="{FF2B5EF4-FFF2-40B4-BE49-F238E27FC236}">
                <a16:creationId xmlns:a16="http://schemas.microsoft.com/office/drawing/2014/main" id="{D14BE949-61B3-1CD1-A107-50B467A7CC86}"/>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37" name="Slide Number Placeholder 36">
            <a:extLst>
              <a:ext uri="{FF2B5EF4-FFF2-40B4-BE49-F238E27FC236}">
                <a16:creationId xmlns:a16="http://schemas.microsoft.com/office/drawing/2014/main" id="{77419519-CF95-EE0E-2030-F4F25194BCB4}"/>
              </a:ext>
            </a:extLst>
          </p:cNvPr>
          <p:cNvSpPr>
            <a:spLocks noGrp="1"/>
          </p:cNvSpPr>
          <p:nvPr>
            <p:ph type="sldNum" sz="quarter" idx="17"/>
          </p:nvPr>
        </p:nvSpPr>
        <p:spPr/>
        <p:txBody>
          <a:bodyPr/>
          <a:lstStyle/>
          <a:p>
            <a:fld id="{1F90F471-3972-4120-B8B3-0237DE626C35}" type="slidenum">
              <a:rPr lang="en-US" smtClean="0"/>
              <a:pPr/>
              <a:t>7</a:t>
            </a:fld>
            <a:endParaRPr lang="en-US" dirty="0"/>
          </a:p>
        </p:txBody>
      </p:sp>
    </p:spTree>
    <p:extLst>
      <p:ext uri="{BB962C8B-B14F-4D97-AF65-F5344CB8AC3E}">
        <p14:creationId xmlns:p14="http://schemas.microsoft.com/office/powerpoint/2010/main" val="8094139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228EDD00-3E6E-3EA2-D837-FDBAAE1198D6}"/>
              </a:ext>
            </a:extLst>
          </p:cNvPr>
          <p:cNvSpPr>
            <a:spLocks noGrp="1"/>
          </p:cNvSpPr>
          <p:nvPr>
            <p:ph type="title"/>
          </p:nvPr>
        </p:nvSpPr>
        <p:spPr/>
        <p:txBody>
          <a:bodyPr/>
          <a:lstStyle/>
          <a:p>
            <a:r>
              <a:rPr lang="en-US" b="1" i="0" dirty="0">
                <a:solidFill>
                  <a:srgbClr val="242424"/>
                </a:solidFill>
                <a:effectLst/>
              </a:rPr>
              <a:t>What is Cloud Guard?</a:t>
            </a:r>
            <a:endParaRPr lang="de-CH" dirty="0"/>
          </a:p>
        </p:txBody>
      </p:sp>
      <p:sp>
        <p:nvSpPr>
          <p:cNvPr id="5" name="Fußzeilenplatzhalter 4">
            <a:extLst>
              <a:ext uri="{FF2B5EF4-FFF2-40B4-BE49-F238E27FC236}">
                <a16:creationId xmlns:a16="http://schemas.microsoft.com/office/drawing/2014/main" id="{63E2152E-730F-388F-D25C-697905EA1371}"/>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6" name="Foliennummernplatzhalter 5">
            <a:extLst>
              <a:ext uri="{FF2B5EF4-FFF2-40B4-BE49-F238E27FC236}">
                <a16:creationId xmlns:a16="http://schemas.microsoft.com/office/drawing/2014/main" id="{CA5B469F-CB72-B684-4F00-4C4317D8E28E}"/>
              </a:ext>
            </a:extLst>
          </p:cNvPr>
          <p:cNvSpPr>
            <a:spLocks noGrp="1"/>
          </p:cNvSpPr>
          <p:nvPr>
            <p:ph type="sldNum" sz="quarter" idx="11"/>
          </p:nvPr>
        </p:nvSpPr>
        <p:spPr/>
        <p:txBody>
          <a:bodyPr/>
          <a:lstStyle/>
          <a:p>
            <a:fld id="{1F90F471-3972-4120-B8B3-0237DE626C35}" type="slidenum">
              <a:rPr lang="en-US" smtClean="0"/>
              <a:pPr/>
              <a:t>8</a:t>
            </a:fld>
            <a:endParaRPr lang="en-US" dirty="0"/>
          </a:p>
        </p:txBody>
      </p:sp>
      <p:sp>
        <p:nvSpPr>
          <p:cNvPr id="4" name="Textfeld 3">
            <a:extLst>
              <a:ext uri="{FF2B5EF4-FFF2-40B4-BE49-F238E27FC236}">
                <a16:creationId xmlns:a16="http://schemas.microsoft.com/office/drawing/2014/main" id="{5FF72B66-11E1-1C10-71D3-868ABA8FE6EC}"/>
              </a:ext>
            </a:extLst>
          </p:cNvPr>
          <p:cNvSpPr txBox="1"/>
          <p:nvPr/>
        </p:nvSpPr>
        <p:spPr>
          <a:xfrm>
            <a:off x="381000" y="1483866"/>
            <a:ext cx="11049000" cy="914400"/>
          </a:xfrm>
          <a:prstGeom prst="rect">
            <a:avLst/>
          </a:prstGeom>
          <a:noFill/>
        </p:spPr>
        <p:txBody>
          <a:bodyPr wrap="square" lIns="0" tIns="0" rIns="0" bIns="0" rtlCol="0">
            <a:noAutofit/>
          </a:bodyPr>
          <a:lstStyle/>
          <a:p>
            <a:pPr algn="just" defTabSz="228600">
              <a:spcAft>
                <a:spcPts val="1200"/>
              </a:spcAft>
            </a:pPr>
            <a:r>
              <a:rPr lang="en-US" noProof="0" dirty="0"/>
              <a:t>Oracle Cloud Guard is a cloud-native service designed to help customers monitor, identify, and maintain a strong security posture on Oracle Cloud Infrastructure. It continuously examines OCI resources for security weaknesses related to configuration and user activities</a:t>
            </a:r>
            <a:endParaRPr lang="de-CH" noProof="0" dirty="0"/>
          </a:p>
        </p:txBody>
      </p:sp>
      <p:grpSp>
        <p:nvGrpSpPr>
          <p:cNvPr id="14" name="Gruppieren 13">
            <a:extLst>
              <a:ext uri="{FF2B5EF4-FFF2-40B4-BE49-F238E27FC236}">
                <a16:creationId xmlns:a16="http://schemas.microsoft.com/office/drawing/2014/main" id="{2D6BA81B-23A3-CAD1-E851-0DC734000D1B}"/>
              </a:ext>
            </a:extLst>
          </p:cNvPr>
          <p:cNvGrpSpPr/>
          <p:nvPr/>
        </p:nvGrpSpPr>
        <p:grpSpPr>
          <a:xfrm>
            <a:off x="380999" y="2652267"/>
            <a:ext cx="3600000" cy="1585464"/>
            <a:chOff x="380999" y="2652267"/>
            <a:chExt cx="3600000" cy="1585464"/>
          </a:xfrm>
        </p:grpSpPr>
        <p:cxnSp>
          <p:nvCxnSpPr>
            <p:cNvPr id="8" name="Gerader Verbinder 7">
              <a:extLst>
                <a:ext uri="{FF2B5EF4-FFF2-40B4-BE49-F238E27FC236}">
                  <a16:creationId xmlns:a16="http://schemas.microsoft.com/office/drawing/2014/main" id="{3AD41933-5F7A-8683-094F-752D897B45AF}"/>
                </a:ext>
              </a:extLst>
            </p:cNvPr>
            <p:cNvCxnSpPr>
              <a:cxnSpLocks/>
            </p:cNvCxnSpPr>
            <p:nvPr/>
          </p:nvCxnSpPr>
          <p:spPr>
            <a:xfrm>
              <a:off x="380999" y="2966720"/>
              <a:ext cx="36000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3985E747-572A-7EED-8B11-E12E85A29B5D}"/>
                </a:ext>
              </a:extLst>
            </p:cNvPr>
            <p:cNvSpPr txBox="1"/>
            <p:nvPr/>
          </p:nvSpPr>
          <p:spPr>
            <a:xfrm>
              <a:off x="380999" y="2652267"/>
              <a:ext cx="3600000" cy="304799"/>
            </a:xfrm>
            <a:prstGeom prst="rect">
              <a:avLst/>
            </a:prstGeom>
            <a:noFill/>
          </p:spPr>
          <p:txBody>
            <a:bodyPr wrap="none" lIns="0" tIns="0" rIns="0" bIns="0" rtlCol="0">
              <a:noAutofit/>
            </a:bodyPr>
            <a:lstStyle/>
            <a:p>
              <a:pPr algn="l" defTabSz="228600">
                <a:spcAft>
                  <a:spcPts val="1200"/>
                </a:spcAft>
              </a:pPr>
              <a:r>
                <a:rPr lang="de-CH" b="1" noProof="0" dirty="0"/>
                <a:t>Real-Time </a:t>
              </a:r>
              <a:r>
                <a:rPr lang="de-CH" b="1" noProof="0" dirty="0" err="1"/>
                <a:t>Threat</a:t>
              </a:r>
              <a:r>
                <a:rPr lang="de-CH" b="1" noProof="0" dirty="0"/>
                <a:t> </a:t>
              </a:r>
              <a:r>
                <a:rPr lang="de-CH" b="1" noProof="0" dirty="0" err="1"/>
                <a:t>Detection</a:t>
              </a:r>
              <a:endParaRPr lang="de-CH" b="1" noProof="0" dirty="0"/>
            </a:p>
          </p:txBody>
        </p:sp>
        <p:sp>
          <p:nvSpPr>
            <p:cNvPr id="13" name="Textfeld 12">
              <a:extLst>
                <a:ext uri="{FF2B5EF4-FFF2-40B4-BE49-F238E27FC236}">
                  <a16:creationId xmlns:a16="http://schemas.microsoft.com/office/drawing/2014/main" id="{D39B0CA9-2295-7E81-2B01-77143C3FCB77}"/>
                </a:ext>
              </a:extLst>
            </p:cNvPr>
            <p:cNvSpPr txBox="1"/>
            <p:nvPr/>
          </p:nvSpPr>
          <p:spPr>
            <a:xfrm>
              <a:off x="380999" y="3058667"/>
              <a:ext cx="3600000" cy="1179064"/>
            </a:xfrm>
            <a:prstGeom prst="rect">
              <a:avLst/>
            </a:prstGeom>
            <a:noFill/>
          </p:spPr>
          <p:txBody>
            <a:bodyPr wrap="square" lIns="0" tIns="0" rIns="0" bIns="0" rtlCol="0">
              <a:noAutofit/>
            </a:bodyPr>
            <a:lstStyle/>
            <a:p>
              <a:pPr algn="just" defTabSz="228600">
                <a:spcAft>
                  <a:spcPts val="1200"/>
                </a:spcAft>
              </a:pPr>
              <a:r>
                <a:rPr lang="en-US" sz="1200" noProof="0" dirty="0">
                  <a:solidFill>
                    <a:schemeClr val="bg1">
                      <a:lumMod val="50000"/>
                    </a:schemeClr>
                  </a:solidFill>
                </a:rPr>
                <a:t>Cloud Guard provides real-time monitoring and threat detection by continuously scanning OCI resources for misconfigurations, vulnerabilities, and anomalous activities. This ensures that potential security issues are identified and addressed promptly</a:t>
              </a:r>
              <a:endParaRPr lang="de-CH" sz="1200" noProof="0" dirty="0">
                <a:solidFill>
                  <a:schemeClr val="bg1">
                    <a:lumMod val="50000"/>
                  </a:schemeClr>
                </a:solidFill>
              </a:endParaRPr>
            </a:p>
          </p:txBody>
        </p:sp>
      </p:grpSp>
      <p:grpSp>
        <p:nvGrpSpPr>
          <p:cNvPr id="15" name="Gruppieren 14">
            <a:extLst>
              <a:ext uri="{FF2B5EF4-FFF2-40B4-BE49-F238E27FC236}">
                <a16:creationId xmlns:a16="http://schemas.microsoft.com/office/drawing/2014/main" id="{80C48316-6FF4-B390-840E-00875E5E6E37}"/>
              </a:ext>
            </a:extLst>
          </p:cNvPr>
          <p:cNvGrpSpPr/>
          <p:nvPr/>
        </p:nvGrpSpPr>
        <p:grpSpPr>
          <a:xfrm>
            <a:off x="4296000" y="2642615"/>
            <a:ext cx="3600000" cy="1585464"/>
            <a:chOff x="380999" y="2652267"/>
            <a:chExt cx="3600000" cy="1585464"/>
          </a:xfrm>
        </p:grpSpPr>
        <p:cxnSp>
          <p:nvCxnSpPr>
            <p:cNvPr id="16" name="Gerader Verbinder 15">
              <a:extLst>
                <a:ext uri="{FF2B5EF4-FFF2-40B4-BE49-F238E27FC236}">
                  <a16:creationId xmlns:a16="http://schemas.microsoft.com/office/drawing/2014/main" id="{CA427CEF-86CD-DD95-82A0-872771019EE9}"/>
                </a:ext>
              </a:extLst>
            </p:cNvPr>
            <p:cNvCxnSpPr>
              <a:cxnSpLocks/>
            </p:cNvCxnSpPr>
            <p:nvPr/>
          </p:nvCxnSpPr>
          <p:spPr>
            <a:xfrm>
              <a:off x="380999" y="2966720"/>
              <a:ext cx="36000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extfeld 16">
              <a:extLst>
                <a:ext uri="{FF2B5EF4-FFF2-40B4-BE49-F238E27FC236}">
                  <a16:creationId xmlns:a16="http://schemas.microsoft.com/office/drawing/2014/main" id="{EBF56F96-83B9-CCEF-BAB0-E4D9A5D6BA4F}"/>
                </a:ext>
              </a:extLst>
            </p:cNvPr>
            <p:cNvSpPr txBox="1"/>
            <p:nvPr/>
          </p:nvSpPr>
          <p:spPr>
            <a:xfrm>
              <a:off x="380999" y="2652267"/>
              <a:ext cx="3600000" cy="304799"/>
            </a:xfrm>
            <a:prstGeom prst="rect">
              <a:avLst/>
            </a:prstGeom>
            <a:noFill/>
          </p:spPr>
          <p:txBody>
            <a:bodyPr wrap="none" lIns="0" tIns="0" rIns="0" bIns="0" rtlCol="0">
              <a:noAutofit/>
            </a:bodyPr>
            <a:lstStyle/>
            <a:p>
              <a:pPr algn="l" defTabSz="228600">
                <a:spcAft>
                  <a:spcPts val="1200"/>
                </a:spcAft>
              </a:pPr>
              <a:r>
                <a:rPr lang="en-US" b="1" i="0" dirty="0">
                  <a:solidFill>
                    <a:srgbClr val="242424"/>
                  </a:solidFill>
                  <a:effectLst/>
                </a:rPr>
                <a:t>Automated Risk Assessment</a:t>
              </a:r>
              <a:endParaRPr lang="de-CH" b="1" noProof="0" dirty="0"/>
            </a:p>
          </p:txBody>
        </p:sp>
        <p:sp>
          <p:nvSpPr>
            <p:cNvPr id="18" name="Textfeld 17">
              <a:extLst>
                <a:ext uri="{FF2B5EF4-FFF2-40B4-BE49-F238E27FC236}">
                  <a16:creationId xmlns:a16="http://schemas.microsoft.com/office/drawing/2014/main" id="{82F921D6-6802-6086-709E-C2CB0A2AB3F4}"/>
                </a:ext>
              </a:extLst>
            </p:cNvPr>
            <p:cNvSpPr txBox="1"/>
            <p:nvPr/>
          </p:nvSpPr>
          <p:spPr>
            <a:xfrm>
              <a:off x="380999" y="3058667"/>
              <a:ext cx="3600000" cy="1179064"/>
            </a:xfrm>
            <a:prstGeom prst="rect">
              <a:avLst/>
            </a:prstGeom>
            <a:noFill/>
          </p:spPr>
          <p:txBody>
            <a:bodyPr wrap="square" lIns="0" tIns="0" rIns="0" bIns="0" rtlCol="0">
              <a:noAutofit/>
            </a:bodyPr>
            <a:lstStyle/>
            <a:p>
              <a:pPr algn="just" defTabSz="228600">
                <a:spcAft>
                  <a:spcPts val="1200"/>
                </a:spcAft>
              </a:pPr>
              <a:r>
                <a:rPr lang="en-US" sz="1200" noProof="0" dirty="0">
                  <a:solidFill>
                    <a:schemeClr val="bg1">
                      <a:lumMod val="50000"/>
                    </a:schemeClr>
                  </a:solidFill>
                </a:rPr>
                <a:t>Cloud Guard automatically assesses security risks based on predefined security policies and industry standards, such as the CIS Benchmark. It offers actionable recommendations for addressing detected risks, allowing for quick remediation and enhancing overall security</a:t>
              </a:r>
              <a:endParaRPr lang="de-CH" sz="1200" noProof="0" dirty="0">
                <a:solidFill>
                  <a:schemeClr val="bg1">
                    <a:lumMod val="50000"/>
                  </a:schemeClr>
                </a:solidFill>
              </a:endParaRPr>
            </a:p>
          </p:txBody>
        </p:sp>
      </p:grpSp>
      <p:grpSp>
        <p:nvGrpSpPr>
          <p:cNvPr id="19" name="Gruppieren 18">
            <a:extLst>
              <a:ext uri="{FF2B5EF4-FFF2-40B4-BE49-F238E27FC236}">
                <a16:creationId xmlns:a16="http://schemas.microsoft.com/office/drawing/2014/main" id="{1355EAE4-852B-9365-F9E1-BAAAA8D8D8C2}"/>
              </a:ext>
            </a:extLst>
          </p:cNvPr>
          <p:cNvGrpSpPr/>
          <p:nvPr/>
        </p:nvGrpSpPr>
        <p:grpSpPr>
          <a:xfrm>
            <a:off x="8148319" y="2642615"/>
            <a:ext cx="3600000" cy="1585464"/>
            <a:chOff x="380999" y="2652267"/>
            <a:chExt cx="3600000" cy="1585464"/>
          </a:xfrm>
        </p:grpSpPr>
        <p:cxnSp>
          <p:nvCxnSpPr>
            <p:cNvPr id="20" name="Gerader Verbinder 19">
              <a:extLst>
                <a:ext uri="{FF2B5EF4-FFF2-40B4-BE49-F238E27FC236}">
                  <a16:creationId xmlns:a16="http://schemas.microsoft.com/office/drawing/2014/main" id="{D48F2344-E412-3BA9-8F53-82129F81F50E}"/>
                </a:ext>
              </a:extLst>
            </p:cNvPr>
            <p:cNvCxnSpPr>
              <a:cxnSpLocks/>
            </p:cNvCxnSpPr>
            <p:nvPr/>
          </p:nvCxnSpPr>
          <p:spPr>
            <a:xfrm>
              <a:off x="380999" y="2966720"/>
              <a:ext cx="36000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0D74F8F2-06FD-7F0A-633D-9387B42AA604}"/>
                </a:ext>
              </a:extLst>
            </p:cNvPr>
            <p:cNvSpPr txBox="1"/>
            <p:nvPr/>
          </p:nvSpPr>
          <p:spPr>
            <a:xfrm>
              <a:off x="380999" y="2652267"/>
              <a:ext cx="3600000" cy="304799"/>
            </a:xfrm>
            <a:prstGeom prst="rect">
              <a:avLst/>
            </a:prstGeom>
            <a:noFill/>
          </p:spPr>
          <p:txBody>
            <a:bodyPr wrap="none" lIns="0" tIns="0" rIns="0" bIns="0" rtlCol="0">
              <a:noAutofit/>
            </a:bodyPr>
            <a:lstStyle/>
            <a:p>
              <a:pPr algn="l" defTabSz="228600">
                <a:spcAft>
                  <a:spcPts val="1200"/>
                </a:spcAft>
              </a:pPr>
              <a:r>
                <a:rPr lang="de-CH" b="1" noProof="0" dirty="0" err="1"/>
                <a:t>Customizable</a:t>
              </a:r>
              <a:r>
                <a:rPr lang="de-CH" b="1" noProof="0" dirty="0"/>
                <a:t> Security </a:t>
              </a:r>
              <a:r>
                <a:rPr lang="de-CH" b="1" noProof="0" dirty="0" err="1"/>
                <a:t>Policies</a:t>
              </a:r>
              <a:endParaRPr lang="de-CH" b="1" noProof="0" dirty="0"/>
            </a:p>
          </p:txBody>
        </p:sp>
        <p:sp>
          <p:nvSpPr>
            <p:cNvPr id="22" name="Textfeld 21">
              <a:extLst>
                <a:ext uri="{FF2B5EF4-FFF2-40B4-BE49-F238E27FC236}">
                  <a16:creationId xmlns:a16="http://schemas.microsoft.com/office/drawing/2014/main" id="{E5AB7CEC-D3E2-6215-ED1B-F1C4F80077B1}"/>
                </a:ext>
              </a:extLst>
            </p:cNvPr>
            <p:cNvSpPr txBox="1"/>
            <p:nvPr/>
          </p:nvSpPr>
          <p:spPr>
            <a:xfrm>
              <a:off x="380999" y="3058667"/>
              <a:ext cx="3600000" cy="1179064"/>
            </a:xfrm>
            <a:prstGeom prst="rect">
              <a:avLst/>
            </a:prstGeom>
            <a:noFill/>
          </p:spPr>
          <p:txBody>
            <a:bodyPr wrap="square" lIns="0" tIns="0" rIns="0" bIns="0" rtlCol="0">
              <a:noAutofit/>
            </a:bodyPr>
            <a:lstStyle/>
            <a:p>
              <a:pPr algn="just" defTabSz="228600">
                <a:spcAft>
                  <a:spcPts val="1200"/>
                </a:spcAft>
              </a:pPr>
              <a:r>
                <a:rPr lang="en-US" sz="1200" noProof="0" dirty="0">
                  <a:solidFill>
                    <a:schemeClr val="bg1">
                      <a:lumMod val="50000"/>
                    </a:schemeClr>
                  </a:solidFill>
                </a:rPr>
                <a:t>Users can configure custom policies and rules to align monitoring with their specific security requirements. Cloud Guard integrates seamlessly with other OCI tools, providing a comprehensive and flexible security solution.</a:t>
              </a:r>
              <a:endParaRPr lang="de-CH" sz="1200" noProof="0" dirty="0">
                <a:solidFill>
                  <a:schemeClr val="bg1">
                    <a:lumMod val="50000"/>
                  </a:schemeClr>
                </a:solidFill>
              </a:endParaRPr>
            </a:p>
          </p:txBody>
        </p:sp>
      </p:grpSp>
      <p:pic>
        <p:nvPicPr>
          <p:cNvPr id="24" name="Grafik 23">
            <a:extLst>
              <a:ext uri="{FF2B5EF4-FFF2-40B4-BE49-F238E27FC236}">
                <a16:creationId xmlns:a16="http://schemas.microsoft.com/office/drawing/2014/main" id="{F66B8F6C-35E4-CEDE-320C-6AE439CEF1BF}"/>
              </a:ext>
            </a:extLst>
          </p:cNvPr>
          <p:cNvPicPr>
            <a:picLocks noChangeAspect="1"/>
          </p:cNvPicPr>
          <p:nvPr/>
        </p:nvPicPr>
        <p:blipFill>
          <a:blip r:embed="rId2"/>
          <a:stretch>
            <a:fillRect/>
          </a:stretch>
        </p:blipFill>
        <p:spPr>
          <a:xfrm>
            <a:off x="930207" y="4401875"/>
            <a:ext cx="10331586" cy="1912562"/>
          </a:xfrm>
          <a:prstGeom prst="rect">
            <a:avLst/>
          </a:prstGeom>
          <a:ln>
            <a:solidFill>
              <a:schemeClr val="bg1">
                <a:lumMod val="50000"/>
              </a:schemeClr>
            </a:solidFill>
          </a:ln>
        </p:spPr>
      </p:pic>
    </p:spTree>
    <p:extLst>
      <p:ext uri="{BB962C8B-B14F-4D97-AF65-F5344CB8AC3E}">
        <p14:creationId xmlns:p14="http://schemas.microsoft.com/office/powerpoint/2010/main" val="34415887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6E8C83-5604-6800-8503-08C9674A39D3}"/>
              </a:ext>
            </a:extLst>
          </p:cNvPr>
          <p:cNvSpPr>
            <a:spLocks noGrp="1"/>
          </p:cNvSpPr>
          <p:nvPr>
            <p:ph type="title"/>
          </p:nvPr>
        </p:nvSpPr>
        <p:spPr/>
        <p:txBody>
          <a:bodyPr/>
          <a:lstStyle/>
          <a:p>
            <a:r>
              <a:rPr lang="en-US" b="1" i="0" dirty="0">
                <a:solidFill>
                  <a:srgbClr val="242424"/>
                </a:solidFill>
                <a:effectLst/>
              </a:rPr>
              <a:t>Key Components of Cloud Guard</a:t>
            </a:r>
            <a:endParaRPr lang="de-CH" dirty="0"/>
          </a:p>
        </p:txBody>
      </p:sp>
      <p:sp>
        <p:nvSpPr>
          <p:cNvPr id="3" name="Inhaltsplatzhalter 2">
            <a:extLst>
              <a:ext uri="{FF2B5EF4-FFF2-40B4-BE49-F238E27FC236}">
                <a16:creationId xmlns:a16="http://schemas.microsoft.com/office/drawing/2014/main" id="{998C4BBF-A242-24EA-B3CA-4B13BF528F10}"/>
              </a:ext>
            </a:extLst>
          </p:cNvPr>
          <p:cNvSpPr>
            <a:spLocks noGrp="1"/>
          </p:cNvSpPr>
          <p:nvPr>
            <p:ph sz="quarter" idx="10"/>
          </p:nvPr>
        </p:nvSpPr>
        <p:spPr>
          <a:xfrm>
            <a:off x="1657213" y="1685863"/>
            <a:ext cx="6963548" cy="380390"/>
          </a:xfrm>
        </p:spPr>
        <p:txBody>
          <a:bodyPr/>
          <a:lstStyle/>
          <a:p>
            <a:pPr marL="0" indent="0">
              <a:buNone/>
            </a:pPr>
            <a:r>
              <a:rPr lang="en-US" sz="2400" b="1" i="0" dirty="0">
                <a:solidFill>
                  <a:srgbClr val="242424"/>
                </a:solidFill>
                <a:effectLst/>
                <a:latin typeface="Segoe UI" panose="020B0502040204020203" pitchFamily="34" charset="0"/>
              </a:rPr>
              <a:t>Targets</a:t>
            </a:r>
            <a:endParaRPr lang="de-CH" sz="2400" dirty="0"/>
          </a:p>
        </p:txBody>
      </p:sp>
      <p:sp>
        <p:nvSpPr>
          <p:cNvPr id="4" name="Fußzeilenplatzhalter 3">
            <a:extLst>
              <a:ext uri="{FF2B5EF4-FFF2-40B4-BE49-F238E27FC236}">
                <a16:creationId xmlns:a16="http://schemas.microsoft.com/office/drawing/2014/main" id="{2D039DF2-BF9E-9282-B390-A81448E0838A}"/>
              </a:ext>
            </a:extLst>
          </p:cNvPr>
          <p:cNvSpPr>
            <a:spLocks noGrp="1"/>
          </p:cNvSpPr>
          <p:nvPr>
            <p:ph type="ftr" sz="quarter" idx="3"/>
          </p:nvPr>
        </p:nvSpPr>
        <p:spPr/>
        <p:txBody>
          <a:bodyPr/>
          <a:lstStyle/>
          <a:p>
            <a:pPr algn="r" defTabSz="228600">
              <a:spcAft>
                <a:spcPts val="1200"/>
              </a:spcAft>
              <a:defRPr/>
            </a:pPr>
            <a:r>
              <a:rPr lang="en-GB"/>
              <a:t>Copyright © 2024 Accenture. All rights reserved.</a:t>
            </a:r>
            <a:endParaRPr lang="en-GB" dirty="0"/>
          </a:p>
        </p:txBody>
      </p:sp>
      <p:sp>
        <p:nvSpPr>
          <p:cNvPr id="5" name="Foliennummernplatzhalter 4">
            <a:extLst>
              <a:ext uri="{FF2B5EF4-FFF2-40B4-BE49-F238E27FC236}">
                <a16:creationId xmlns:a16="http://schemas.microsoft.com/office/drawing/2014/main" id="{97343006-E830-249D-A108-601C1138EE1C}"/>
              </a:ext>
            </a:extLst>
          </p:cNvPr>
          <p:cNvSpPr>
            <a:spLocks noGrp="1"/>
          </p:cNvSpPr>
          <p:nvPr>
            <p:ph type="sldNum" sz="quarter" idx="11"/>
          </p:nvPr>
        </p:nvSpPr>
        <p:spPr/>
        <p:txBody>
          <a:bodyPr/>
          <a:lstStyle/>
          <a:p>
            <a:fld id="{1F90F471-3972-4120-B8B3-0237DE626C35}" type="slidenum">
              <a:rPr lang="en-US" smtClean="0"/>
              <a:pPr/>
              <a:t>9</a:t>
            </a:fld>
            <a:endParaRPr lang="en-US" dirty="0"/>
          </a:p>
        </p:txBody>
      </p:sp>
      <p:sp>
        <p:nvSpPr>
          <p:cNvPr id="10" name="Inhaltsplatzhalter 2">
            <a:extLst>
              <a:ext uri="{FF2B5EF4-FFF2-40B4-BE49-F238E27FC236}">
                <a16:creationId xmlns:a16="http://schemas.microsoft.com/office/drawing/2014/main" id="{1EF03200-DC3E-0AA8-9613-2D9FE5CDA0BD}"/>
              </a:ext>
            </a:extLst>
          </p:cNvPr>
          <p:cNvSpPr txBox="1">
            <a:spLocks/>
          </p:cNvSpPr>
          <p:nvPr/>
        </p:nvSpPr>
        <p:spPr>
          <a:xfrm>
            <a:off x="3505200" y="1685863"/>
            <a:ext cx="7924800" cy="990600"/>
          </a:xfrm>
          <a:prstGeom prst="rect">
            <a:avLst/>
          </a:prstGeom>
        </p:spPr>
        <p:txBody>
          <a:bodyPr vert="horz" lIns="0" tIns="0" rIns="0" bIns="0" rtlCol="0">
            <a:noAutofit/>
          </a:bodyPr>
          <a:lst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marL="0" indent="0">
              <a:buFont typeface="Graphik" panose="020B0604020202020204" pitchFamily="34" charset="0"/>
              <a:buNone/>
            </a:pPr>
            <a:r>
              <a:rPr lang="en-US" sz="1600" dirty="0">
                <a:solidFill>
                  <a:schemeClr val="bg1">
                    <a:lumMod val="50000"/>
                  </a:schemeClr>
                </a:solidFill>
                <a:latin typeface="Segoe UI" panose="020B0502040204020203" pitchFamily="34" charset="0"/>
              </a:rPr>
              <a:t>Targets define the scope of what Cloud Guard is to check. This scope is tied to the compartment where the target is defined and all the child compartments from that point until another target is encountered. Compute Instances, Object Storage etc.</a:t>
            </a:r>
            <a:endParaRPr lang="de-CH" sz="1600" dirty="0">
              <a:solidFill>
                <a:schemeClr val="bg1">
                  <a:lumMod val="50000"/>
                </a:schemeClr>
              </a:solidFill>
            </a:endParaRPr>
          </a:p>
        </p:txBody>
      </p:sp>
      <p:sp>
        <p:nvSpPr>
          <p:cNvPr id="11" name="Inhaltsplatzhalter 2">
            <a:extLst>
              <a:ext uri="{FF2B5EF4-FFF2-40B4-BE49-F238E27FC236}">
                <a16:creationId xmlns:a16="http://schemas.microsoft.com/office/drawing/2014/main" id="{993BCD26-6FFC-CE53-ABF0-FD2950D728D6}"/>
              </a:ext>
            </a:extLst>
          </p:cNvPr>
          <p:cNvSpPr txBox="1">
            <a:spLocks/>
          </p:cNvSpPr>
          <p:nvPr/>
        </p:nvSpPr>
        <p:spPr>
          <a:xfrm>
            <a:off x="1657213" y="2800531"/>
            <a:ext cx="6963548" cy="380390"/>
          </a:xfrm>
          <a:prstGeom prst="rect">
            <a:avLst/>
          </a:prstGeom>
        </p:spPr>
        <p:txBody>
          <a:bodyPr vert="horz" lIns="0" tIns="0" rIns="0" bIns="0" rtlCol="0">
            <a:noAutofit/>
          </a:bodyPr>
          <a:lst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marL="0" indent="0">
              <a:buFont typeface="Graphik" panose="020B0604020202020204" pitchFamily="34" charset="0"/>
              <a:buNone/>
            </a:pPr>
            <a:r>
              <a:rPr lang="en-US" sz="2400" b="1" dirty="0">
                <a:solidFill>
                  <a:srgbClr val="242424"/>
                </a:solidFill>
                <a:latin typeface="Segoe UI" panose="020B0502040204020203" pitchFamily="34" charset="0"/>
              </a:rPr>
              <a:t>Detectors</a:t>
            </a:r>
            <a:endParaRPr lang="de-CH" sz="2400" dirty="0"/>
          </a:p>
        </p:txBody>
      </p:sp>
      <p:sp>
        <p:nvSpPr>
          <p:cNvPr id="12" name="Inhaltsplatzhalter 2">
            <a:extLst>
              <a:ext uri="{FF2B5EF4-FFF2-40B4-BE49-F238E27FC236}">
                <a16:creationId xmlns:a16="http://schemas.microsoft.com/office/drawing/2014/main" id="{7020E321-0D70-BA20-2EFF-91806D5FD70E}"/>
              </a:ext>
            </a:extLst>
          </p:cNvPr>
          <p:cNvSpPr txBox="1">
            <a:spLocks/>
          </p:cNvSpPr>
          <p:nvPr/>
        </p:nvSpPr>
        <p:spPr>
          <a:xfrm>
            <a:off x="3505200" y="2800531"/>
            <a:ext cx="7924800" cy="990600"/>
          </a:xfrm>
          <a:prstGeom prst="rect">
            <a:avLst/>
          </a:prstGeom>
        </p:spPr>
        <p:txBody>
          <a:bodyPr vert="horz" lIns="0" tIns="0" rIns="0" bIns="0" rtlCol="0">
            <a:noAutofit/>
          </a:bodyPr>
          <a:lst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marL="0" indent="0">
              <a:buFont typeface="Graphik" panose="020B0604020202020204" pitchFamily="34" charset="0"/>
              <a:buNone/>
            </a:pPr>
            <a:r>
              <a:rPr lang="en-US" sz="1600" dirty="0">
                <a:solidFill>
                  <a:schemeClr val="bg1">
                    <a:lumMod val="50000"/>
                  </a:schemeClr>
                </a:solidFill>
                <a:latin typeface="Segoe UI" panose="020B0502040204020203" pitchFamily="34" charset="0"/>
              </a:rPr>
              <a:t>Detectors perform checks and identify potential security problems based on their type and configuration.</a:t>
            </a:r>
            <a:endParaRPr lang="de-CH" sz="1600" dirty="0">
              <a:solidFill>
                <a:schemeClr val="bg1">
                  <a:lumMod val="50000"/>
                </a:schemeClr>
              </a:solidFill>
            </a:endParaRPr>
          </a:p>
        </p:txBody>
      </p:sp>
      <p:sp>
        <p:nvSpPr>
          <p:cNvPr id="13" name="Inhaltsplatzhalter 2">
            <a:extLst>
              <a:ext uri="{FF2B5EF4-FFF2-40B4-BE49-F238E27FC236}">
                <a16:creationId xmlns:a16="http://schemas.microsoft.com/office/drawing/2014/main" id="{D5A90839-DBFA-D667-BD97-9C824FE5EE0A}"/>
              </a:ext>
            </a:extLst>
          </p:cNvPr>
          <p:cNvSpPr txBox="1">
            <a:spLocks/>
          </p:cNvSpPr>
          <p:nvPr/>
        </p:nvSpPr>
        <p:spPr>
          <a:xfrm>
            <a:off x="1657213" y="5197103"/>
            <a:ext cx="6963548" cy="380390"/>
          </a:xfrm>
          <a:prstGeom prst="rect">
            <a:avLst/>
          </a:prstGeom>
        </p:spPr>
        <p:txBody>
          <a:bodyPr vert="horz" lIns="0" tIns="0" rIns="0" bIns="0" rtlCol="0">
            <a:noAutofit/>
          </a:bodyPr>
          <a:lst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marL="0" indent="0">
              <a:buFont typeface="Graphik" panose="020B0604020202020204" pitchFamily="34" charset="0"/>
              <a:buNone/>
            </a:pPr>
            <a:r>
              <a:rPr lang="en-US" sz="2400" b="1" dirty="0">
                <a:solidFill>
                  <a:srgbClr val="242424"/>
                </a:solidFill>
                <a:latin typeface="Segoe UI" panose="020B0502040204020203" pitchFamily="34" charset="0"/>
              </a:rPr>
              <a:t>Detector</a:t>
            </a:r>
            <a:br>
              <a:rPr lang="en-US" sz="2400" b="1" dirty="0">
                <a:solidFill>
                  <a:srgbClr val="242424"/>
                </a:solidFill>
                <a:latin typeface="Segoe UI" panose="020B0502040204020203" pitchFamily="34" charset="0"/>
              </a:rPr>
            </a:br>
            <a:r>
              <a:rPr lang="en-US" sz="2400" b="1" dirty="0">
                <a:solidFill>
                  <a:srgbClr val="242424"/>
                </a:solidFill>
                <a:latin typeface="Segoe UI" panose="020B0502040204020203" pitchFamily="34" charset="0"/>
              </a:rPr>
              <a:t>Recipes</a:t>
            </a:r>
            <a:endParaRPr lang="de-CH" sz="2400" dirty="0"/>
          </a:p>
        </p:txBody>
      </p:sp>
      <p:sp>
        <p:nvSpPr>
          <p:cNvPr id="14" name="Inhaltsplatzhalter 2">
            <a:extLst>
              <a:ext uri="{FF2B5EF4-FFF2-40B4-BE49-F238E27FC236}">
                <a16:creationId xmlns:a16="http://schemas.microsoft.com/office/drawing/2014/main" id="{FA79502B-A129-2B4A-2A24-10D4CDFA577D}"/>
              </a:ext>
            </a:extLst>
          </p:cNvPr>
          <p:cNvSpPr txBox="1">
            <a:spLocks/>
          </p:cNvSpPr>
          <p:nvPr/>
        </p:nvSpPr>
        <p:spPr>
          <a:xfrm>
            <a:off x="3505198" y="3739722"/>
            <a:ext cx="7924799" cy="990600"/>
          </a:xfrm>
          <a:prstGeom prst="rect">
            <a:avLst/>
          </a:prstGeom>
        </p:spPr>
        <p:txBody>
          <a:bodyPr vert="horz" lIns="0" tIns="0" rIns="0" bIns="0" rtlCol="0">
            <a:noAutofit/>
          </a:bodyPr>
          <a:lst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marL="0" indent="0">
              <a:buFont typeface="Graphik" panose="020B0604020202020204" pitchFamily="34" charset="0"/>
              <a:buNone/>
            </a:pPr>
            <a:r>
              <a:rPr lang="en-US" sz="1600" dirty="0">
                <a:solidFill>
                  <a:schemeClr val="bg1">
                    <a:lumMod val="50000"/>
                  </a:schemeClr>
                </a:solidFill>
                <a:latin typeface="Segoe UI" panose="020B0502040204020203" pitchFamily="34" charset="0"/>
              </a:rPr>
              <a:t>These provide the baselines for examining the resources and activities in the target. Oracle-managed detector recipes allow setting only the scope of resources for which a rule triggers a problem, while user-managed detector recipes allow more customization.</a:t>
            </a:r>
            <a:endParaRPr lang="de-CH" sz="1600" dirty="0">
              <a:solidFill>
                <a:schemeClr val="bg1">
                  <a:lumMod val="50000"/>
                </a:schemeClr>
              </a:solidFill>
            </a:endParaRPr>
          </a:p>
        </p:txBody>
      </p:sp>
      <p:sp>
        <p:nvSpPr>
          <p:cNvPr id="15" name="Inhaltsplatzhalter 2">
            <a:extLst>
              <a:ext uri="{FF2B5EF4-FFF2-40B4-BE49-F238E27FC236}">
                <a16:creationId xmlns:a16="http://schemas.microsoft.com/office/drawing/2014/main" id="{17623DD9-A5C3-E003-0562-E799B3FDDDC8}"/>
              </a:ext>
            </a:extLst>
          </p:cNvPr>
          <p:cNvSpPr txBox="1">
            <a:spLocks/>
          </p:cNvSpPr>
          <p:nvPr/>
        </p:nvSpPr>
        <p:spPr>
          <a:xfrm>
            <a:off x="1657213" y="3739722"/>
            <a:ext cx="6963548" cy="380390"/>
          </a:xfrm>
          <a:prstGeom prst="rect">
            <a:avLst/>
          </a:prstGeom>
        </p:spPr>
        <p:txBody>
          <a:bodyPr vert="horz" lIns="0" tIns="0" rIns="0" bIns="0" rtlCol="0">
            <a:noAutofit/>
          </a:bodyPr>
          <a:lst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marL="0" indent="0">
              <a:buFont typeface="Graphik" panose="020B0604020202020204" pitchFamily="34" charset="0"/>
              <a:buNone/>
            </a:pPr>
            <a:r>
              <a:rPr lang="en-US" sz="2400" b="1" dirty="0">
                <a:solidFill>
                  <a:srgbClr val="242424"/>
                </a:solidFill>
                <a:latin typeface="Segoe UI" panose="020B0502040204020203" pitchFamily="34" charset="0"/>
              </a:rPr>
              <a:t>Responder</a:t>
            </a:r>
            <a:br>
              <a:rPr lang="en-US" sz="2400" b="1" dirty="0">
                <a:solidFill>
                  <a:srgbClr val="242424"/>
                </a:solidFill>
                <a:latin typeface="Segoe UI" panose="020B0502040204020203" pitchFamily="34" charset="0"/>
              </a:rPr>
            </a:br>
            <a:r>
              <a:rPr lang="en-US" sz="2400" b="1" dirty="0">
                <a:solidFill>
                  <a:srgbClr val="242424"/>
                </a:solidFill>
                <a:latin typeface="Segoe UI" panose="020B0502040204020203" pitchFamily="34" charset="0"/>
              </a:rPr>
              <a:t>Recipes</a:t>
            </a:r>
            <a:endParaRPr lang="de-CH" sz="2400" dirty="0"/>
          </a:p>
        </p:txBody>
      </p:sp>
      <p:sp>
        <p:nvSpPr>
          <p:cNvPr id="16" name="Inhaltsplatzhalter 2">
            <a:extLst>
              <a:ext uri="{FF2B5EF4-FFF2-40B4-BE49-F238E27FC236}">
                <a16:creationId xmlns:a16="http://schemas.microsoft.com/office/drawing/2014/main" id="{0C888513-5D3A-1CD5-DAEC-36263BF4DD53}"/>
              </a:ext>
            </a:extLst>
          </p:cNvPr>
          <p:cNvSpPr txBox="1">
            <a:spLocks/>
          </p:cNvSpPr>
          <p:nvPr/>
        </p:nvSpPr>
        <p:spPr>
          <a:xfrm>
            <a:off x="3505199" y="5197103"/>
            <a:ext cx="7924798" cy="990600"/>
          </a:xfrm>
          <a:prstGeom prst="rect">
            <a:avLst/>
          </a:prstGeom>
        </p:spPr>
        <p:txBody>
          <a:bodyPr vert="horz" lIns="0" tIns="0" rIns="0" bIns="0" rtlCol="0">
            <a:noAutofit/>
          </a:bodyPr>
          <a:lst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marL="0" indent="0">
              <a:buFont typeface="Graphik" panose="020B0604020202020204" pitchFamily="34" charset="0"/>
              <a:buNone/>
            </a:pPr>
            <a:r>
              <a:rPr lang="en-US" sz="1600" dirty="0">
                <a:solidFill>
                  <a:schemeClr val="bg1">
                    <a:lumMod val="50000"/>
                  </a:schemeClr>
                </a:solidFill>
                <a:latin typeface="Segoe UI" panose="020B0502040204020203" pitchFamily="34" charset="0"/>
              </a:rPr>
              <a:t>Responder recipes define the actions to be taken when a problem is detected. They can be configured to automatically remediate security issues or to notify administrators for manual intervention.</a:t>
            </a:r>
            <a:endParaRPr lang="de-CH" sz="1600" dirty="0">
              <a:solidFill>
                <a:schemeClr val="bg1">
                  <a:lumMod val="50000"/>
                </a:schemeClr>
              </a:solidFill>
            </a:endParaRPr>
          </a:p>
        </p:txBody>
      </p:sp>
      <p:pic>
        <p:nvPicPr>
          <p:cNvPr id="1026" name="Picture 2" descr="First Responder Solothurn | LinkedIn">
            <a:extLst>
              <a:ext uri="{FF2B5EF4-FFF2-40B4-BE49-F238E27FC236}">
                <a16:creationId xmlns:a16="http://schemas.microsoft.com/office/drawing/2014/main" id="{3F1A10B1-8C25-FF70-9C23-19BDA803D2B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7616" y="4998141"/>
            <a:ext cx="1131766" cy="113176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Tiptopf Kochbuch">
            <a:extLst>
              <a:ext uri="{FF2B5EF4-FFF2-40B4-BE49-F238E27FC236}">
                <a16:creationId xmlns:a16="http://schemas.microsoft.com/office/drawing/2014/main" id="{70677A46-E7EA-3318-8723-9526BEB595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7351" y="3686637"/>
            <a:ext cx="835987" cy="1131766"/>
          </a:xfrm>
          <a:prstGeom prst="rect">
            <a:avLst/>
          </a:prstGeom>
          <a:noFill/>
          <a:ln>
            <a:solidFill>
              <a:schemeClr val="bg1">
                <a:lumMod val="50000"/>
              </a:schemeClr>
            </a:solidFill>
          </a:ln>
          <a:extLst>
            <a:ext uri="{909E8E84-426E-40DD-AFC4-6F175D3DCCD1}">
              <a14:hiddenFill xmlns:a14="http://schemas.microsoft.com/office/drawing/2010/main">
                <a:solidFill>
                  <a:srgbClr val="FFFFFF"/>
                </a:solidFill>
              </a14:hiddenFill>
            </a:ext>
          </a:extLst>
        </p:spPr>
      </p:pic>
      <p:pic>
        <p:nvPicPr>
          <p:cNvPr id="1034" name="Picture 10" descr="Produktbild">
            <a:extLst>
              <a:ext uri="{FF2B5EF4-FFF2-40B4-BE49-F238E27FC236}">
                <a16:creationId xmlns:a16="http://schemas.microsoft.com/office/drawing/2014/main" id="{8A8C3B93-827D-D68E-1616-E009779E867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6589" y="2636230"/>
            <a:ext cx="833819" cy="722643"/>
          </a:xfrm>
          <a:prstGeom prst="rect">
            <a:avLst/>
          </a:prstGeom>
          <a:noFill/>
          <a:extLst>
            <a:ext uri="{909E8E84-426E-40DD-AFC4-6F175D3DCCD1}">
              <a14:hiddenFill xmlns:a14="http://schemas.microsoft.com/office/drawing/2010/main">
                <a:solidFill>
                  <a:srgbClr val="FFFFFF"/>
                </a:solidFill>
              </a14:hiddenFill>
            </a:ext>
          </a:extLst>
        </p:spPr>
      </p:pic>
      <p:pic>
        <p:nvPicPr>
          <p:cNvPr id="76" name="Grafik 75">
            <a:extLst>
              <a:ext uri="{FF2B5EF4-FFF2-40B4-BE49-F238E27FC236}">
                <a16:creationId xmlns:a16="http://schemas.microsoft.com/office/drawing/2014/main" id="{5253FBFE-7D80-B320-5379-98D4F40BA823}"/>
              </a:ext>
            </a:extLst>
          </p:cNvPr>
          <p:cNvPicPr>
            <a:picLocks noChangeAspect="1"/>
          </p:cNvPicPr>
          <p:nvPr/>
        </p:nvPicPr>
        <p:blipFill>
          <a:blip r:embed="rId5"/>
          <a:stretch>
            <a:fillRect/>
          </a:stretch>
        </p:blipFill>
        <p:spPr>
          <a:xfrm>
            <a:off x="567086" y="1465892"/>
            <a:ext cx="692824" cy="990600"/>
          </a:xfrm>
          <a:prstGeom prst="rect">
            <a:avLst/>
          </a:prstGeom>
          <a:solidFill>
            <a:schemeClr val="bg1">
              <a:lumMod val="85000"/>
            </a:schemeClr>
          </a:solidFill>
          <a:ln>
            <a:solidFill>
              <a:schemeClr val="bg1">
                <a:lumMod val="50000"/>
              </a:schemeClr>
            </a:solidFill>
          </a:ln>
        </p:spPr>
      </p:pic>
    </p:spTree>
    <p:extLst>
      <p:ext uri="{BB962C8B-B14F-4D97-AF65-F5344CB8AC3E}">
        <p14:creationId xmlns:p14="http://schemas.microsoft.com/office/powerpoint/2010/main" val="22095863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enture - 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Acc_PPT_IMP_Tmplt_Graphik_Fixed-Accessibility_20220110" id="{C5903050-33F9-3B47-BADC-1229EE1B2C4D}" vid="{58290BE2-F0E8-CC4F-AE12-B5C3653AD733}"/>
    </a:ext>
  </a:extLst>
</a:theme>
</file>

<file path=ppt/theme/theme2.xml><?xml version="1.0" encoding="utf-8"?>
<a:theme xmlns:a="http://schemas.openxmlformats.org/drawingml/2006/main" name="Office Theme">
  <a:themeElements>
    <a:clrScheme name="Acc_Colors_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_Fonts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39EF807C2354943A31A31FB9E6B8A38" ma:contentTypeVersion="2" ma:contentTypeDescription="Create a new document." ma:contentTypeScope="" ma:versionID="f03a519f31e72ece704f842ab0e4ba72">
  <xsd:schema xmlns:xsd="http://www.w3.org/2001/XMLSchema" xmlns:xs="http://www.w3.org/2001/XMLSchema" xmlns:p="http://schemas.microsoft.com/office/2006/metadata/properties" xmlns:ns2="5d757215-fbc3-4533-822f-84ec73f97a40" targetNamespace="http://schemas.microsoft.com/office/2006/metadata/properties" ma:root="true" ma:fieldsID="1cb72d0557a9ded9ba0b46b2c3d18190" ns2:_="">
    <xsd:import namespace="5d757215-fbc3-4533-822f-84ec73f97a40"/>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d757215-fbc3-4533-822f-84ec73f97a4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FB95095-D3DE-4DE5-BB17-E1EF8BB262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d757215-fbc3-4533-822f-84ec73f97a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9831B46-6CD1-40D2-9FB5-3E58559F90A3}">
  <ds:schemaRefs>
    <ds:schemaRef ds:uri="http://schemas.microsoft.com/sharepoint/v3/contenttype/forms"/>
  </ds:schemaRefs>
</ds:datastoreItem>
</file>

<file path=customXml/itemProps3.xml><?xml version="1.0" encoding="utf-8"?>
<ds:datastoreItem xmlns:ds="http://schemas.openxmlformats.org/officeDocument/2006/customXml" ds:itemID="{46BFFC05-B2F6-4CED-BE65-F75B1EB7AD7B}">
  <ds:schemaRefs>
    <ds:schemaRef ds:uri="http://purl.org/dc/elements/1.1/"/>
    <ds:schemaRef ds:uri="http://purl.org/dc/terms/"/>
    <ds:schemaRef ds:uri="http://schemas.microsoft.com/office/2006/metadata/properties"/>
    <ds:schemaRef ds:uri="http://schemas.microsoft.com/office/infopath/2007/PartnerControls"/>
    <ds:schemaRef ds:uri="http://purl.org/dc/dcmitype/"/>
    <ds:schemaRef ds:uri="http://schemas.microsoft.com/office/2006/documentManagement/types"/>
    <ds:schemaRef ds:uri="http://schemas.openxmlformats.org/package/2006/metadata/core-properties"/>
    <ds:schemaRef ds:uri="5d757215-fbc3-4533-822f-84ec73f97a40"/>
    <ds:schemaRef ds:uri="http://www.w3.org/XML/1998/namespace"/>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emplate>Accenture 2020</Template>
  <TotalTime>0</TotalTime>
  <Words>2016</Words>
  <Application>Microsoft Office PowerPoint</Application>
  <PresentationFormat>Breitbild</PresentationFormat>
  <Paragraphs>289</Paragraphs>
  <Slides>39</Slides>
  <Notes>1</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39</vt:i4>
      </vt:variant>
    </vt:vector>
  </HeadingPairs>
  <TitlesOfParts>
    <vt:vector size="49" baseType="lpstr">
      <vt:lpstr>Arial</vt:lpstr>
      <vt:lpstr>Calibri</vt:lpstr>
      <vt:lpstr>Courier New</vt:lpstr>
      <vt:lpstr>Graphik</vt:lpstr>
      <vt:lpstr>GT Sectra Fine Rg</vt:lpstr>
      <vt:lpstr>Segoe UI</vt:lpstr>
      <vt:lpstr>System Font</vt:lpstr>
      <vt:lpstr>var(--fontFamilyBase)</vt:lpstr>
      <vt:lpstr>Accenture 2020</vt:lpstr>
      <vt:lpstr>think-cell Slide</vt:lpstr>
      <vt:lpstr>Oracle Cloud Infrastructure Security</vt:lpstr>
      <vt:lpstr>Martin Berger – Modern Data Platforms</vt:lpstr>
      <vt:lpstr>Stefan Oehrli – Modern Data Platforms</vt:lpstr>
      <vt:lpstr>PowerPoint-Präsentation</vt:lpstr>
      <vt:lpstr>PowerPoint-Präsentation</vt:lpstr>
      <vt:lpstr>Cloud Guard</vt:lpstr>
      <vt:lpstr>Understanding Cloud Guard</vt:lpstr>
      <vt:lpstr>What is Cloud Guard?</vt:lpstr>
      <vt:lpstr>Key Components of Cloud Guard</vt:lpstr>
      <vt:lpstr>How Cloud Guard works</vt:lpstr>
      <vt:lpstr>Enable Cloud Guard</vt:lpstr>
      <vt:lpstr>Setting Up Cloud Guard Targets</vt:lpstr>
      <vt:lpstr>Targets Inside</vt:lpstr>
      <vt:lpstr>Managed Lists</vt:lpstr>
      <vt:lpstr>Detection or Responding</vt:lpstr>
      <vt:lpstr>Detector Recipes</vt:lpstr>
      <vt:lpstr>Responder Recipes</vt:lpstr>
      <vt:lpstr>Auto-Resolve</vt:lpstr>
      <vt:lpstr>Conditional Execution</vt:lpstr>
      <vt:lpstr>Notification</vt:lpstr>
      <vt:lpstr>Notification</vt:lpstr>
      <vt:lpstr>Practical Use Cases</vt:lpstr>
      <vt:lpstr>Use Case: Detecting Misconfigured Resources</vt:lpstr>
      <vt:lpstr>Use Case: Monitoring Insecure Activities</vt:lpstr>
      <vt:lpstr>Use Case: Automated Remediation</vt:lpstr>
      <vt:lpstr>Advanced Topics</vt:lpstr>
      <vt:lpstr>Integrating Cloud Guard with Other OCI Services</vt:lpstr>
      <vt:lpstr>Best Practices for Using OCI Cloud Guard</vt:lpstr>
      <vt:lpstr>Hands-On Labs</vt:lpstr>
      <vt:lpstr>Lab 1: Enabling and Configuring Cloud Guard</vt:lpstr>
      <vt:lpstr>Lab 2: Creating and Customizing Detector Recipes</vt:lpstr>
      <vt:lpstr>Lab 3: Creating and Customizing Responder Recipes</vt:lpstr>
      <vt:lpstr>Lab 4: Monitoring and Managing Security Posture</vt:lpstr>
      <vt:lpstr>Conclusion</vt:lpstr>
      <vt:lpstr>Summary and Key Takeaways</vt:lpstr>
      <vt:lpstr>Resources</vt:lpstr>
      <vt:lpstr>Thank You</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tting started with this template</dc:title>
  <dc:subject>Accenture PowerPoint Template 16x9 Graphik</dc:subject>
  <dc:creator>Oehrli, Stefan</dc:creator>
  <cp:lastModifiedBy>Berger, Martin</cp:lastModifiedBy>
  <cp:revision>25</cp:revision>
  <cp:lastPrinted>2020-11-17T04:05:48Z</cp:lastPrinted>
  <dcterms:created xsi:type="dcterms:W3CDTF">2023-04-03T06:37:13Z</dcterms:created>
  <dcterms:modified xsi:type="dcterms:W3CDTF">2024-10-16T13:54: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39EF807C2354943A31A31FB9E6B8A38</vt:lpwstr>
  </property>
</Properties>
</file>